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62" r:id="rId2"/>
    <p:sldId id="264" r:id="rId3"/>
    <p:sldId id="266" r:id="rId4"/>
    <p:sldId id="267" r:id="rId5"/>
    <p:sldId id="268" r:id="rId6"/>
    <p:sldId id="271" r:id="rId7"/>
    <p:sldId id="273" r:id="rId8"/>
    <p:sldId id="274" r:id="rId9"/>
    <p:sldId id="275" r:id="rId10"/>
    <p:sldId id="276" r:id="rId11"/>
    <p:sldId id="277" r:id="rId12"/>
    <p:sldId id="278" r:id="rId13"/>
    <p:sldId id="281" r:id="rId14"/>
    <p:sldId id="283" r:id="rId15"/>
    <p:sldId id="284" r:id="rId16"/>
    <p:sldId id="285" r:id="rId17"/>
    <p:sldId id="286" r:id="rId18"/>
    <p:sldId id="287" r:id="rId19"/>
    <p:sldId id="288" r:id="rId20"/>
    <p:sldId id="292" r:id="rId21"/>
    <p:sldId id="293" r:id="rId22"/>
    <p:sldId id="294" r:id="rId23"/>
    <p:sldId id="306" r:id="rId24"/>
    <p:sldId id="307" r:id="rId25"/>
    <p:sldId id="308" r:id="rId26"/>
    <p:sldId id="309" r:id="rId27"/>
    <p:sldId id="318" r:id="rId28"/>
    <p:sldId id="320" r:id="rId29"/>
    <p:sldId id="321" r:id="rId30"/>
    <p:sldId id="322" r:id="rId31"/>
    <p:sldId id="326" r:id="rId32"/>
    <p:sldId id="327"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10" d="100"/>
          <a:sy n="110" d="100"/>
        </p:scale>
        <p:origin x="-1632" y="-96"/>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image" Target="../media/image6.emf"/><Relationship Id="rId4"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6.emf"/><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image" Target="../media/image1.emf"/><Relationship Id="rId5" Type="http://schemas.openxmlformats.org/officeDocument/2006/relationships/image" Target="../media/image36.emf"/><Relationship Id="rId4" Type="http://schemas.openxmlformats.org/officeDocument/2006/relationships/image" Target="../media/image35.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image" Target="../media/image1.emf"/><Relationship Id="rId4" Type="http://schemas.openxmlformats.org/officeDocument/2006/relationships/image" Target="../media/image41.e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42.emf"/><Relationship Id="rId1" Type="http://schemas.openxmlformats.org/officeDocument/2006/relationships/image" Target="../media/image6.emf"/><Relationship Id="rId4" Type="http://schemas.openxmlformats.org/officeDocument/2006/relationships/image" Target="../media/image44.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emf"/><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image" Target="../media/image6.emf"/><Relationship Id="rId4"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6.emf"/><Relationship Id="rId5" Type="http://schemas.openxmlformats.org/officeDocument/2006/relationships/image" Target="../media/image20.emf"/><Relationship Id="rId4"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6B75C8B-0A83-4ED2-A99C-95AF8304B2C6}" type="datetimeFigureOut">
              <a:rPr lang="en-US" smtClean="0"/>
              <a:t>4/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2B11B6A-8E15-4A26-9DC7-B2725402257E}" type="slidenum">
              <a:rPr lang="en-US" smtClean="0"/>
              <a:t>‹#›</a:t>
            </a:fld>
            <a:endParaRPr lang="en-US"/>
          </a:p>
        </p:txBody>
      </p:sp>
    </p:spTree>
    <p:extLst>
      <p:ext uri="{BB962C8B-B14F-4D97-AF65-F5344CB8AC3E}">
        <p14:creationId xmlns:p14="http://schemas.microsoft.com/office/powerpoint/2010/main" val="1339731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1</a:t>
            </a:fld>
            <a:endParaRPr lang="lt-LT"/>
          </a:p>
        </p:txBody>
      </p:sp>
    </p:spTree>
    <p:extLst>
      <p:ext uri="{BB962C8B-B14F-4D97-AF65-F5344CB8AC3E}">
        <p14:creationId xmlns:p14="http://schemas.microsoft.com/office/powerpoint/2010/main" val="2734088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28</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29</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30</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32</a:t>
            </a:fld>
            <a:endParaRPr lang="lt-LT"/>
          </a:p>
        </p:txBody>
      </p:sp>
    </p:spTree>
    <p:extLst>
      <p:ext uri="{BB962C8B-B14F-4D97-AF65-F5344CB8AC3E}">
        <p14:creationId xmlns:p14="http://schemas.microsoft.com/office/powerpoint/2010/main" val="2734088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gi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4/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4/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4/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44470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p>
            <a:endParaRPr lang="lt-LT" dirty="0"/>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fld id="{5AA6033C-E647-4F8A-A357-27286DEAD83A}" type="slidenum">
              <a:rPr lang="en-US" smtClean="0"/>
              <a:pPr/>
              <a:t>‹#›</a:t>
            </a:fld>
            <a:endParaRPr lang="en-US"/>
          </a:p>
        </p:txBody>
      </p:sp>
      <p:sp>
        <p:nvSpPr>
          <p:cNvPr id="10" name="Rectangle 5"/>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1" name="Rectangle 6"/>
          <p:cNvSpPr>
            <a:spLocks noChangeArrowheads="1"/>
          </p:cNvSpPr>
          <p:nvPr userDrawn="1"/>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15" name="Title 1"/>
          <p:cNvSpPr txBox="1">
            <a:spLocks/>
          </p:cNvSpPr>
          <p:nvPr userDrawn="1"/>
        </p:nvSpPr>
        <p:spPr>
          <a:xfrm>
            <a:off x="838200" y="2066801"/>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accent1">
                    <a:lumMod val="75000"/>
                  </a:schemeClr>
                </a:solidFill>
                <a:latin typeface="+mj-lt"/>
                <a:ea typeface="+mj-ea"/>
                <a:cs typeface="+mj-cs"/>
              </a:defRPr>
            </a:lvl1pPr>
          </a:lstStyle>
          <a:p>
            <a:pPr algn="l"/>
            <a:endParaRPr lang="en-US" sz="3200" b="1" dirty="0"/>
          </a:p>
        </p:txBody>
      </p:sp>
      <p:sp>
        <p:nvSpPr>
          <p:cNvPr id="16" name="Subtitle 2"/>
          <p:cNvSpPr>
            <a:spLocks noGrp="1"/>
          </p:cNvSpPr>
          <p:nvPr>
            <p:ph type="subTitle" idx="1"/>
          </p:nvPr>
        </p:nvSpPr>
        <p:spPr>
          <a:xfrm>
            <a:off x="250353" y="5229200"/>
            <a:ext cx="6400800" cy="625624"/>
          </a:xfrm>
        </p:spPr>
        <p:txBody>
          <a:bodyPr>
            <a:normAutofit/>
          </a:bodyPr>
          <a:lstStyle>
            <a:lvl1pPr marL="0" indent="0" algn="ctr">
              <a:buNone/>
              <a:defRPr sz="2800" b="1">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20" name="Straight Connector 19"/>
          <p:cNvCxnSpPr/>
          <p:nvPr userDrawn="1"/>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45488" y="1193476"/>
            <a:ext cx="4714944" cy="3564000"/>
          </a:xfrm>
          <a:prstGeom prst="rect">
            <a:avLst/>
          </a:prstGeom>
          <a:ln w="9525">
            <a:noFill/>
          </a:ln>
        </p:spPr>
      </p:pic>
      <p:sp>
        <p:nvSpPr>
          <p:cNvPr id="8" name="Rectangle 7"/>
          <p:cNvSpPr/>
          <p:nvPr userDrawn="1"/>
        </p:nvSpPr>
        <p:spPr>
          <a:xfrm>
            <a:off x="3143250" y="1196752"/>
            <a:ext cx="6000750" cy="3556800"/>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0" y="1196752"/>
            <a:ext cx="3143250" cy="356235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3548" y="238752"/>
            <a:ext cx="1656184" cy="871785"/>
          </a:xfrm>
          <a:prstGeom prst="rect">
            <a:avLst/>
          </a:prstGeom>
        </p:spPr>
      </p:pic>
    </p:spTree>
    <p:extLst>
      <p:ext uri="{BB962C8B-B14F-4D97-AF65-F5344CB8AC3E}">
        <p14:creationId xmlns:p14="http://schemas.microsoft.com/office/powerpoint/2010/main" val="716807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4/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4/1/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pPr/>
              <a:t>4/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pPr/>
              <a:t>4/1/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pPr/>
              <a:t>4/1/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4/1/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1/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4/1/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6" Type="http://schemas.openxmlformats.org/officeDocument/2006/relationships/tags" Target="../tags/tag370.xml"/><Relationship Id="rId117" Type="http://schemas.openxmlformats.org/officeDocument/2006/relationships/slideLayout" Target="../slideLayouts/slideLayout2.xml"/><Relationship Id="rId21" Type="http://schemas.openxmlformats.org/officeDocument/2006/relationships/tags" Target="../tags/tag365.xml"/><Relationship Id="rId42" Type="http://schemas.openxmlformats.org/officeDocument/2006/relationships/tags" Target="../tags/tag386.xml"/><Relationship Id="rId47" Type="http://schemas.openxmlformats.org/officeDocument/2006/relationships/tags" Target="../tags/tag391.xml"/><Relationship Id="rId63" Type="http://schemas.openxmlformats.org/officeDocument/2006/relationships/tags" Target="../tags/tag407.xml"/><Relationship Id="rId68" Type="http://schemas.openxmlformats.org/officeDocument/2006/relationships/tags" Target="../tags/tag412.xml"/><Relationship Id="rId84" Type="http://schemas.openxmlformats.org/officeDocument/2006/relationships/tags" Target="../tags/tag428.xml"/><Relationship Id="rId89" Type="http://schemas.openxmlformats.org/officeDocument/2006/relationships/tags" Target="../tags/tag433.xml"/><Relationship Id="rId112" Type="http://schemas.openxmlformats.org/officeDocument/2006/relationships/tags" Target="../tags/tag456.xml"/><Relationship Id="rId16" Type="http://schemas.openxmlformats.org/officeDocument/2006/relationships/tags" Target="../tags/tag360.xml"/><Relationship Id="rId107" Type="http://schemas.openxmlformats.org/officeDocument/2006/relationships/tags" Target="../tags/tag451.xml"/><Relationship Id="rId11" Type="http://schemas.openxmlformats.org/officeDocument/2006/relationships/tags" Target="../tags/tag355.xml"/><Relationship Id="rId32" Type="http://schemas.openxmlformats.org/officeDocument/2006/relationships/tags" Target="../tags/tag376.xml"/><Relationship Id="rId37" Type="http://schemas.openxmlformats.org/officeDocument/2006/relationships/tags" Target="../tags/tag381.xml"/><Relationship Id="rId53" Type="http://schemas.openxmlformats.org/officeDocument/2006/relationships/tags" Target="../tags/tag397.xml"/><Relationship Id="rId58" Type="http://schemas.openxmlformats.org/officeDocument/2006/relationships/tags" Target="../tags/tag402.xml"/><Relationship Id="rId74" Type="http://schemas.openxmlformats.org/officeDocument/2006/relationships/tags" Target="../tags/tag418.xml"/><Relationship Id="rId79" Type="http://schemas.openxmlformats.org/officeDocument/2006/relationships/tags" Target="../tags/tag423.xml"/><Relationship Id="rId102" Type="http://schemas.openxmlformats.org/officeDocument/2006/relationships/tags" Target="../tags/tag446.xml"/><Relationship Id="rId123" Type="http://schemas.openxmlformats.org/officeDocument/2006/relationships/image" Target="../media/image24.emf"/><Relationship Id="rId5" Type="http://schemas.openxmlformats.org/officeDocument/2006/relationships/tags" Target="../tags/tag349.xml"/><Relationship Id="rId61" Type="http://schemas.openxmlformats.org/officeDocument/2006/relationships/tags" Target="../tags/tag405.xml"/><Relationship Id="rId82" Type="http://schemas.openxmlformats.org/officeDocument/2006/relationships/tags" Target="../tags/tag426.xml"/><Relationship Id="rId90" Type="http://schemas.openxmlformats.org/officeDocument/2006/relationships/tags" Target="../tags/tag434.xml"/><Relationship Id="rId95" Type="http://schemas.openxmlformats.org/officeDocument/2006/relationships/tags" Target="../tags/tag439.xml"/><Relationship Id="rId19" Type="http://schemas.openxmlformats.org/officeDocument/2006/relationships/tags" Target="../tags/tag363.xml"/><Relationship Id="rId14" Type="http://schemas.openxmlformats.org/officeDocument/2006/relationships/tags" Target="../tags/tag358.xml"/><Relationship Id="rId22" Type="http://schemas.openxmlformats.org/officeDocument/2006/relationships/tags" Target="../tags/tag366.xml"/><Relationship Id="rId27" Type="http://schemas.openxmlformats.org/officeDocument/2006/relationships/tags" Target="../tags/tag371.xml"/><Relationship Id="rId30" Type="http://schemas.openxmlformats.org/officeDocument/2006/relationships/tags" Target="../tags/tag374.xml"/><Relationship Id="rId35" Type="http://schemas.openxmlformats.org/officeDocument/2006/relationships/tags" Target="../tags/tag379.xml"/><Relationship Id="rId43" Type="http://schemas.openxmlformats.org/officeDocument/2006/relationships/tags" Target="../tags/tag387.xml"/><Relationship Id="rId48" Type="http://schemas.openxmlformats.org/officeDocument/2006/relationships/tags" Target="../tags/tag392.xml"/><Relationship Id="rId56" Type="http://schemas.openxmlformats.org/officeDocument/2006/relationships/tags" Target="../tags/tag400.xml"/><Relationship Id="rId64" Type="http://schemas.openxmlformats.org/officeDocument/2006/relationships/tags" Target="../tags/tag408.xml"/><Relationship Id="rId69" Type="http://schemas.openxmlformats.org/officeDocument/2006/relationships/tags" Target="../tags/tag413.xml"/><Relationship Id="rId77" Type="http://schemas.openxmlformats.org/officeDocument/2006/relationships/tags" Target="../tags/tag421.xml"/><Relationship Id="rId100" Type="http://schemas.openxmlformats.org/officeDocument/2006/relationships/tags" Target="../tags/tag444.xml"/><Relationship Id="rId105" Type="http://schemas.openxmlformats.org/officeDocument/2006/relationships/tags" Target="../tags/tag449.xml"/><Relationship Id="rId113" Type="http://schemas.openxmlformats.org/officeDocument/2006/relationships/tags" Target="../tags/tag457.xml"/><Relationship Id="rId118" Type="http://schemas.openxmlformats.org/officeDocument/2006/relationships/oleObject" Target="../embeddings/oleObject26.bin"/><Relationship Id="rId8" Type="http://schemas.openxmlformats.org/officeDocument/2006/relationships/tags" Target="../tags/tag352.xml"/><Relationship Id="rId51" Type="http://schemas.openxmlformats.org/officeDocument/2006/relationships/tags" Target="../tags/tag395.xml"/><Relationship Id="rId72" Type="http://schemas.openxmlformats.org/officeDocument/2006/relationships/tags" Target="../tags/tag416.xml"/><Relationship Id="rId80" Type="http://schemas.openxmlformats.org/officeDocument/2006/relationships/tags" Target="../tags/tag424.xml"/><Relationship Id="rId85" Type="http://schemas.openxmlformats.org/officeDocument/2006/relationships/tags" Target="../tags/tag429.xml"/><Relationship Id="rId93" Type="http://schemas.openxmlformats.org/officeDocument/2006/relationships/tags" Target="../tags/tag437.xml"/><Relationship Id="rId98" Type="http://schemas.openxmlformats.org/officeDocument/2006/relationships/tags" Target="../tags/tag442.xml"/><Relationship Id="rId121" Type="http://schemas.openxmlformats.org/officeDocument/2006/relationships/image" Target="../media/image23.emf"/><Relationship Id="rId3" Type="http://schemas.openxmlformats.org/officeDocument/2006/relationships/tags" Target="../tags/tag347.xml"/><Relationship Id="rId12" Type="http://schemas.openxmlformats.org/officeDocument/2006/relationships/tags" Target="../tags/tag356.xml"/><Relationship Id="rId17" Type="http://schemas.openxmlformats.org/officeDocument/2006/relationships/tags" Target="../tags/tag361.xml"/><Relationship Id="rId25" Type="http://schemas.openxmlformats.org/officeDocument/2006/relationships/tags" Target="../tags/tag369.xml"/><Relationship Id="rId33" Type="http://schemas.openxmlformats.org/officeDocument/2006/relationships/tags" Target="../tags/tag377.xml"/><Relationship Id="rId38" Type="http://schemas.openxmlformats.org/officeDocument/2006/relationships/tags" Target="../tags/tag382.xml"/><Relationship Id="rId46" Type="http://schemas.openxmlformats.org/officeDocument/2006/relationships/tags" Target="../tags/tag390.xml"/><Relationship Id="rId59" Type="http://schemas.openxmlformats.org/officeDocument/2006/relationships/tags" Target="../tags/tag403.xml"/><Relationship Id="rId67" Type="http://schemas.openxmlformats.org/officeDocument/2006/relationships/tags" Target="../tags/tag411.xml"/><Relationship Id="rId103" Type="http://schemas.openxmlformats.org/officeDocument/2006/relationships/tags" Target="../tags/tag447.xml"/><Relationship Id="rId108" Type="http://schemas.openxmlformats.org/officeDocument/2006/relationships/tags" Target="../tags/tag452.xml"/><Relationship Id="rId116" Type="http://schemas.openxmlformats.org/officeDocument/2006/relationships/tags" Target="../tags/tag460.xml"/><Relationship Id="rId20" Type="http://schemas.openxmlformats.org/officeDocument/2006/relationships/tags" Target="../tags/tag364.xml"/><Relationship Id="rId41" Type="http://schemas.openxmlformats.org/officeDocument/2006/relationships/tags" Target="../tags/tag385.xml"/><Relationship Id="rId54" Type="http://schemas.openxmlformats.org/officeDocument/2006/relationships/tags" Target="../tags/tag398.xml"/><Relationship Id="rId62" Type="http://schemas.openxmlformats.org/officeDocument/2006/relationships/tags" Target="../tags/tag406.xml"/><Relationship Id="rId70" Type="http://schemas.openxmlformats.org/officeDocument/2006/relationships/tags" Target="../tags/tag414.xml"/><Relationship Id="rId75" Type="http://schemas.openxmlformats.org/officeDocument/2006/relationships/tags" Target="../tags/tag419.xml"/><Relationship Id="rId83" Type="http://schemas.openxmlformats.org/officeDocument/2006/relationships/tags" Target="../tags/tag427.xml"/><Relationship Id="rId88" Type="http://schemas.openxmlformats.org/officeDocument/2006/relationships/tags" Target="../tags/tag432.xml"/><Relationship Id="rId91" Type="http://schemas.openxmlformats.org/officeDocument/2006/relationships/tags" Target="../tags/tag435.xml"/><Relationship Id="rId96" Type="http://schemas.openxmlformats.org/officeDocument/2006/relationships/tags" Target="../tags/tag440.xml"/><Relationship Id="rId111" Type="http://schemas.openxmlformats.org/officeDocument/2006/relationships/tags" Target="../tags/tag455.xml"/><Relationship Id="rId1" Type="http://schemas.openxmlformats.org/officeDocument/2006/relationships/vmlDrawing" Target="../drawings/vmlDrawing10.vml"/><Relationship Id="rId6" Type="http://schemas.openxmlformats.org/officeDocument/2006/relationships/tags" Target="../tags/tag350.xml"/><Relationship Id="rId15" Type="http://schemas.openxmlformats.org/officeDocument/2006/relationships/tags" Target="../tags/tag359.xml"/><Relationship Id="rId23" Type="http://schemas.openxmlformats.org/officeDocument/2006/relationships/tags" Target="../tags/tag367.xml"/><Relationship Id="rId28" Type="http://schemas.openxmlformats.org/officeDocument/2006/relationships/tags" Target="../tags/tag372.xml"/><Relationship Id="rId36" Type="http://schemas.openxmlformats.org/officeDocument/2006/relationships/tags" Target="../tags/tag380.xml"/><Relationship Id="rId49" Type="http://schemas.openxmlformats.org/officeDocument/2006/relationships/tags" Target="../tags/tag393.xml"/><Relationship Id="rId57" Type="http://schemas.openxmlformats.org/officeDocument/2006/relationships/tags" Target="../tags/tag401.xml"/><Relationship Id="rId106" Type="http://schemas.openxmlformats.org/officeDocument/2006/relationships/tags" Target="../tags/tag450.xml"/><Relationship Id="rId114" Type="http://schemas.openxmlformats.org/officeDocument/2006/relationships/tags" Target="../tags/tag458.xml"/><Relationship Id="rId119" Type="http://schemas.openxmlformats.org/officeDocument/2006/relationships/image" Target="../media/image6.emf"/><Relationship Id="rId10" Type="http://schemas.openxmlformats.org/officeDocument/2006/relationships/tags" Target="../tags/tag354.xml"/><Relationship Id="rId31" Type="http://schemas.openxmlformats.org/officeDocument/2006/relationships/tags" Target="../tags/tag375.xml"/><Relationship Id="rId44" Type="http://schemas.openxmlformats.org/officeDocument/2006/relationships/tags" Target="../tags/tag388.xml"/><Relationship Id="rId52" Type="http://schemas.openxmlformats.org/officeDocument/2006/relationships/tags" Target="../tags/tag396.xml"/><Relationship Id="rId60" Type="http://schemas.openxmlformats.org/officeDocument/2006/relationships/tags" Target="../tags/tag404.xml"/><Relationship Id="rId65" Type="http://schemas.openxmlformats.org/officeDocument/2006/relationships/tags" Target="../tags/tag409.xml"/><Relationship Id="rId73" Type="http://schemas.openxmlformats.org/officeDocument/2006/relationships/tags" Target="../tags/tag417.xml"/><Relationship Id="rId78" Type="http://schemas.openxmlformats.org/officeDocument/2006/relationships/tags" Target="../tags/tag422.xml"/><Relationship Id="rId81" Type="http://schemas.openxmlformats.org/officeDocument/2006/relationships/tags" Target="../tags/tag425.xml"/><Relationship Id="rId86" Type="http://schemas.openxmlformats.org/officeDocument/2006/relationships/tags" Target="../tags/tag430.xml"/><Relationship Id="rId94" Type="http://schemas.openxmlformats.org/officeDocument/2006/relationships/tags" Target="../tags/tag438.xml"/><Relationship Id="rId99" Type="http://schemas.openxmlformats.org/officeDocument/2006/relationships/tags" Target="../tags/tag443.xml"/><Relationship Id="rId101" Type="http://schemas.openxmlformats.org/officeDocument/2006/relationships/tags" Target="../tags/tag445.xml"/><Relationship Id="rId122" Type="http://schemas.openxmlformats.org/officeDocument/2006/relationships/oleObject" Target="../embeddings/oleObject28.bin"/><Relationship Id="rId4" Type="http://schemas.openxmlformats.org/officeDocument/2006/relationships/tags" Target="../tags/tag348.xml"/><Relationship Id="rId9" Type="http://schemas.openxmlformats.org/officeDocument/2006/relationships/tags" Target="../tags/tag353.xml"/><Relationship Id="rId13" Type="http://schemas.openxmlformats.org/officeDocument/2006/relationships/tags" Target="../tags/tag357.xml"/><Relationship Id="rId18" Type="http://schemas.openxmlformats.org/officeDocument/2006/relationships/tags" Target="../tags/tag362.xml"/><Relationship Id="rId39" Type="http://schemas.openxmlformats.org/officeDocument/2006/relationships/tags" Target="../tags/tag383.xml"/><Relationship Id="rId109" Type="http://schemas.openxmlformats.org/officeDocument/2006/relationships/tags" Target="../tags/tag453.xml"/><Relationship Id="rId34" Type="http://schemas.openxmlformats.org/officeDocument/2006/relationships/tags" Target="../tags/tag378.xml"/><Relationship Id="rId50" Type="http://schemas.openxmlformats.org/officeDocument/2006/relationships/tags" Target="../tags/tag394.xml"/><Relationship Id="rId55" Type="http://schemas.openxmlformats.org/officeDocument/2006/relationships/tags" Target="../tags/tag399.xml"/><Relationship Id="rId76" Type="http://schemas.openxmlformats.org/officeDocument/2006/relationships/tags" Target="../tags/tag420.xml"/><Relationship Id="rId97" Type="http://schemas.openxmlformats.org/officeDocument/2006/relationships/tags" Target="../tags/tag441.xml"/><Relationship Id="rId104" Type="http://schemas.openxmlformats.org/officeDocument/2006/relationships/tags" Target="../tags/tag448.xml"/><Relationship Id="rId120" Type="http://schemas.openxmlformats.org/officeDocument/2006/relationships/oleObject" Target="../embeddings/oleObject27.bin"/><Relationship Id="rId7" Type="http://schemas.openxmlformats.org/officeDocument/2006/relationships/tags" Target="../tags/tag351.xml"/><Relationship Id="rId71" Type="http://schemas.openxmlformats.org/officeDocument/2006/relationships/tags" Target="../tags/tag415.xml"/><Relationship Id="rId92" Type="http://schemas.openxmlformats.org/officeDocument/2006/relationships/tags" Target="../tags/tag436.xml"/><Relationship Id="rId2" Type="http://schemas.openxmlformats.org/officeDocument/2006/relationships/tags" Target="../tags/tag346.xml"/><Relationship Id="rId29" Type="http://schemas.openxmlformats.org/officeDocument/2006/relationships/tags" Target="../tags/tag373.xml"/><Relationship Id="rId24" Type="http://schemas.openxmlformats.org/officeDocument/2006/relationships/tags" Target="../tags/tag368.xml"/><Relationship Id="rId40" Type="http://schemas.openxmlformats.org/officeDocument/2006/relationships/tags" Target="../tags/tag384.xml"/><Relationship Id="rId45" Type="http://schemas.openxmlformats.org/officeDocument/2006/relationships/tags" Target="../tags/tag389.xml"/><Relationship Id="rId66" Type="http://schemas.openxmlformats.org/officeDocument/2006/relationships/tags" Target="../tags/tag410.xml"/><Relationship Id="rId87" Type="http://schemas.openxmlformats.org/officeDocument/2006/relationships/tags" Target="../tags/tag431.xml"/><Relationship Id="rId110" Type="http://schemas.openxmlformats.org/officeDocument/2006/relationships/tags" Target="../tags/tag454.xml"/><Relationship Id="rId115" Type="http://schemas.openxmlformats.org/officeDocument/2006/relationships/tags" Target="../tags/tag459.xml"/></Relationships>
</file>

<file path=ppt/slides/_rels/slide11.xml.rels><?xml version="1.0" encoding="UTF-8" standalone="yes"?>
<Relationships xmlns="http://schemas.openxmlformats.org/package/2006/relationships"><Relationship Id="rId8" Type="http://schemas.openxmlformats.org/officeDocument/2006/relationships/tags" Target="../tags/tag467.xml"/><Relationship Id="rId13" Type="http://schemas.openxmlformats.org/officeDocument/2006/relationships/tags" Target="../tags/tag472.xml"/><Relationship Id="rId18" Type="http://schemas.openxmlformats.org/officeDocument/2006/relationships/tags" Target="../tags/tag477.xml"/><Relationship Id="rId26" Type="http://schemas.openxmlformats.org/officeDocument/2006/relationships/tags" Target="../tags/tag485.xml"/><Relationship Id="rId39" Type="http://schemas.openxmlformats.org/officeDocument/2006/relationships/image" Target="../media/image6.emf"/><Relationship Id="rId3" Type="http://schemas.openxmlformats.org/officeDocument/2006/relationships/tags" Target="../tags/tag462.xml"/><Relationship Id="rId21" Type="http://schemas.openxmlformats.org/officeDocument/2006/relationships/tags" Target="../tags/tag480.xml"/><Relationship Id="rId34" Type="http://schemas.openxmlformats.org/officeDocument/2006/relationships/tags" Target="../tags/tag493.xml"/><Relationship Id="rId42" Type="http://schemas.openxmlformats.org/officeDocument/2006/relationships/oleObject" Target="../embeddings/oleObject31.bin"/><Relationship Id="rId7" Type="http://schemas.openxmlformats.org/officeDocument/2006/relationships/tags" Target="../tags/tag466.xml"/><Relationship Id="rId12" Type="http://schemas.openxmlformats.org/officeDocument/2006/relationships/tags" Target="../tags/tag471.xml"/><Relationship Id="rId17" Type="http://schemas.openxmlformats.org/officeDocument/2006/relationships/tags" Target="../tags/tag476.xml"/><Relationship Id="rId25" Type="http://schemas.openxmlformats.org/officeDocument/2006/relationships/tags" Target="../tags/tag484.xml"/><Relationship Id="rId33" Type="http://schemas.openxmlformats.org/officeDocument/2006/relationships/tags" Target="../tags/tag492.xml"/><Relationship Id="rId38" Type="http://schemas.openxmlformats.org/officeDocument/2006/relationships/oleObject" Target="../embeddings/oleObject29.bin"/><Relationship Id="rId2" Type="http://schemas.openxmlformats.org/officeDocument/2006/relationships/tags" Target="../tags/tag461.xml"/><Relationship Id="rId16" Type="http://schemas.openxmlformats.org/officeDocument/2006/relationships/tags" Target="../tags/tag475.xml"/><Relationship Id="rId20" Type="http://schemas.openxmlformats.org/officeDocument/2006/relationships/tags" Target="../tags/tag479.xml"/><Relationship Id="rId29" Type="http://schemas.openxmlformats.org/officeDocument/2006/relationships/tags" Target="../tags/tag488.xml"/><Relationship Id="rId41" Type="http://schemas.openxmlformats.org/officeDocument/2006/relationships/image" Target="../media/image25.emf"/><Relationship Id="rId1" Type="http://schemas.openxmlformats.org/officeDocument/2006/relationships/vmlDrawing" Target="../drawings/vmlDrawing11.vml"/><Relationship Id="rId6" Type="http://schemas.openxmlformats.org/officeDocument/2006/relationships/tags" Target="../tags/tag465.xml"/><Relationship Id="rId11" Type="http://schemas.openxmlformats.org/officeDocument/2006/relationships/tags" Target="../tags/tag470.xml"/><Relationship Id="rId24" Type="http://schemas.openxmlformats.org/officeDocument/2006/relationships/tags" Target="../tags/tag483.xml"/><Relationship Id="rId32" Type="http://schemas.openxmlformats.org/officeDocument/2006/relationships/tags" Target="../tags/tag491.xml"/><Relationship Id="rId37" Type="http://schemas.openxmlformats.org/officeDocument/2006/relationships/slideLayout" Target="../slideLayouts/slideLayout2.xml"/><Relationship Id="rId40" Type="http://schemas.openxmlformats.org/officeDocument/2006/relationships/oleObject" Target="../embeddings/oleObject30.bin"/><Relationship Id="rId45" Type="http://schemas.openxmlformats.org/officeDocument/2006/relationships/image" Target="../media/image27.emf"/><Relationship Id="rId5" Type="http://schemas.openxmlformats.org/officeDocument/2006/relationships/tags" Target="../tags/tag464.xml"/><Relationship Id="rId15" Type="http://schemas.openxmlformats.org/officeDocument/2006/relationships/tags" Target="../tags/tag474.xml"/><Relationship Id="rId23" Type="http://schemas.openxmlformats.org/officeDocument/2006/relationships/tags" Target="../tags/tag482.xml"/><Relationship Id="rId28" Type="http://schemas.openxmlformats.org/officeDocument/2006/relationships/tags" Target="../tags/tag487.xml"/><Relationship Id="rId36" Type="http://schemas.openxmlformats.org/officeDocument/2006/relationships/tags" Target="../tags/tag495.xml"/><Relationship Id="rId10" Type="http://schemas.openxmlformats.org/officeDocument/2006/relationships/tags" Target="../tags/tag469.xml"/><Relationship Id="rId19" Type="http://schemas.openxmlformats.org/officeDocument/2006/relationships/tags" Target="../tags/tag478.xml"/><Relationship Id="rId31" Type="http://schemas.openxmlformats.org/officeDocument/2006/relationships/tags" Target="../tags/tag490.xml"/><Relationship Id="rId44" Type="http://schemas.openxmlformats.org/officeDocument/2006/relationships/oleObject" Target="../embeddings/oleObject32.bin"/><Relationship Id="rId4" Type="http://schemas.openxmlformats.org/officeDocument/2006/relationships/tags" Target="../tags/tag463.xml"/><Relationship Id="rId9" Type="http://schemas.openxmlformats.org/officeDocument/2006/relationships/tags" Target="../tags/tag468.xml"/><Relationship Id="rId14" Type="http://schemas.openxmlformats.org/officeDocument/2006/relationships/tags" Target="../tags/tag473.xml"/><Relationship Id="rId22" Type="http://schemas.openxmlformats.org/officeDocument/2006/relationships/tags" Target="../tags/tag481.xml"/><Relationship Id="rId27" Type="http://schemas.openxmlformats.org/officeDocument/2006/relationships/tags" Target="../tags/tag486.xml"/><Relationship Id="rId30" Type="http://schemas.openxmlformats.org/officeDocument/2006/relationships/tags" Target="../tags/tag489.xml"/><Relationship Id="rId35" Type="http://schemas.openxmlformats.org/officeDocument/2006/relationships/tags" Target="../tags/tag494.xml"/><Relationship Id="rId43" Type="http://schemas.openxmlformats.org/officeDocument/2006/relationships/image" Target="../media/image26.emf"/></Relationships>
</file>

<file path=ppt/slides/_rels/slide12.xml.rels><?xml version="1.0" encoding="UTF-8" standalone="yes"?>
<Relationships xmlns="http://schemas.openxmlformats.org/package/2006/relationships"><Relationship Id="rId26" Type="http://schemas.openxmlformats.org/officeDocument/2006/relationships/tags" Target="../tags/tag520.xml"/><Relationship Id="rId21" Type="http://schemas.openxmlformats.org/officeDocument/2006/relationships/tags" Target="../tags/tag515.xml"/><Relationship Id="rId42" Type="http://schemas.openxmlformats.org/officeDocument/2006/relationships/tags" Target="../tags/tag536.xml"/><Relationship Id="rId47" Type="http://schemas.openxmlformats.org/officeDocument/2006/relationships/tags" Target="../tags/tag541.xml"/><Relationship Id="rId63" Type="http://schemas.openxmlformats.org/officeDocument/2006/relationships/tags" Target="../tags/tag557.xml"/><Relationship Id="rId68" Type="http://schemas.openxmlformats.org/officeDocument/2006/relationships/tags" Target="../tags/tag562.xml"/><Relationship Id="rId84" Type="http://schemas.openxmlformats.org/officeDocument/2006/relationships/tags" Target="../tags/tag578.xml"/><Relationship Id="rId89" Type="http://schemas.openxmlformats.org/officeDocument/2006/relationships/tags" Target="../tags/tag583.xml"/><Relationship Id="rId2" Type="http://schemas.openxmlformats.org/officeDocument/2006/relationships/tags" Target="../tags/tag496.xml"/><Relationship Id="rId16" Type="http://schemas.openxmlformats.org/officeDocument/2006/relationships/tags" Target="../tags/tag510.xml"/><Relationship Id="rId29" Type="http://schemas.openxmlformats.org/officeDocument/2006/relationships/tags" Target="../tags/tag523.xml"/><Relationship Id="rId107" Type="http://schemas.openxmlformats.org/officeDocument/2006/relationships/image" Target="../media/image30.emf"/><Relationship Id="rId11" Type="http://schemas.openxmlformats.org/officeDocument/2006/relationships/tags" Target="../tags/tag505.xml"/><Relationship Id="rId24" Type="http://schemas.openxmlformats.org/officeDocument/2006/relationships/tags" Target="../tags/tag518.xml"/><Relationship Id="rId32" Type="http://schemas.openxmlformats.org/officeDocument/2006/relationships/tags" Target="../tags/tag526.xml"/><Relationship Id="rId37" Type="http://schemas.openxmlformats.org/officeDocument/2006/relationships/tags" Target="../tags/tag531.xml"/><Relationship Id="rId40" Type="http://schemas.openxmlformats.org/officeDocument/2006/relationships/tags" Target="../tags/tag534.xml"/><Relationship Id="rId45" Type="http://schemas.openxmlformats.org/officeDocument/2006/relationships/tags" Target="../tags/tag539.xml"/><Relationship Id="rId53" Type="http://schemas.openxmlformats.org/officeDocument/2006/relationships/tags" Target="../tags/tag547.xml"/><Relationship Id="rId58" Type="http://schemas.openxmlformats.org/officeDocument/2006/relationships/tags" Target="../tags/tag552.xml"/><Relationship Id="rId66" Type="http://schemas.openxmlformats.org/officeDocument/2006/relationships/tags" Target="../tags/tag560.xml"/><Relationship Id="rId74" Type="http://schemas.openxmlformats.org/officeDocument/2006/relationships/tags" Target="../tags/tag568.xml"/><Relationship Id="rId79" Type="http://schemas.openxmlformats.org/officeDocument/2006/relationships/tags" Target="../tags/tag573.xml"/><Relationship Id="rId87" Type="http://schemas.openxmlformats.org/officeDocument/2006/relationships/tags" Target="../tags/tag581.xml"/><Relationship Id="rId102" Type="http://schemas.openxmlformats.org/officeDocument/2006/relationships/oleObject" Target="../embeddings/oleObject34.bin"/><Relationship Id="rId110" Type="http://schemas.openxmlformats.org/officeDocument/2006/relationships/oleObject" Target="../embeddings/oleObject38.bin"/><Relationship Id="rId5" Type="http://schemas.openxmlformats.org/officeDocument/2006/relationships/tags" Target="../tags/tag499.xml"/><Relationship Id="rId61" Type="http://schemas.openxmlformats.org/officeDocument/2006/relationships/tags" Target="../tags/tag555.xml"/><Relationship Id="rId82" Type="http://schemas.openxmlformats.org/officeDocument/2006/relationships/tags" Target="../tags/tag576.xml"/><Relationship Id="rId90" Type="http://schemas.openxmlformats.org/officeDocument/2006/relationships/tags" Target="../tags/tag584.xml"/><Relationship Id="rId95" Type="http://schemas.openxmlformats.org/officeDocument/2006/relationships/tags" Target="../tags/tag589.xml"/><Relationship Id="rId19" Type="http://schemas.openxmlformats.org/officeDocument/2006/relationships/tags" Target="../tags/tag513.xml"/><Relationship Id="rId14" Type="http://schemas.openxmlformats.org/officeDocument/2006/relationships/tags" Target="../tags/tag508.xml"/><Relationship Id="rId22" Type="http://schemas.openxmlformats.org/officeDocument/2006/relationships/tags" Target="../tags/tag516.xml"/><Relationship Id="rId27" Type="http://schemas.openxmlformats.org/officeDocument/2006/relationships/tags" Target="../tags/tag521.xml"/><Relationship Id="rId30" Type="http://schemas.openxmlformats.org/officeDocument/2006/relationships/tags" Target="../tags/tag524.xml"/><Relationship Id="rId35" Type="http://schemas.openxmlformats.org/officeDocument/2006/relationships/tags" Target="../tags/tag529.xml"/><Relationship Id="rId43" Type="http://schemas.openxmlformats.org/officeDocument/2006/relationships/tags" Target="../tags/tag537.xml"/><Relationship Id="rId48" Type="http://schemas.openxmlformats.org/officeDocument/2006/relationships/tags" Target="../tags/tag542.xml"/><Relationship Id="rId56" Type="http://schemas.openxmlformats.org/officeDocument/2006/relationships/tags" Target="../tags/tag550.xml"/><Relationship Id="rId64" Type="http://schemas.openxmlformats.org/officeDocument/2006/relationships/tags" Target="../tags/tag558.xml"/><Relationship Id="rId69" Type="http://schemas.openxmlformats.org/officeDocument/2006/relationships/tags" Target="../tags/tag563.xml"/><Relationship Id="rId77" Type="http://schemas.openxmlformats.org/officeDocument/2006/relationships/tags" Target="../tags/tag571.xml"/><Relationship Id="rId100" Type="http://schemas.openxmlformats.org/officeDocument/2006/relationships/oleObject" Target="../embeddings/oleObject33.bin"/><Relationship Id="rId105" Type="http://schemas.openxmlformats.org/officeDocument/2006/relationships/image" Target="../media/image29.emf"/><Relationship Id="rId8" Type="http://schemas.openxmlformats.org/officeDocument/2006/relationships/tags" Target="../tags/tag502.xml"/><Relationship Id="rId51" Type="http://schemas.openxmlformats.org/officeDocument/2006/relationships/tags" Target="../tags/tag545.xml"/><Relationship Id="rId72" Type="http://schemas.openxmlformats.org/officeDocument/2006/relationships/tags" Target="../tags/tag566.xml"/><Relationship Id="rId80" Type="http://schemas.openxmlformats.org/officeDocument/2006/relationships/tags" Target="../tags/tag574.xml"/><Relationship Id="rId85" Type="http://schemas.openxmlformats.org/officeDocument/2006/relationships/tags" Target="../tags/tag579.xml"/><Relationship Id="rId93" Type="http://schemas.openxmlformats.org/officeDocument/2006/relationships/tags" Target="../tags/tag587.xml"/><Relationship Id="rId98" Type="http://schemas.openxmlformats.org/officeDocument/2006/relationships/tags" Target="../tags/tag592.xml"/><Relationship Id="rId3" Type="http://schemas.openxmlformats.org/officeDocument/2006/relationships/tags" Target="../tags/tag497.xml"/><Relationship Id="rId12" Type="http://schemas.openxmlformats.org/officeDocument/2006/relationships/tags" Target="../tags/tag506.xml"/><Relationship Id="rId17" Type="http://schemas.openxmlformats.org/officeDocument/2006/relationships/tags" Target="../tags/tag511.xml"/><Relationship Id="rId25" Type="http://schemas.openxmlformats.org/officeDocument/2006/relationships/tags" Target="../tags/tag519.xml"/><Relationship Id="rId33" Type="http://schemas.openxmlformats.org/officeDocument/2006/relationships/tags" Target="../tags/tag527.xml"/><Relationship Id="rId38" Type="http://schemas.openxmlformats.org/officeDocument/2006/relationships/tags" Target="../tags/tag532.xml"/><Relationship Id="rId46" Type="http://schemas.openxmlformats.org/officeDocument/2006/relationships/tags" Target="../tags/tag540.xml"/><Relationship Id="rId59" Type="http://schemas.openxmlformats.org/officeDocument/2006/relationships/tags" Target="../tags/tag553.xml"/><Relationship Id="rId67" Type="http://schemas.openxmlformats.org/officeDocument/2006/relationships/tags" Target="../tags/tag561.xml"/><Relationship Id="rId103" Type="http://schemas.openxmlformats.org/officeDocument/2006/relationships/image" Target="../media/image28.emf"/><Relationship Id="rId108" Type="http://schemas.openxmlformats.org/officeDocument/2006/relationships/oleObject" Target="../embeddings/oleObject37.bin"/><Relationship Id="rId20" Type="http://schemas.openxmlformats.org/officeDocument/2006/relationships/tags" Target="../tags/tag514.xml"/><Relationship Id="rId41" Type="http://schemas.openxmlformats.org/officeDocument/2006/relationships/tags" Target="../tags/tag535.xml"/><Relationship Id="rId54" Type="http://schemas.openxmlformats.org/officeDocument/2006/relationships/tags" Target="../tags/tag548.xml"/><Relationship Id="rId62" Type="http://schemas.openxmlformats.org/officeDocument/2006/relationships/tags" Target="../tags/tag556.xml"/><Relationship Id="rId70" Type="http://schemas.openxmlformats.org/officeDocument/2006/relationships/tags" Target="../tags/tag564.xml"/><Relationship Id="rId75" Type="http://schemas.openxmlformats.org/officeDocument/2006/relationships/tags" Target="../tags/tag569.xml"/><Relationship Id="rId83" Type="http://schemas.openxmlformats.org/officeDocument/2006/relationships/tags" Target="../tags/tag577.xml"/><Relationship Id="rId88" Type="http://schemas.openxmlformats.org/officeDocument/2006/relationships/tags" Target="../tags/tag582.xml"/><Relationship Id="rId91" Type="http://schemas.openxmlformats.org/officeDocument/2006/relationships/tags" Target="../tags/tag585.xml"/><Relationship Id="rId96" Type="http://schemas.openxmlformats.org/officeDocument/2006/relationships/tags" Target="../tags/tag590.xml"/><Relationship Id="rId111" Type="http://schemas.openxmlformats.org/officeDocument/2006/relationships/image" Target="../media/image32.emf"/><Relationship Id="rId1" Type="http://schemas.openxmlformats.org/officeDocument/2006/relationships/vmlDrawing" Target="../drawings/vmlDrawing12.vml"/><Relationship Id="rId6" Type="http://schemas.openxmlformats.org/officeDocument/2006/relationships/tags" Target="../tags/tag500.xml"/><Relationship Id="rId15" Type="http://schemas.openxmlformats.org/officeDocument/2006/relationships/tags" Target="../tags/tag509.xml"/><Relationship Id="rId23" Type="http://schemas.openxmlformats.org/officeDocument/2006/relationships/tags" Target="../tags/tag517.xml"/><Relationship Id="rId28" Type="http://schemas.openxmlformats.org/officeDocument/2006/relationships/tags" Target="../tags/tag522.xml"/><Relationship Id="rId36" Type="http://schemas.openxmlformats.org/officeDocument/2006/relationships/tags" Target="../tags/tag530.xml"/><Relationship Id="rId49" Type="http://schemas.openxmlformats.org/officeDocument/2006/relationships/tags" Target="../tags/tag543.xml"/><Relationship Id="rId57" Type="http://schemas.openxmlformats.org/officeDocument/2006/relationships/tags" Target="../tags/tag551.xml"/><Relationship Id="rId106" Type="http://schemas.openxmlformats.org/officeDocument/2006/relationships/oleObject" Target="../embeddings/oleObject36.bin"/><Relationship Id="rId10" Type="http://schemas.openxmlformats.org/officeDocument/2006/relationships/tags" Target="../tags/tag504.xml"/><Relationship Id="rId31" Type="http://schemas.openxmlformats.org/officeDocument/2006/relationships/tags" Target="../tags/tag525.xml"/><Relationship Id="rId44" Type="http://schemas.openxmlformats.org/officeDocument/2006/relationships/tags" Target="../tags/tag538.xml"/><Relationship Id="rId52" Type="http://schemas.openxmlformats.org/officeDocument/2006/relationships/tags" Target="../tags/tag546.xml"/><Relationship Id="rId60" Type="http://schemas.openxmlformats.org/officeDocument/2006/relationships/tags" Target="../tags/tag554.xml"/><Relationship Id="rId65" Type="http://schemas.openxmlformats.org/officeDocument/2006/relationships/tags" Target="../tags/tag559.xml"/><Relationship Id="rId73" Type="http://schemas.openxmlformats.org/officeDocument/2006/relationships/tags" Target="../tags/tag567.xml"/><Relationship Id="rId78" Type="http://schemas.openxmlformats.org/officeDocument/2006/relationships/tags" Target="../tags/tag572.xml"/><Relationship Id="rId81" Type="http://schemas.openxmlformats.org/officeDocument/2006/relationships/tags" Target="../tags/tag575.xml"/><Relationship Id="rId86" Type="http://schemas.openxmlformats.org/officeDocument/2006/relationships/tags" Target="../tags/tag580.xml"/><Relationship Id="rId94" Type="http://schemas.openxmlformats.org/officeDocument/2006/relationships/tags" Target="../tags/tag588.xml"/><Relationship Id="rId99" Type="http://schemas.openxmlformats.org/officeDocument/2006/relationships/slideLayout" Target="../slideLayouts/slideLayout2.xml"/><Relationship Id="rId101" Type="http://schemas.openxmlformats.org/officeDocument/2006/relationships/image" Target="../media/image6.emf"/><Relationship Id="rId4" Type="http://schemas.openxmlformats.org/officeDocument/2006/relationships/tags" Target="../tags/tag498.xml"/><Relationship Id="rId9" Type="http://schemas.openxmlformats.org/officeDocument/2006/relationships/tags" Target="../tags/tag503.xml"/><Relationship Id="rId13" Type="http://schemas.openxmlformats.org/officeDocument/2006/relationships/tags" Target="../tags/tag507.xml"/><Relationship Id="rId18" Type="http://schemas.openxmlformats.org/officeDocument/2006/relationships/tags" Target="../tags/tag512.xml"/><Relationship Id="rId39" Type="http://schemas.openxmlformats.org/officeDocument/2006/relationships/tags" Target="../tags/tag533.xml"/><Relationship Id="rId109" Type="http://schemas.openxmlformats.org/officeDocument/2006/relationships/image" Target="../media/image31.emf"/><Relationship Id="rId34" Type="http://schemas.openxmlformats.org/officeDocument/2006/relationships/tags" Target="../tags/tag528.xml"/><Relationship Id="rId50" Type="http://schemas.openxmlformats.org/officeDocument/2006/relationships/tags" Target="../tags/tag544.xml"/><Relationship Id="rId55" Type="http://schemas.openxmlformats.org/officeDocument/2006/relationships/tags" Target="../tags/tag549.xml"/><Relationship Id="rId76" Type="http://schemas.openxmlformats.org/officeDocument/2006/relationships/tags" Target="../tags/tag570.xml"/><Relationship Id="rId97" Type="http://schemas.openxmlformats.org/officeDocument/2006/relationships/tags" Target="../tags/tag591.xml"/><Relationship Id="rId104" Type="http://schemas.openxmlformats.org/officeDocument/2006/relationships/oleObject" Target="../embeddings/oleObject35.bin"/><Relationship Id="rId7" Type="http://schemas.openxmlformats.org/officeDocument/2006/relationships/tags" Target="../tags/tag501.xml"/><Relationship Id="rId71" Type="http://schemas.openxmlformats.org/officeDocument/2006/relationships/tags" Target="../tags/tag565.xml"/><Relationship Id="rId92" Type="http://schemas.openxmlformats.org/officeDocument/2006/relationships/tags" Target="../tags/tag586.xml"/></Relationships>
</file>

<file path=ppt/slides/_rels/slide13.xml.rels><?xml version="1.0" encoding="UTF-8" standalone="yes"?>
<Relationships xmlns="http://schemas.openxmlformats.org/package/2006/relationships"><Relationship Id="rId13" Type="http://schemas.openxmlformats.org/officeDocument/2006/relationships/tags" Target="../tags/tag604.xml"/><Relationship Id="rId18" Type="http://schemas.openxmlformats.org/officeDocument/2006/relationships/tags" Target="../tags/tag609.xml"/><Relationship Id="rId26" Type="http://schemas.openxmlformats.org/officeDocument/2006/relationships/tags" Target="../tags/tag617.xml"/><Relationship Id="rId39" Type="http://schemas.openxmlformats.org/officeDocument/2006/relationships/tags" Target="../tags/tag630.xml"/><Relationship Id="rId21" Type="http://schemas.openxmlformats.org/officeDocument/2006/relationships/tags" Target="../tags/tag612.xml"/><Relationship Id="rId34" Type="http://schemas.openxmlformats.org/officeDocument/2006/relationships/tags" Target="../tags/tag625.xml"/><Relationship Id="rId42" Type="http://schemas.openxmlformats.org/officeDocument/2006/relationships/tags" Target="../tags/tag633.xml"/><Relationship Id="rId47" Type="http://schemas.openxmlformats.org/officeDocument/2006/relationships/tags" Target="../tags/tag638.xml"/><Relationship Id="rId50" Type="http://schemas.openxmlformats.org/officeDocument/2006/relationships/oleObject" Target="../embeddings/oleObject39.bin"/><Relationship Id="rId55" Type="http://schemas.openxmlformats.org/officeDocument/2006/relationships/image" Target="../media/image34.emf"/><Relationship Id="rId7" Type="http://schemas.openxmlformats.org/officeDocument/2006/relationships/tags" Target="../tags/tag598.xml"/><Relationship Id="rId12" Type="http://schemas.openxmlformats.org/officeDocument/2006/relationships/tags" Target="../tags/tag603.xml"/><Relationship Id="rId17" Type="http://schemas.openxmlformats.org/officeDocument/2006/relationships/tags" Target="../tags/tag608.xml"/><Relationship Id="rId25" Type="http://schemas.openxmlformats.org/officeDocument/2006/relationships/tags" Target="../tags/tag616.xml"/><Relationship Id="rId33" Type="http://schemas.openxmlformats.org/officeDocument/2006/relationships/tags" Target="../tags/tag624.xml"/><Relationship Id="rId38" Type="http://schemas.openxmlformats.org/officeDocument/2006/relationships/tags" Target="../tags/tag629.xml"/><Relationship Id="rId46" Type="http://schemas.openxmlformats.org/officeDocument/2006/relationships/tags" Target="../tags/tag637.xml"/><Relationship Id="rId59" Type="http://schemas.openxmlformats.org/officeDocument/2006/relationships/image" Target="../media/image36.emf"/><Relationship Id="rId2" Type="http://schemas.openxmlformats.org/officeDocument/2006/relationships/tags" Target="../tags/tag593.xml"/><Relationship Id="rId16" Type="http://schemas.openxmlformats.org/officeDocument/2006/relationships/tags" Target="../tags/tag607.xml"/><Relationship Id="rId20" Type="http://schemas.openxmlformats.org/officeDocument/2006/relationships/tags" Target="../tags/tag611.xml"/><Relationship Id="rId29" Type="http://schemas.openxmlformats.org/officeDocument/2006/relationships/tags" Target="../tags/tag620.xml"/><Relationship Id="rId41" Type="http://schemas.openxmlformats.org/officeDocument/2006/relationships/tags" Target="../tags/tag632.xml"/><Relationship Id="rId54" Type="http://schemas.openxmlformats.org/officeDocument/2006/relationships/oleObject" Target="../embeddings/oleObject41.bin"/><Relationship Id="rId1" Type="http://schemas.openxmlformats.org/officeDocument/2006/relationships/vmlDrawing" Target="../drawings/vmlDrawing13.vml"/><Relationship Id="rId6" Type="http://schemas.openxmlformats.org/officeDocument/2006/relationships/tags" Target="../tags/tag597.xml"/><Relationship Id="rId11" Type="http://schemas.openxmlformats.org/officeDocument/2006/relationships/tags" Target="../tags/tag602.xml"/><Relationship Id="rId24" Type="http://schemas.openxmlformats.org/officeDocument/2006/relationships/tags" Target="../tags/tag615.xml"/><Relationship Id="rId32" Type="http://schemas.openxmlformats.org/officeDocument/2006/relationships/tags" Target="../tags/tag623.xml"/><Relationship Id="rId37" Type="http://schemas.openxmlformats.org/officeDocument/2006/relationships/tags" Target="../tags/tag628.xml"/><Relationship Id="rId40" Type="http://schemas.openxmlformats.org/officeDocument/2006/relationships/tags" Target="../tags/tag631.xml"/><Relationship Id="rId45" Type="http://schemas.openxmlformats.org/officeDocument/2006/relationships/tags" Target="../tags/tag636.xml"/><Relationship Id="rId53" Type="http://schemas.openxmlformats.org/officeDocument/2006/relationships/image" Target="../media/image33.emf"/><Relationship Id="rId58" Type="http://schemas.openxmlformats.org/officeDocument/2006/relationships/oleObject" Target="../embeddings/oleObject43.bin"/><Relationship Id="rId5" Type="http://schemas.openxmlformats.org/officeDocument/2006/relationships/tags" Target="../tags/tag596.xml"/><Relationship Id="rId15" Type="http://schemas.openxmlformats.org/officeDocument/2006/relationships/tags" Target="../tags/tag606.xml"/><Relationship Id="rId23" Type="http://schemas.openxmlformats.org/officeDocument/2006/relationships/tags" Target="../tags/tag614.xml"/><Relationship Id="rId28" Type="http://schemas.openxmlformats.org/officeDocument/2006/relationships/tags" Target="../tags/tag619.xml"/><Relationship Id="rId36" Type="http://schemas.openxmlformats.org/officeDocument/2006/relationships/tags" Target="../tags/tag627.xml"/><Relationship Id="rId49" Type="http://schemas.openxmlformats.org/officeDocument/2006/relationships/slideLayout" Target="../slideLayouts/slideLayout2.xml"/><Relationship Id="rId57" Type="http://schemas.openxmlformats.org/officeDocument/2006/relationships/image" Target="../media/image35.emf"/><Relationship Id="rId10" Type="http://schemas.openxmlformats.org/officeDocument/2006/relationships/tags" Target="../tags/tag601.xml"/><Relationship Id="rId19" Type="http://schemas.openxmlformats.org/officeDocument/2006/relationships/tags" Target="../tags/tag610.xml"/><Relationship Id="rId31" Type="http://schemas.openxmlformats.org/officeDocument/2006/relationships/tags" Target="../tags/tag622.xml"/><Relationship Id="rId44" Type="http://schemas.openxmlformats.org/officeDocument/2006/relationships/tags" Target="../tags/tag635.xml"/><Relationship Id="rId52" Type="http://schemas.openxmlformats.org/officeDocument/2006/relationships/oleObject" Target="../embeddings/oleObject40.bin"/><Relationship Id="rId4" Type="http://schemas.openxmlformats.org/officeDocument/2006/relationships/tags" Target="../tags/tag595.xml"/><Relationship Id="rId9" Type="http://schemas.openxmlformats.org/officeDocument/2006/relationships/tags" Target="../tags/tag600.xml"/><Relationship Id="rId14" Type="http://schemas.openxmlformats.org/officeDocument/2006/relationships/tags" Target="../tags/tag605.xml"/><Relationship Id="rId22" Type="http://schemas.openxmlformats.org/officeDocument/2006/relationships/tags" Target="../tags/tag613.xml"/><Relationship Id="rId27" Type="http://schemas.openxmlformats.org/officeDocument/2006/relationships/tags" Target="../tags/tag618.xml"/><Relationship Id="rId30" Type="http://schemas.openxmlformats.org/officeDocument/2006/relationships/tags" Target="../tags/tag621.xml"/><Relationship Id="rId35" Type="http://schemas.openxmlformats.org/officeDocument/2006/relationships/tags" Target="../tags/tag626.xml"/><Relationship Id="rId43" Type="http://schemas.openxmlformats.org/officeDocument/2006/relationships/tags" Target="../tags/tag634.xml"/><Relationship Id="rId48" Type="http://schemas.openxmlformats.org/officeDocument/2006/relationships/tags" Target="../tags/tag639.xml"/><Relationship Id="rId56" Type="http://schemas.openxmlformats.org/officeDocument/2006/relationships/oleObject" Target="../embeddings/oleObject42.bin"/><Relationship Id="rId8" Type="http://schemas.openxmlformats.org/officeDocument/2006/relationships/tags" Target="../tags/tag599.xml"/><Relationship Id="rId51" Type="http://schemas.openxmlformats.org/officeDocument/2006/relationships/image" Target="../media/image1.emf"/><Relationship Id="rId3" Type="http://schemas.openxmlformats.org/officeDocument/2006/relationships/tags" Target="../tags/tag594.xml"/></Relationships>
</file>

<file path=ppt/slides/_rels/slide14.xml.rels><?xml version="1.0" encoding="UTF-8" standalone="yes"?>
<Relationships xmlns="http://schemas.openxmlformats.org/package/2006/relationships"><Relationship Id="rId13" Type="http://schemas.openxmlformats.org/officeDocument/2006/relationships/tags" Target="../tags/tag651.xml"/><Relationship Id="rId18" Type="http://schemas.openxmlformats.org/officeDocument/2006/relationships/tags" Target="../tags/tag656.xml"/><Relationship Id="rId26" Type="http://schemas.openxmlformats.org/officeDocument/2006/relationships/tags" Target="../tags/tag664.xml"/><Relationship Id="rId39" Type="http://schemas.openxmlformats.org/officeDocument/2006/relationships/tags" Target="../tags/tag677.xml"/><Relationship Id="rId21" Type="http://schemas.openxmlformats.org/officeDocument/2006/relationships/tags" Target="../tags/tag659.xml"/><Relationship Id="rId34" Type="http://schemas.openxmlformats.org/officeDocument/2006/relationships/tags" Target="../tags/tag672.xml"/><Relationship Id="rId42" Type="http://schemas.openxmlformats.org/officeDocument/2006/relationships/tags" Target="../tags/tag680.xml"/><Relationship Id="rId47" Type="http://schemas.openxmlformats.org/officeDocument/2006/relationships/tags" Target="../tags/tag685.xml"/><Relationship Id="rId50" Type="http://schemas.openxmlformats.org/officeDocument/2006/relationships/tags" Target="../tags/tag688.xml"/><Relationship Id="rId55" Type="http://schemas.openxmlformats.org/officeDocument/2006/relationships/tags" Target="../tags/tag693.xml"/><Relationship Id="rId63" Type="http://schemas.openxmlformats.org/officeDocument/2006/relationships/tags" Target="../tags/tag701.xml"/><Relationship Id="rId68" Type="http://schemas.openxmlformats.org/officeDocument/2006/relationships/tags" Target="../tags/tag706.xml"/><Relationship Id="rId76" Type="http://schemas.openxmlformats.org/officeDocument/2006/relationships/tags" Target="../tags/tag714.xml"/><Relationship Id="rId84" Type="http://schemas.openxmlformats.org/officeDocument/2006/relationships/image" Target="../media/image1.emf"/><Relationship Id="rId7" Type="http://schemas.openxmlformats.org/officeDocument/2006/relationships/tags" Target="../tags/tag645.xml"/><Relationship Id="rId71" Type="http://schemas.openxmlformats.org/officeDocument/2006/relationships/tags" Target="../tags/tag709.xml"/><Relationship Id="rId2" Type="http://schemas.openxmlformats.org/officeDocument/2006/relationships/tags" Target="../tags/tag640.xml"/><Relationship Id="rId16" Type="http://schemas.openxmlformats.org/officeDocument/2006/relationships/tags" Target="../tags/tag654.xml"/><Relationship Id="rId29" Type="http://schemas.openxmlformats.org/officeDocument/2006/relationships/tags" Target="../tags/tag667.xml"/><Relationship Id="rId11" Type="http://schemas.openxmlformats.org/officeDocument/2006/relationships/tags" Target="../tags/tag649.xml"/><Relationship Id="rId24" Type="http://schemas.openxmlformats.org/officeDocument/2006/relationships/tags" Target="../tags/tag662.xml"/><Relationship Id="rId32" Type="http://schemas.openxmlformats.org/officeDocument/2006/relationships/tags" Target="../tags/tag670.xml"/><Relationship Id="rId37" Type="http://schemas.openxmlformats.org/officeDocument/2006/relationships/tags" Target="../tags/tag675.xml"/><Relationship Id="rId40" Type="http://schemas.openxmlformats.org/officeDocument/2006/relationships/tags" Target="../tags/tag678.xml"/><Relationship Id="rId45" Type="http://schemas.openxmlformats.org/officeDocument/2006/relationships/tags" Target="../tags/tag683.xml"/><Relationship Id="rId53" Type="http://schemas.openxmlformats.org/officeDocument/2006/relationships/tags" Target="../tags/tag691.xml"/><Relationship Id="rId58" Type="http://schemas.openxmlformats.org/officeDocument/2006/relationships/tags" Target="../tags/tag696.xml"/><Relationship Id="rId66" Type="http://schemas.openxmlformats.org/officeDocument/2006/relationships/tags" Target="../tags/tag704.xml"/><Relationship Id="rId74" Type="http://schemas.openxmlformats.org/officeDocument/2006/relationships/tags" Target="../tags/tag712.xml"/><Relationship Id="rId79" Type="http://schemas.openxmlformats.org/officeDocument/2006/relationships/tags" Target="../tags/tag717.xml"/><Relationship Id="rId87" Type="http://schemas.openxmlformats.org/officeDocument/2006/relationships/oleObject" Target="../embeddings/oleObject46.bin"/><Relationship Id="rId5" Type="http://schemas.openxmlformats.org/officeDocument/2006/relationships/tags" Target="../tags/tag643.xml"/><Relationship Id="rId61" Type="http://schemas.openxmlformats.org/officeDocument/2006/relationships/tags" Target="../tags/tag699.xml"/><Relationship Id="rId82" Type="http://schemas.openxmlformats.org/officeDocument/2006/relationships/slideLayout" Target="../slideLayouts/slideLayout2.xml"/><Relationship Id="rId19" Type="http://schemas.openxmlformats.org/officeDocument/2006/relationships/tags" Target="../tags/tag657.xml"/><Relationship Id="rId4" Type="http://schemas.openxmlformats.org/officeDocument/2006/relationships/tags" Target="../tags/tag642.xml"/><Relationship Id="rId9" Type="http://schemas.openxmlformats.org/officeDocument/2006/relationships/tags" Target="../tags/tag647.xml"/><Relationship Id="rId14" Type="http://schemas.openxmlformats.org/officeDocument/2006/relationships/tags" Target="../tags/tag652.xml"/><Relationship Id="rId22" Type="http://schemas.openxmlformats.org/officeDocument/2006/relationships/tags" Target="../tags/tag660.xml"/><Relationship Id="rId27" Type="http://schemas.openxmlformats.org/officeDocument/2006/relationships/tags" Target="../tags/tag665.xml"/><Relationship Id="rId30" Type="http://schemas.openxmlformats.org/officeDocument/2006/relationships/tags" Target="../tags/tag668.xml"/><Relationship Id="rId35" Type="http://schemas.openxmlformats.org/officeDocument/2006/relationships/tags" Target="../tags/tag673.xml"/><Relationship Id="rId43" Type="http://schemas.openxmlformats.org/officeDocument/2006/relationships/tags" Target="../tags/tag681.xml"/><Relationship Id="rId48" Type="http://schemas.openxmlformats.org/officeDocument/2006/relationships/tags" Target="../tags/tag686.xml"/><Relationship Id="rId56" Type="http://schemas.openxmlformats.org/officeDocument/2006/relationships/tags" Target="../tags/tag694.xml"/><Relationship Id="rId64" Type="http://schemas.openxmlformats.org/officeDocument/2006/relationships/tags" Target="../tags/tag702.xml"/><Relationship Id="rId69" Type="http://schemas.openxmlformats.org/officeDocument/2006/relationships/tags" Target="../tags/tag707.xml"/><Relationship Id="rId77" Type="http://schemas.openxmlformats.org/officeDocument/2006/relationships/tags" Target="../tags/tag715.xml"/><Relationship Id="rId8" Type="http://schemas.openxmlformats.org/officeDocument/2006/relationships/tags" Target="../tags/tag646.xml"/><Relationship Id="rId51" Type="http://schemas.openxmlformats.org/officeDocument/2006/relationships/tags" Target="../tags/tag689.xml"/><Relationship Id="rId72" Type="http://schemas.openxmlformats.org/officeDocument/2006/relationships/tags" Target="../tags/tag710.xml"/><Relationship Id="rId80" Type="http://schemas.openxmlformats.org/officeDocument/2006/relationships/tags" Target="../tags/tag718.xml"/><Relationship Id="rId85" Type="http://schemas.openxmlformats.org/officeDocument/2006/relationships/oleObject" Target="../embeddings/oleObject45.bin"/><Relationship Id="rId3" Type="http://schemas.openxmlformats.org/officeDocument/2006/relationships/tags" Target="../tags/tag641.xml"/><Relationship Id="rId12" Type="http://schemas.openxmlformats.org/officeDocument/2006/relationships/tags" Target="../tags/tag650.xml"/><Relationship Id="rId17" Type="http://schemas.openxmlformats.org/officeDocument/2006/relationships/tags" Target="../tags/tag655.xml"/><Relationship Id="rId25" Type="http://schemas.openxmlformats.org/officeDocument/2006/relationships/tags" Target="../tags/tag663.xml"/><Relationship Id="rId33" Type="http://schemas.openxmlformats.org/officeDocument/2006/relationships/tags" Target="../tags/tag671.xml"/><Relationship Id="rId38" Type="http://schemas.openxmlformats.org/officeDocument/2006/relationships/tags" Target="../tags/tag676.xml"/><Relationship Id="rId46" Type="http://schemas.openxmlformats.org/officeDocument/2006/relationships/tags" Target="../tags/tag684.xml"/><Relationship Id="rId59" Type="http://schemas.openxmlformats.org/officeDocument/2006/relationships/tags" Target="../tags/tag697.xml"/><Relationship Id="rId67" Type="http://schemas.openxmlformats.org/officeDocument/2006/relationships/tags" Target="../tags/tag705.xml"/><Relationship Id="rId20" Type="http://schemas.openxmlformats.org/officeDocument/2006/relationships/tags" Target="../tags/tag658.xml"/><Relationship Id="rId41" Type="http://schemas.openxmlformats.org/officeDocument/2006/relationships/tags" Target="../tags/tag679.xml"/><Relationship Id="rId54" Type="http://schemas.openxmlformats.org/officeDocument/2006/relationships/tags" Target="../tags/tag692.xml"/><Relationship Id="rId62" Type="http://schemas.openxmlformats.org/officeDocument/2006/relationships/tags" Target="../tags/tag700.xml"/><Relationship Id="rId70" Type="http://schemas.openxmlformats.org/officeDocument/2006/relationships/tags" Target="../tags/tag708.xml"/><Relationship Id="rId75" Type="http://schemas.openxmlformats.org/officeDocument/2006/relationships/tags" Target="../tags/tag713.xml"/><Relationship Id="rId83" Type="http://schemas.openxmlformats.org/officeDocument/2006/relationships/oleObject" Target="../embeddings/oleObject44.bin"/><Relationship Id="rId88" Type="http://schemas.openxmlformats.org/officeDocument/2006/relationships/image" Target="../media/image38.emf"/><Relationship Id="rId1" Type="http://schemas.openxmlformats.org/officeDocument/2006/relationships/vmlDrawing" Target="../drawings/vmlDrawing14.vml"/><Relationship Id="rId6" Type="http://schemas.openxmlformats.org/officeDocument/2006/relationships/tags" Target="../tags/tag644.xml"/><Relationship Id="rId15" Type="http://schemas.openxmlformats.org/officeDocument/2006/relationships/tags" Target="../tags/tag653.xml"/><Relationship Id="rId23" Type="http://schemas.openxmlformats.org/officeDocument/2006/relationships/tags" Target="../tags/tag661.xml"/><Relationship Id="rId28" Type="http://schemas.openxmlformats.org/officeDocument/2006/relationships/tags" Target="../tags/tag666.xml"/><Relationship Id="rId36" Type="http://schemas.openxmlformats.org/officeDocument/2006/relationships/tags" Target="../tags/tag674.xml"/><Relationship Id="rId49" Type="http://schemas.openxmlformats.org/officeDocument/2006/relationships/tags" Target="../tags/tag687.xml"/><Relationship Id="rId57" Type="http://schemas.openxmlformats.org/officeDocument/2006/relationships/tags" Target="../tags/tag695.xml"/><Relationship Id="rId10" Type="http://schemas.openxmlformats.org/officeDocument/2006/relationships/tags" Target="../tags/tag648.xml"/><Relationship Id="rId31" Type="http://schemas.openxmlformats.org/officeDocument/2006/relationships/tags" Target="../tags/tag669.xml"/><Relationship Id="rId44" Type="http://schemas.openxmlformats.org/officeDocument/2006/relationships/tags" Target="../tags/tag682.xml"/><Relationship Id="rId52" Type="http://schemas.openxmlformats.org/officeDocument/2006/relationships/tags" Target="../tags/tag690.xml"/><Relationship Id="rId60" Type="http://schemas.openxmlformats.org/officeDocument/2006/relationships/tags" Target="../tags/tag698.xml"/><Relationship Id="rId65" Type="http://schemas.openxmlformats.org/officeDocument/2006/relationships/tags" Target="../tags/tag703.xml"/><Relationship Id="rId73" Type="http://schemas.openxmlformats.org/officeDocument/2006/relationships/tags" Target="../tags/tag711.xml"/><Relationship Id="rId78" Type="http://schemas.openxmlformats.org/officeDocument/2006/relationships/tags" Target="../tags/tag716.xml"/><Relationship Id="rId81" Type="http://schemas.openxmlformats.org/officeDocument/2006/relationships/tags" Target="../tags/tag719.xml"/><Relationship Id="rId86" Type="http://schemas.openxmlformats.org/officeDocument/2006/relationships/image" Target="../media/image37.emf"/></Relationships>
</file>

<file path=ppt/slides/_rels/slide15.xml.rels><?xml version="1.0" encoding="UTF-8" standalone="yes"?>
<Relationships xmlns="http://schemas.openxmlformats.org/package/2006/relationships"><Relationship Id="rId13" Type="http://schemas.openxmlformats.org/officeDocument/2006/relationships/tags" Target="../tags/tag731.xml"/><Relationship Id="rId18" Type="http://schemas.openxmlformats.org/officeDocument/2006/relationships/tags" Target="../tags/tag736.xml"/><Relationship Id="rId26" Type="http://schemas.openxmlformats.org/officeDocument/2006/relationships/tags" Target="../tags/tag744.xml"/><Relationship Id="rId39" Type="http://schemas.openxmlformats.org/officeDocument/2006/relationships/tags" Target="../tags/tag757.xml"/><Relationship Id="rId21" Type="http://schemas.openxmlformats.org/officeDocument/2006/relationships/tags" Target="../tags/tag739.xml"/><Relationship Id="rId34" Type="http://schemas.openxmlformats.org/officeDocument/2006/relationships/tags" Target="../tags/tag752.xml"/><Relationship Id="rId42" Type="http://schemas.openxmlformats.org/officeDocument/2006/relationships/tags" Target="../tags/tag760.xml"/><Relationship Id="rId47" Type="http://schemas.openxmlformats.org/officeDocument/2006/relationships/tags" Target="../tags/tag765.xml"/><Relationship Id="rId50" Type="http://schemas.openxmlformats.org/officeDocument/2006/relationships/tags" Target="../tags/tag768.xml"/><Relationship Id="rId55" Type="http://schemas.openxmlformats.org/officeDocument/2006/relationships/tags" Target="../tags/tag773.xml"/><Relationship Id="rId63" Type="http://schemas.openxmlformats.org/officeDocument/2006/relationships/tags" Target="../tags/tag781.xml"/><Relationship Id="rId68" Type="http://schemas.openxmlformats.org/officeDocument/2006/relationships/tags" Target="../tags/tag786.xml"/><Relationship Id="rId76" Type="http://schemas.openxmlformats.org/officeDocument/2006/relationships/tags" Target="../tags/tag794.xml"/><Relationship Id="rId84" Type="http://schemas.openxmlformats.org/officeDocument/2006/relationships/image" Target="../media/image39.emf"/><Relationship Id="rId7" Type="http://schemas.openxmlformats.org/officeDocument/2006/relationships/tags" Target="../tags/tag725.xml"/><Relationship Id="rId71" Type="http://schemas.openxmlformats.org/officeDocument/2006/relationships/tags" Target="../tags/tag789.xml"/><Relationship Id="rId2" Type="http://schemas.openxmlformats.org/officeDocument/2006/relationships/tags" Target="../tags/tag720.xml"/><Relationship Id="rId16" Type="http://schemas.openxmlformats.org/officeDocument/2006/relationships/tags" Target="../tags/tag734.xml"/><Relationship Id="rId29" Type="http://schemas.openxmlformats.org/officeDocument/2006/relationships/tags" Target="../tags/tag747.xml"/><Relationship Id="rId11" Type="http://schemas.openxmlformats.org/officeDocument/2006/relationships/tags" Target="../tags/tag729.xml"/><Relationship Id="rId24" Type="http://schemas.openxmlformats.org/officeDocument/2006/relationships/tags" Target="../tags/tag742.xml"/><Relationship Id="rId32" Type="http://schemas.openxmlformats.org/officeDocument/2006/relationships/tags" Target="../tags/tag750.xml"/><Relationship Id="rId37" Type="http://schemas.openxmlformats.org/officeDocument/2006/relationships/tags" Target="../tags/tag755.xml"/><Relationship Id="rId40" Type="http://schemas.openxmlformats.org/officeDocument/2006/relationships/tags" Target="../tags/tag758.xml"/><Relationship Id="rId45" Type="http://schemas.openxmlformats.org/officeDocument/2006/relationships/tags" Target="../tags/tag763.xml"/><Relationship Id="rId53" Type="http://schemas.openxmlformats.org/officeDocument/2006/relationships/tags" Target="../tags/tag771.xml"/><Relationship Id="rId58" Type="http://schemas.openxmlformats.org/officeDocument/2006/relationships/tags" Target="../tags/tag776.xml"/><Relationship Id="rId66" Type="http://schemas.openxmlformats.org/officeDocument/2006/relationships/tags" Target="../tags/tag784.xml"/><Relationship Id="rId74" Type="http://schemas.openxmlformats.org/officeDocument/2006/relationships/tags" Target="../tags/tag792.xml"/><Relationship Id="rId79" Type="http://schemas.openxmlformats.org/officeDocument/2006/relationships/tags" Target="../tags/tag797.xml"/><Relationship Id="rId87" Type="http://schemas.openxmlformats.org/officeDocument/2006/relationships/oleObject" Target="../embeddings/oleObject50.bin"/><Relationship Id="rId5" Type="http://schemas.openxmlformats.org/officeDocument/2006/relationships/tags" Target="../tags/tag723.xml"/><Relationship Id="rId61" Type="http://schemas.openxmlformats.org/officeDocument/2006/relationships/tags" Target="../tags/tag779.xml"/><Relationship Id="rId82" Type="http://schemas.openxmlformats.org/officeDocument/2006/relationships/image" Target="../media/image1.emf"/><Relationship Id="rId19" Type="http://schemas.openxmlformats.org/officeDocument/2006/relationships/tags" Target="../tags/tag737.xml"/><Relationship Id="rId4" Type="http://schemas.openxmlformats.org/officeDocument/2006/relationships/tags" Target="../tags/tag722.xml"/><Relationship Id="rId9" Type="http://schemas.openxmlformats.org/officeDocument/2006/relationships/tags" Target="../tags/tag727.xml"/><Relationship Id="rId14" Type="http://schemas.openxmlformats.org/officeDocument/2006/relationships/tags" Target="../tags/tag732.xml"/><Relationship Id="rId22" Type="http://schemas.openxmlformats.org/officeDocument/2006/relationships/tags" Target="../tags/tag740.xml"/><Relationship Id="rId27" Type="http://schemas.openxmlformats.org/officeDocument/2006/relationships/tags" Target="../tags/tag745.xml"/><Relationship Id="rId30" Type="http://schemas.openxmlformats.org/officeDocument/2006/relationships/tags" Target="../tags/tag748.xml"/><Relationship Id="rId35" Type="http://schemas.openxmlformats.org/officeDocument/2006/relationships/tags" Target="../tags/tag753.xml"/><Relationship Id="rId43" Type="http://schemas.openxmlformats.org/officeDocument/2006/relationships/tags" Target="../tags/tag761.xml"/><Relationship Id="rId48" Type="http://schemas.openxmlformats.org/officeDocument/2006/relationships/tags" Target="../tags/tag766.xml"/><Relationship Id="rId56" Type="http://schemas.openxmlformats.org/officeDocument/2006/relationships/tags" Target="../tags/tag774.xml"/><Relationship Id="rId64" Type="http://schemas.openxmlformats.org/officeDocument/2006/relationships/tags" Target="../tags/tag782.xml"/><Relationship Id="rId69" Type="http://schemas.openxmlformats.org/officeDocument/2006/relationships/tags" Target="../tags/tag787.xml"/><Relationship Id="rId77" Type="http://schemas.openxmlformats.org/officeDocument/2006/relationships/tags" Target="../tags/tag795.xml"/><Relationship Id="rId8" Type="http://schemas.openxmlformats.org/officeDocument/2006/relationships/tags" Target="../tags/tag726.xml"/><Relationship Id="rId51" Type="http://schemas.openxmlformats.org/officeDocument/2006/relationships/tags" Target="../tags/tag769.xml"/><Relationship Id="rId72" Type="http://schemas.openxmlformats.org/officeDocument/2006/relationships/tags" Target="../tags/tag790.xml"/><Relationship Id="rId80" Type="http://schemas.openxmlformats.org/officeDocument/2006/relationships/slideLayout" Target="../slideLayouts/slideLayout2.xml"/><Relationship Id="rId85" Type="http://schemas.openxmlformats.org/officeDocument/2006/relationships/oleObject" Target="../embeddings/oleObject49.bin"/><Relationship Id="rId3" Type="http://schemas.openxmlformats.org/officeDocument/2006/relationships/tags" Target="../tags/tag721.xml"/><Relationship Id="rId12" Type="http://schemas.openxmlformats.org/officeDocument/2006/relationships/tags" Target="../tags/tag730.xml"/><Relationship Id="rId17" Type="http://schemas.openxmlformats.org/officeDocument/2006/relationships/tags" Target="../tags/tag735.xml"/><Relationship Id="rId25" Type="http://schemas.openxmlformats.org/officeDocument/2006/relationships/tags" Target="../tags/tag743.xml"/><Relationship Id="rId33" Type="http://schemas.openxmlformats.org/officeDocument/2006/relationships/tags" Target="../tags/tag751.xml"/><Relationship Id="rId38" Type="http://schemas.openxmlformats.org/officeDocument/2006/relationships/tags" Target="../tags/tag756.xml"/><Relationship Id="rId46" Type="http://schemas.openxmlformats.org/officeDocument/2006/relationships/tags" Target="../tags/tag764.xml"/><Relationship Id="rId59" Type="http://schemas.openxmlformats.org/officeDocument/2006/relationships/tags" Target="../tags/tag777.xml"/><Relationship Id="rId67" Type="http://schemas.openxmlformats.org/officeDocument/2006/relationships/tags" Target="../tags/tag785.xml"/><Relationship Id="rId20" Type="http://schemas.openxmlformats.org/officeDocument/2006/relationships/tags" Target="../tags/tag738.xml"/><Relationship Id="rId41" Type="http://schemas.openxmlformats.org/officeDocument/2006/relationships/tags" Target="../tags/tag759.xml"/><Relationship Id="rId54" Type="http://schemas.openxmlformats.org/officeDocument/2006/relationships/tags" Target="../tags/tag772.xml"/><Relationship Id="rId62" Type="http://schemas.openxmlformats.org/officeDocument/2006/relationships/tags" Target="../tags/tag780.xml"/><Relationship Id="rId70" Type="http://schemas.openxmlformats.org/officeDocument/2006/relationships/tags" Target="../tags/tag788.xml"/><Relationship Id="rId75" Type="http://schemas.openxmlformats.org/officeDocument/2006/relationships/tags" Target="../tags/tag793.xml"/><Relationship Id="rId83" Type="http://schemas.openxmlformats.org/officeDocument/2006/relationships/oleObject" Target="../embeddings/oleObject48.bin"/><Relationship Id="rId88" Type="http://schemas.openxmlformats.org/officeDocument/2006/relationships/image" Target="../media/image41.emf"/><Relationship Id="rId1" Type="http://schemas.openxmlformats.org/officeDocument/2006/relationships/vmlDrawing" Target="../drawings/vmlDrawing15.vml"/><Relationship Id="rId6" Type="http://schemas.openxmlformats.org/officeDocument/2006/relationships/tags" Target="../tags/tag724.xml"/><Relationship Id="rId15" Type="http://schemas.openxmlformats.org/officeDocument/2006/relationships/tags" Target="../tags/tag733.xml"/><Relationship Id="rId23" Type="http://schemas.openxmlformats.org/officeDocument/2006/relationships/tags" Target="../tags/tag741.xml"/><Relationship Id="rId28" Type="http://schemas.openxmlformats.org/officeDocument/2006/relationships/tags" Target="../tags/tag746.xml"/><Relationship Id="rId36" Type="http://schemas.openxmlformats.org/officeDocument/2006/relationships/tags" Target="../tags/tag754.xml"/><Relationship Id="rId49" Type="http://schemas.openxmlformats.org/officeDocument/2006/relationships/tags" Target="../tags/tag767.xml"/><Relationship Id="rId57" Type="http://schemas.openxmlformats.org/officeDocument/2006/relationships/tags" Target="../tags/tag775.xml"/><Relationship Id="rId10" Type="http://schemas.openxmlformats.org/officeDocument/2006/relationships/tags" Target="../tags/tag728.xml"/><Relationship Id="rId31" Type="http://schemas.openxmlformats.org/officeDocument/2006/relationships/tags" Target="../tags/tag749.xml"/><Relationship Id="rId44" Type="http://schemas.openxmlformats.org/officeDocument/2006/relationships/tags" Target="../tags/tag762.xml"/><Relationship Id="rId52" Type="http://schemas.openxmlformats.org/officeDocument/2006/relationships/tags" Target="../tags/tag770.xml"/><Relationship Id="rId60" Type="http://schemas.openxmlformats.org/officeDocument/2006/relationships/tags" Target="../tags/tag778.xml"/><Relationship Id="rId65" Type="http://schemas.openxmlformats.org/officeDocument/2006/relationships/tags" Target="../tags/tag783.xml"/><Relationship Id="rId73" Type="http://schemas.openxmlformats.org/officeDocument/2006/relationships/tags" Target="../tags/tag791.xml"/><Relationship Id="rId78" Type="http://schemas.openxmlformats.org/officeDocument/2006/relationships/tags" Target="../tags/tag796.xml"/><Relationship Id="rId81" Type="http://schemas.openxmlformats.org/officeDocument/2006/relationships/oleObject" Target="../embeddings/oleObject47.bin"/><Relationship Id="rId86" Type="http://schemas.openxmlformats.org/officeDocument/2006/relationships/image" Target="../media/image40.emf"/></Relationships>
</file>

<file path=ppt/slides/_rels/slide16.xml.rels><?xml version="1.0" encoding="UTF-8" standalone="yes"?>
<Relationships xmlns="http://schemas.openxmlformats.org/package/2006/relationships"><Relationship Id="rId26" Type="http://schemas.openxmlformats.org/officeDocument/2006/relationships/tags" Target="../tags/tag822.xml"/><Relationship Id="rId21" Type="http://schemas.openxmlformats.org/officeDocument/2006/relationships/tags" Target="../tags/tag817.xml"/><Relationship Id="rId42" Type="http://schemas.openxmlformats.org/officeDocument/2006/relationships/tags" Target="../tags/tag838.xml"/><Relationship Id="rId47" Type="http://schemas.openxmlformats.org/officeDocument/2006/relationships/tags" Target="../tags/tag843.xml"/><Relationship Id="rId63" Type="http://schemas.openxmlformats.org/officeDocument/2006/relationships/tags" Target="../tags/tag859.xml"/><Relationship Id="rId68" Type="http://schemas.openxmlformats.org/officeDocument/2006/relationships/tags" Target="../tags/tag864.xml"/><Relationship Id="rId84" Type="http://schemas.openxmlformats.org/officeDocument/2006/relationships/tags" Target="../tags/tag880.xml"/><Relationship Id="rId89" Type="http://schemas.openxmlformats.org/officeDocument/2006/relationships/tags" Target="../tags/tag885.xml"/><Relationship Id="rId7" Type="http://schemas.openxmlformats.org/officeDocument/2006/relationships/tags" Target="../tags/tag803.xml"/><Relationship Id="rId71" Type="http://schemas.openxmlformats.org/officeDocument/2006/relationships/tags" Target="../tags/tag867.xml"/><Relationship Id="rId92" Type="http://schemas.openxmlformats.org/officeDocument/2006/relationships/tags" Target="../tags/tag888.xml"/><Relationship Id="rId2" Type="http://schemas.openxmlformats.org/officeDocument/2006/relationships/tags" Target="../tags/tag798.xml"/><Relationship Id="rId16" Type="http://schemas.openxmlformats.org/officeDocument/2006/relationships/tags" Target="../tags/tag812.xml"/><Relationship Id="rId29" Type="http://schemas.openxmlformats.org/officeDocument/2006/relationships/tags" Target="../tags/tag825.xml"/><Relationship Id="rId11" Type="http://schemas.openxmlformats.org/officeDocument/2006/relationships/tags" Target="../tags/tag807.xml"/><Relationship Id="rId24" Type="http://schemas.openxmlformats.org/officeDocument/2006/relationships/tags" Target="../tags/tag820.xml"/><Relationship Id="rId32" Type="http://schemas.openxmlformats.org/officeDocument/2006/relationships/tags" Target="../tags/tag828.xml"/><Relationship Id="rId37" Type="http://schemas.openxmlformats.org/officeDocument/2006/relationships/tags" Target="../tags/tag833.xml"/><Relationship Id="rId40" Type="http://schemas.openxmlformats.org/officeDocument/2006/relationships/tags" Target="../tags/tag836.xml"/><Relationship Id="rId45" Type="http://schemas.openxmlformats.org/officeDocument/2006/relationships/tags" Target="../tags/tag841.xml"/><Relationship Id="rId53" Type="http://schemas.openxmlformats.org/officeDocument/2006/relationships/tags" Target="../tags/tag849.xml"/><Relationship Id="rId58" Type="http://schemas.openxmlformats.org/officeDocument/2006/relationships/tags" Target="../tags/tag854.xml"/><Relationship Id="rId66" Type="http://schemas.openxmlformats.org/officeDocument/2006/relationships/tags" Target="../tags/tag862.xml"/><Relationship Id="rId74" Type="http://schemas.openxmlformats.org/officeDocument/2006/relationships/tags" Target="../tags/tag870.xml"/><Relationship Id="rId79" Type="http://schemas.openxmlformats.org/officeDocument/2006/relationships/tags" Target="../tags/tag875.xml"/><Relationship Id="rId87" Type="http://schemas.openxmlformats.org/officeDocument/2006/relationships/tags" Target="../tags/tag883.xml"/><Relationship Id="rId102" Type="http://schemas.openxmlformats.org/officeDocument/2006/relationships/oleObject" Target="../embeddings/oleObject54.bin"/><Relationship Id="rId5" Type="http://schemas.openxmlformats.org/officeDocument/2006/relationships/tags" Target="../tags/tag801.xml"/><Relationship Id="rId61" Type="http://schemas.openxmlformats.org/officeDocument/2006/relationships/tags" Target="../tags/tag857.xml"/><Relationship Id="rId82" Type="http://schemas.openxmlformats.org/officeDocument/2006/relationships/tags" Target="../tags/tag878.xml"/><Relationship Id="rId90" Type="http://schemas.openxmlformats.org/officeDocument/2006/relationships/tags" Target="../tags/tag886.xml"/><Relationship Id="rId95" Type="http://schemas.openxmlformats.org/officeDocument/2006/relationships/slideLayout" Target="../slideLayouts/slideLayout2.xml"/><Relationship Id="rId19" Type="http://schemas.openxmlformats.org/officeDocument/2006/relationships/tags" Target="../tags/tag815.xml"/><Relationship Id="rId14" Type="http://schemas.openxmlformats.org/officeDocument/2006/relationships/tags" Target="../tags/tag810.xml"/><Relationship Id="rId22" Type="http://schemas.openxmlformats.org/officeDocument/2006/relationships/tags" Target="../tags/tag818.xml"/><Relationship Id="rId27" Type="http://schemas.openxmlformats.org/officeDocument/2006/relationships/tags" Target="../tags/tag823.xml"/><Relationship Id="rId30" Type="http://schemas.openxmlformats.org/officeDocument/2006/relationships/tags" Target="../tags/tag826.xml"/><Relationship Id="rId35" Type="http://schemas.openxmlformats.org/officeDocument/2006/relationships/tags" Target="../tags/tag831.xml"/><Relationship Id="rId43" Type="http://schemas.openxmlformats.org/officeDocument/2006/relationships/tags" Target="../tags/tag839.xml"/><Relationship Id="rId48" Type="http://schemas.openxmlformats.org/officeDocument/2006/relationships/tags" Target="../tags/tag844.xml"/><Relationship Id="rId56" Type="http://schemas.openxmlformats.org/officeDocument/2006/relationships/tags" Target="../tags/tag852.xml"/><Relationship Id="rId64" Type="http://schemas.openxmlformats.org/officeDocument/2006/relationships/tags" Target="../tags/tag860.xml"/><Relationship Id="rId69" Type="http://schemas.openxmlformats.org/officeDocument/2006/relationships/tags" Target="../tags/tag865.xml"/><Relationship Id="rId77" Type="http://schemas.openxmlformats.org/officeDocument/2006/relationships/tags" Target="../tags/tag873.xml"/><Relationship Id="rId100" Type="http://schemas.openxmlformats.org/officeDocument/2006/relationships/oleObject" Target="../embeddings/oleObject53.bin"/><Relationship Id="rId8" Type="http://schemas.openxmlformats.org/officeDocument/2006/relationships/tags" Target="../tags/tag804.xml"/><Relationship Id="rId51" Type="http://schemas.openxmlformats.org/officeDocument/2006/relationships/tags" Target="../tags/tag847.xml"/><Relationship Id="rId72" Type="http://schemas.openxmlformats.org/officeDocument/2006/relationships/tags" Target="../tags/tag868.xml"/><Relationship Id="rId80" Type="http://schemas.openxmlformats.org/officeDocument/2006/relationships/tags" Target="../tags/tag876.xml"/><Relationship Id="rId85" Type="http://schemas.openxmlformats.org/officeDocument/2006/relationships/tags" Target="../tags/tag881.xml"/><Relationship Id="rId93" Type="http://schemas.openxmlformats.org/officeDocument/2006/relationships/tags" Target="../tags/tag889.xml"/><Relationship Id="rId98" Type="http://schemas.openxmlformats.org/officeDocument/2006/relationships/oleObject" Target="../embeddings/oleObject52.bin"/><Relationship Id="rId3" Type="http://schemas.openxmlformats.org/officeDocument/2006/relationships/tags" Target="../tags/tag799.xml"/><Relationship Id="rId12" Type="http://schemas.openxmlformats.org/officeDocument/2006/relationships/tags" Target="../tags/tag808.xml"/><Relationship Id="rId17" Type="http://schemas.openxmlformats.org/officeDocument/2006/relationships/tags" Target="../tags/tag813.xml"/><Relationship Id="rId25" Type="http://schemas.openxmlformats.org/officeDocument/2006/relationships/tags" Target="../tags/tag821.xml"/><Relationship Id="rId33" Type="http://schemas.openxmlformats.org/officeDocument/2006/relationships/tags" Target="../tags/tag829.xml"/><Relationship Id="rId38" Type="http://schemas.openxmlformats.org/officeDocument/2006/relationships/tags" Target="../tags/tag834.xml"/><Relationship Id="rId46" Type="http://schemas.openxmlformats.org/officeDocument/2006/relationships/tags" Target="../tags/tag842.xml"/><Relationship Id="rId59" Type="http://schemas.openxmlformats.org/officeDocument/2006/relationships/tags" Target="../tags/tag855.xml"/><Relationship Id="rId67" Type="http://schemas.openxmlformats.org/officeDocument/2006/relationships/tags" Target="../tags/tag863.xml"/><Relationship Id="rId103" Type="http://schemas.openxmlformats.org/officeDocument/2006/relationships/image" Target="../media/image44.emf"/><Relationship Id="rId20" Type="http://schemas.openxmlformats.org/officeDocument/2006/relationships/tags" Target="../tags/tag816.xml"/><Relationship Id="rId41" Type="http://schemas.openxmlformats.org/officeDocument/2006/relationships/tags" Target="../tags/tag837.xml"/><Relationship Id="rId54" Type="http://schemas.openxmlformats.org/officeDocument/2006/relationships/tags" Target="../tags/tag850.xml"/><Relationship Id="rId62" Type="http://schemas.openxmlformats.org/officeDocument/2006/relationships/tags" Target="../tags/tag858.xml"/><Relationship Id="rId70" Type="http://schemas.openxmlformats.org/officeDocument/2006/relationships/tags" Target="../tags/tag866.xml"/><Relationship Id="rId75" Type="http://schemas.openxmlformats.org/officeDocument/2006/relationships/tags" Target="../tags/tag871.xml"/><Relationship Id="rId83" Type="http://schemas.openxmlformats.org/officeDocument/2006/relationships/tags" Target="../tags/tag879.xml"/><Relationship Id="rId88" Type="http://schemas.openxmlformats.org/officeDocument/2006/relationships/tags" Target="../tags/tag884.xml"/><Relationship Id="rId91" Type="http://schemas.openxmlformats.org/officeDocument/2006/relationships/tags" Target="../tags/tag887.xml"/><Relationship Id="rId96" Type="http://schemas.openxmlformats.org/officeDocument/2006/relationships/oleObject" Target="../embeddings/oleObject51.bin"/><Relationship Id="rId1" Type="http://schemas.openxmlformats.org/officeDocument/2006/relationships/vmlDrawing" Target="../drawings/vmlDrawing16.vml"/><Relationship Id="rId6" Type="http://schemas.openxmlformats.org/officeDocument/2006/relationships/tags" Target="../tags/tag802.xml"/><Relationship Id="rId15" Type="http://schemas.openxmlformats.org/officeDocument/2006/relationships/tags" Target="../tags/tag811.xml"/><Relationship Id="rId23" Type="http://schemas.openxmlformats.org/officeDocument/2006/relationships/tags" Target="../tags/tag819.xml"/><Relationship Id="rId28" Type="http://schemas.openxmlformats.org/officeDocument/2006/relationships/tags" Target="../tags/tag824.xml"/><Relationship Id="rId36" Type="http://schemas.openxmlformats.org/officeDocument/2006/relationships/tags" Target="../tags/tag832.xml"/><Relationship Id="rId49" Type="http://schemas.openxmlformats.org/officeDocument/2006/relationships/tags" Target="../tags/tag845.xml"/><Relationship Id="rId57" Type="http://schemas.openxmlformats.org/officeDocument/2006/relationships/tags" Target="../tags/tag853.xml"/><Relationship Id="rId10" Type="http://schemas.openxmlformats.org/officeDocument/2006/relationships/tags" Target="../tags/tag806.xml"/><Relationship Id="rId31" Type="http://schemas.openxmlformats.org/officeDocument/2006/relationships/tags" Target="../tags/tag827.xml"/><Relationship Id="rId44" Type="http://schemas.openxmlformats.org/officeDocument/2006/relationships/tags" Target="../tags/tag840.xml"/><Relationship Id="rId52" Type="http://schemas.openxmlformats.org/officeDocument/2006/relationships/tags" Target="../tags/tag848.xml"/><Relationship Id="rId60" Type="http://schemas.openxmlformats.org/officeDocument/2006/relationships/tags" Target="../tags/tag856.xml"/><Relationship Id="rId65" Type="http://schemas.openxmlformats.org/officeDocument/2006/relationships/tags" Target="../tags/tag861.xml"/><Relationship Id="rId73" Type="http://schemas.openxmlformats.org/officeDocument/2006/relationships/tags" Target="../tags/tag869.xml"/><Relationship Id="rId78" Type="http://schemas.openxmlformats.org/officeDocument/2006/relationships/tags" Target="../tags/tag874.xml"/><Relationship Id="rId81" Type="http://schemas.openxmlformats.org/officeDocument/2006/relationships/tags" Target="../tags/tag877.xml"/><Relationship Id="rId86" Type="http://schemas.openxmlformats.org/officeDocument/2006/relationships/tags" Target="../tags/tag882.xml"/><Relationship Id="rId94" Type="http://schemas.openxmlformats.org/officeDocument/2006/relationships/tags" Target="../tags/tag890.xml"/><Relationship Id="rId99" Type="http://schemas.openxmlformats.org/officeDocument/2006/relationships/image" Target="../media/image42.emf"/><Relationship Id="rId101" Type="http://schemas.openxmlformats.org/officeDocument/2006/relationships/image" Target="../media/image43.emf"/><Relationship Id="rId4" Type="http://schemas.openxmlformats.org/officeDocument/2006/relationships/tags" Target="../tags/tag800.xml"/><Relationship Id="rId9" Type="http://schemas.openxmlformats.org/officeDocument/2006/relationships/tags" Target="../tags/tag805.xml"/><Relationship Id="rId13" Type="http://schemas.openxmlformats.org/officeDocument/2006/relationships/tags" Target="../tags/tag809.xml"/><Relationship Id="rId18" Type="http://schemas.openxmlformats.org/officeDocument/2006/relationships/tags" Target="../tags/tag814.xml"/><Relationship Id="rId39" Type="http://schemas.openxmlformats.org/officeDocument/2006/relationships/tags" Target="../tags/tag835.xml"/><Relationship Id="rId34" Type="http://schemas.openxmlformats.org/officeDocument/2006/relationships/tags" Target="../tags/tag830.xml"/><Relationship Id="rId50" Type="http://schemas.openxmlformats.org/officeDocument/2006/relationships/tags" Target="../tags/tag846.xml"/><Relationship Id="rId55" Type="http://schemas.openxmlformats.org/officeDocument/2006/relationships/tags" Target="../tags/tag851.xml"/><Relationship Id="rId76" Type="http://schemas.openxmlformats.org/officeDocument/2006/relationships/tags" Target="../tags/tag872.xml"/><Relationship Id="rId97" Type="http://schemas.openxmlformats.org/officeDocument/2006/relationships/image" Target="../media/image6.emf"/></Relationships>
</file>

<file path=ppt/slides/_rels/slide17.xml.rels><?xml version="1.0" encoding="UTF-8" standalone="yes"?>
<Relationships xmlns="http://schemas.openxmlformats.org/package/2006/relationships"><Relationship Id="rId8" Type="http://schemas.openxmlformats.org/officeDocument/2006/relationships/tags" Target="../tags/tag897.xml"/><Relationship Id="rId13" Type="http://schemas.openxmlformats.org/officeDocument/2006/relationships/tags" Target="../tags/tag902.xml"/><Relationship Id="rId18" Type="http://schemas.openxmlformats.org/officeDocument/2006/relationships/tags" Target="../tags/tag907.xml"/><Relationship Id="rId26" Type="http://schemas.openxmlformats.org/officeDocument/2006/relationships/tags" Target="../tags/tag915.xml"/><Relationship Id="rId39" Type="http://schemas.openxmlformats.org/officeDocument/2006/relationships/oleObject" Target="../embeddings/oleObject56.bin"/><Relationship Id="rId3" Type="http://schemas.openxmlformats.org/officeDocument/2006/relationships/tags" Target="../tags/tag892.xml"/><Relationship Id="rId21" Type="http://schemas.openxmlformats.org/officeDocument/2006/relationships/tags" Target="../tags/tag910.xml"/><Relationship Id="rId34" Type="http://schemas.openxmlformats.org/officeDocument/2006/relationships/tags" Target="../tags/tag923.xml"/><Relationship Id="rId42" Type="http://schemas.openxmlformats.org/officeDocument/2006/relationships/image" Target="../media/image46.emf"/><Relationship Id="rId7" Type="http://schemas.openxmlformats.org/officeDocument/2006/relationships/tags" Target="../tags/tag896.xml"/><Relationship Id="rId12" Type="http://schemas.openxmlformats.org/officeDocument/2006/relationships/tags" Target="../tags/tag901.xml"/><Relationship Id="rId17" Type="http://schemas.openxmlformats.org/officeDocument/2006/relationships/tags" Target="../tags/tag906.xml"/><Relationship Id="rId25" Type="http://schemas.openxmlformats.org/officeDocument/2006/relationships/tags" Target="../tags/tag914.xml"/><Relationship Id="rId33" Type="http://schemas.openxmlformats.org/officeDocument/2006/relationships/tags" Target="../tags/tag922.xml"/><Relationship Id="rId38" Type="http://schemas.openxmlformats.org/officeDocument/2006/relationships/image" Target="../media/image1.emf"/><Relationship Id="rId2" Type="http://schemas.openxmlformats.org/officeDocument/2006/relationships/tags" Target="../tags/tag891.xml"/><Relationship Id="rId16" Type="http://schemas.openxmlformats.org/officeDocument/2006/relationships/tags" Target="../tags/tag905.xml"/><Relationship Id="rId20" Type="http://schemas.openxmlformats.org/officeDocument/2006/relationships/tags" Target="../tags/tag909.xml"/><Relationship Id="rId29" Type="http://schemas.openxmlformats.org/officeDocument/2006/relationships/tags" Target="../tags/tag918.xml"/><Relationship Id="rId41" Type="http://schemas.openxmlformats.org/officeDocument/2006/relationships/oleObject" Target="../embeddings/oleObject57.bin"/><Relationship Id="rId1" Type="http://schemas.openxmlformats.org/officeDocument/2006/relationships/vmlDrawing" Target="../drawings/vmlDrawing17.vml"/><Relationship Id="rId6" Type="http://schemas.openxmlformats.org/officeDocument/2006/relationships/tags" Target="../tags/tag895.xml"/><Relationship Id="rId11" Type="http://schemas.openxmlformats.org/officeDocument/2006/relationships/tags" Target="../tags/tag900.xml"/><Relationship Id="rId24" Type="http://schemas.openxmlformats.org/officeDocument/2006/relationships/tags" Target="../tags/tag913.xml"/><Relationship Id="rId32" Type="http://schemas.openxmlformats.org/officeDocument/2006/relationships/tags" Target="../tags/tag921.xml"/><Relationship Id="rId37" Type="http://schemas.openxmlformats.org/officeDocument/2006/relationships/oleObject" Target="../embeddings/oleObject55.bin"/><Relationship Id="rId40" Type="http://schemas.openxmlformats.org/officeDocument/2006/relationships/image" Target="../media/image45.emf"/><Relationship Id="rId5" Type="http://schemas.openxmlformats.org/officeDocument/2006/relationships/tags" Target="../tags/tag894.xml"/><Relationship Id="rId15" Type="http://schemas.openxmlformats.org/officeDocument/2006/relationships/tags" Target="../tags/tag904.xml"/><Relationship Id="rId23" Type="http://schemas.openxmlformats.org/officeDocument/2006/relationships/tags" Target="../tags/tag912.xml"/><Relationship Id="rId28" Type="http://schemas.openxmlformats.org/officeDocument/2006/relationships/tags" Target="../tags/tag917.xml"/><Relationship Id="rId36" Type="http://schemas.openxmlformats.org/officeDocument/2006/relationships/slideLayout" Target="../slideLayouts/slideLayout2.xml"/><Relationship Id="rId10" Type="http://schemas.openxmlformats.org/officeDocument/2006/relationships/tags" Target="../tags/tag899.xml"/><Relationship Id="rId19" Type="http://schemas.openxmlformats.org/officeDocument/2006/relationships/tags" Target="../tags/tag908.xml"/><Relationship Id="rId31" Type="http://schemas.openxmlformats.org/officeDocument/2006/relationships/tags" Target="../tags/tag920.xml"/><Relationship Id="rId4" Type="http://schemas.openxmlformats.org/officeDocument/2006/relationships/tags" Target="../tags/tag893.xml"/><Relationship Id="rId9" Type="http://schemas.openxmlformats.org/officeDocument/2006/relationships/tags" Target="../tags/tag898.xml"/><Relationship Id="rId14" Type="http://schemas.openxmlformats.org/officeDocument/2006/relationships/tags" Target="../tags/tag903.xml"/><Relationship Id="rId22" Type="http://schemas.openxmlformats.org/officeDocument/2006/relationships/tags" Target="../tags/tag911.xml"/><Relationship Id="rId27" Type="http://schemas.openxmlformats.org/officeDocument/2006/relationships/tags" Target="../tags/tag916.xml"/><Relationship Id="rId30" Type="http://schemas.openxmlformats.org/officeDocument/2006/relationships/tags" Target="../tags/tag919.xml"/><Relationship Id="rId35" Type="http://schemas.openxmlformats.org/officeDocument/2006/relationships/tags" Target="../tags/tag924.xml"/></Relationships>
</file>

<file path=ppt/slides/_rels/slide18.xml.rels><?xml version="1.0" encoding="UTF-8" standalone="yes"?>
<Relationships xmlns="http://schemas.openxmlformats.org/package/2006/relationships"><Relationship Id="rId2" Type="http://schemas.openxmlformats.org/officeDocument/2006/relationships/image" Target="../media/image47.gi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6" Type="http://schemas.openxmlformats.org/officeDocument/2006/relationships/tags" Target="../tags/tag949.xml"/><Relationship Id="rId21" Type="http://schemas.openxmlformats.org/officeDocument/2006/relationships/tags" Target="../tags/tag944.xml"/><Relationship Id="rId42" Type="http://schemas.openxmlformats.org/officeDocument/2006/relationships/tags" Target="../tags/tag965.xml"/><Relationship Id="rId47" Type="http://schemas.openxmlformats.org/officeDocument/2006/relationships/tags" Target="../tags/tag970.xml"/><Relationship Id="rId63" Type="http://schemas.openxmlformats.org/officeDocument/2006/relationships/tags" Target="../tags/tag986.xml"/><Relationship Id="rId68" Type="http://schemas.openxmlformats.org/officeDocument/2006/relationships/tags" Target="../tags/tag991.xml"/><Relationship Id="rId84" Type="http://schemas.openxmlformats.org/officeDocument/2006/relationships/tags" Target="../tags/tag1007.xml"/><Relationship Id="rId89" Type="http://schemas.openxmlformats.org/officeDocument/2006/relationships/tags" Target="../tags/tag1012.xml"/><Relationship Id="rId7" Type="http://schemas.openxmlformats.org/officeDocument/2006/relationships/tags" Target="../tags/tag930.xml"/><Relationship Id="rId71" Type="http://schemas.openxmlformats.org/officeDocument/2006/relationships/tags" Target="../tags/tag994.xml"/><Relationship Id="rId92" Type="http://schemas.openxmlformats.org/officeDocument/2006/relationships/tags" Target="../tags/tag1015.xml"/><Relationship Id="rId2" Type="http://schemas.openxmlformats.org/officeDocument/2006/relationships/tags" Target="../tags/tag925.xml"/><Relationship Id="rId16" Type="http://schemas.openxmlformats.org/officeDocument/2006/relationships/tags" Target="../tags/tag939.xml"/><Relationship Id="rId29" Type="http://schemas.openxmlformats.org/officeDocument/2006/relationships/tags" Target="../tags/tag952.xml"/><Relationship Id="rId11" Type="http://schemas.openxmlformats.org/officeDocument/2006/relationships/tags" Target="../tags/tag934.xml"/><Relationship Id="rId24" Type="http://schemas.openxmlformats.org/officeDocument/2006/relationships/tags" Target="../tags/tag947.xml"/><Relationship Id="rId32" Type="http://schemas.openxmlformats.org/officeDocument/2006/relationships/tags" Target="../tags/tag955.xml"/><Relationship Id="rId37" Type="http://schemas.openxmlformats.org/officeDocument/2006/relationships/tags" Target="../tags/tag960.xml"/><Relationship Id="rId40" Type="http://schemas.openxmlformats.org/officeDocument/2006/relationships/tags" Target="../tags/tag963.xml"/><Relationship Id="rId45" Type="http://schemas.openxmlformats.org/officeDocument/2006/relationships/tags" Target="../tags/tag968.xml"/><Relationship Id="rId53" Type="http://schemas.openxmlformats.org/officeDocument/2006/relationships/tags" Target="../tags/tag976.xml"/><Relationship Id="rId58" Type="http://schemas.openxmlformats.org/officeDocument/2006/relationships/tags" Target="../tags/tag981.xml"/><Relationship Id="rId66" Type="http://schemas.openxmlformats.org/officeDocument/2006/relationships/tags" Target="../tags/tag989.xml"/><Relationship Id="rId74" Type="http://schemas.openxmlformats.org/officeDocument/2006/relationships/tags" Target="../tags/tag997.xml"/><Relationship Id="rId79" Type="http://schemas.openxmlformats.org/officeDocument/2006/relationships/tags" Target="../tags/tag1002.xml"/><Relationship Id="rId87" Type="http://schemas.openxmlformats.org/officeDocument/2006/relationships/tags" Target="../tags/tag1010.xml"/><Relationship Id="rId102" Type="http://schemas.openxmlformats.org/officeDocument/2006/relationships/image" Target="../media/image1.emf"/><Relationship Id="rId5" Type="http://schemas.openxmlformats.org/officeDocument/2006/relationships/tags" Target="../tags/tag928.xml"/><Relationship Id="rId61" Type="http://schemas.openxmlformats.org/officeDocument/2006/relationships/tags" Target="../tags/tag984.xml"/><Relationship Id="rId82" Type="http://schemas.openxmlformats.org/officeDocument/2006/relationships/tags" Target="../tags/tag1005.xml"/><Relationship Id="rId90" Type="http://schemas.openxmlformats.org/officeDocument/2006/relationships/tags" Target="../tags/tag1013.xml"/><Relationship Id="rId95" Type="http://schemas.openxmlformats.org/officeDocument/2006/relationships/tags" Target="../tags/tag1018.xml"/><Relationship Id="rId19" Type="http://schemas.openxmlformats.org/officeDocument/2006/relationships/tags" Target="../tags/tag942.xml"/><Relationship Id="rId14" Type="http://schemas.openxmlformats.org/officeDocument/2006/relationships/tags" Target="../tags/tag937.xml"/><Relationship Id="rId22" Type="http://schemas.openxmlformats.org/officeDocument/2006/relationships/tags" Target="../tags/tag945.xml"/><Relationship Id="rId27" Type="http://schemas.openxmlformats.org/officeDocument/2006/relationships/tags" Target="../tags/tag950.xml"/><Relationship Id="rId30" Type="http://schemas.openxmlformats.org/officeDocument/2006/relationships/tags" Target="../tags/tag953.xml"/><Relationship Id="rId35" Type="http://schemas.openxmlformats.org/officeDocument/2006/relationships/tags" Target="../tags/tag958.xml"/><Relationship Id="rId43" Type="http://schemas.openxmlformats.org/officeDocument/2006/relationships/tags" Target="../tags/tag966.xml"/><Relationship Id="rId48" Type="http://schemas.openxmlformats.org/officeDocument/2006/relationships/tags" Target="../tags/tag971.xml"/><Relationship Id="rId56" Type="http://schemas.openxmlformats.org/officeDocument/2006/relationships/tags" Target="../tags/tag979.xml"/><Relationship Id="rId64" Type="http://schemas.openxmlformats.org/officeDocument/2006/relationships/tags" Target="../tags/tag987.xml"/><Relationship Id="rId69" Type="http://schemas.openxmlformats.org/officeDocument/2006/relationships/tags" Target="../tags/tag992.xml"/><Relationship Id="rId77" Type="http://schemas.openxmlformats.org/officeDocument/2006/relationships/tags" Target="../tags/tag1000.xml"/><Relationship Id="rId100" Type="http://schemas.openxmlformats.org/officeDocument/2006/relationships/slideLayout" Target="../slideLayouts/slideLayout2.xml"/><Relationship Id="rId8" Type="http://schemas.openxmlformats.org/officeDocument/2006/relationships/tags" Target="../tags/tag931.xml"/><Relationship Id="rId51" Type="http://schemas.openxmlformats.org/officeDocument/2006/relationships/tags" Target="../tags/tag974.xml"/><Relationship Id="rId72" Type="http://schemas.openxmlformats.org/officeDocument/2006/relationships/tags" Target="../tags/tag995.xml"/><Relationship Id="rId80" Type="http://schemas.openxmlformats.org/officeDocument/2006/relationships/tags" Target="../tags/tag1003.xml"/><Relationship Id="rId85" Type="http://schemas.openxmlformats.org/officeDocument/2006/relationships/tags" Target="../tags/tag1008.xml"/><Relationship Id="rId93" Type="http://schemas.openxmlformats.org/officeDocument/2006/relationships/tags" Target="../tags/tag1016.xml"/><Relationship Id="rId98" Type="http://schemas.openxmlformats.org/officeDocument/2006/relationships/tags" Target="../tags/tag1021.xml"/><Relationship Id="rId3" Type="http://schemas.openxmlformats.org/officeDocument/2006/relationships/tags" Target="../tags/tag926.xml"/><Relationship Id="rId12" Type="http://schemas.openxmlformats.org/officeDocument/2006/relationships/tags" Target="../tags/tag935.xml"/><Relationship Id="rId17" Type="http://schemas.openxmlformats.org/officeDocument/2006/relationships/tags" Target="../tags/tag940.xml"/><Relationship Id="rId25" Type="http://schemas.openxmlformats.org/officeDocument/2006/relationships/tags" Target="../tags/tag948.xml"/><Relationship Id="rId33" Type="http://schemas.openxmlformats.org/officeDocument/2006/relationships/tags" Target="../tags/tag956.xml"/><Relationship Id="rId38" Type="http://schemas.openxmlformats.org/officeDocument/2006/relationships/tags" Target="../tags/tag961.xml"/><Relationship Id="rId46" Type="http://schemas.openxmlformats.org/officeDocument/2006/relationships/tags" Target="../tags/tag969.xml"/><Relationship Id="rId59" Type="http://schemas.openxmlformats.org/officeDocument/2006/relationships/tags" Target="../tags/tag982.xml"/><Relationship Id="rId67" Type="http://schemas.openxmlformats.org/officeDocument/2006/relationships/tags" Target="../tags/tag990.xml"/><Relationship Id="rId103" Type="http://schemas.openxmlformats.org/officeDocument/2006/relationships/oleObject" Target="../embeddings/oleObject59.bin"/><Relationship Id="rId20" Type="http://schemas.openxmlformats.org/officeDocument/2006/relationships/tags" Target="../tags/tag943.xml"/><Relationship Id="rId41" Type="http://schemas.openxmlformats.org/officeDocument/2006/relationships/tags" Target="../tags/tag964.xml"/><Relationship Id="rId54" Type="http://schemas.openxmlformats.org/officeDocument/2006/relationships/tags" Target="../tags/tag977.xml"/><Relationship Id="rId62" Type="http://schemas.openxmlformats.org/officeDocument/2006/relationships/tags" Target="../tags/tag985.xml"/><Relationship Id="rId70" Type="http://schemas.openxmlformats.org/officeDocument/2006/relationships/tags" Target="../tags/tag993.xml"/><Relationship Id="rId75" Type="http://schemas.openxmlformats.org/officeDocument/2006/relationships/tags" Target="../tags/tag998.xml"/><Relationship Id="rId83" Type="http://schemas.openxmlformats.org/officeDocument/2006/relationships/tags" Target="../tags/tag1006.xml"/><Relationship Id="rId88" Type="http://schemas.openxmlformats.org/officeDocument/2006/relationships/tags" Target="../tags/tag1011.xml"/><Relationship Id="rId91" Type="http://schemas.openxmlformats.org/officeDocument/2006/relationships/tags" Target="../tags/tag1014.xml"/><Relationship Id="rId96" Type="http://schemas.openxmlformats.org/officeDocument/2006/relationships/tags" Target="../tags/tag1019.xml"/><Relationship Id="rId1" Type="http://schemas.openxmlformats.org/officeDocument/2006/relationships/vmlDrawing" Target="../drawings/vmlDrawing18.vml"/><Relationship Id="rId6" Type="http://schemas.openxmlformats.org/officeDocument/2006/relationships/tags" Target="../tags/tag929.xml"/><Relationship Id="rId15" Type="http://schemas.openxmlformats.org/officeDocument/2006/relationships/tags" Target="../tags/tag938.xml"/><Relationship Id="rId23" Type="http://schemas.openxmlformats.org/officeDocument/2006/relationships/tags" Target="../tags/tag946.xml"/><Relationship Id="rId28" Type="http://schemas.openxmlformats.org/officeDocument/2006/relationships/tags" Target="../tags/tag951.xml"/><Relationship Id="rId36" Type="http://schemas.openxmlformats.org/officeDocument/2006/relationships/tags" Target="../tags/tag959.xml"/><Relationship Id="rId49" Type="http://schemas.openxmlformats.org/officeDocument/2006/relationships/tags" Target="../tags/tag972.xml"/><Relationship Id="rId57" Type="http://schemas.openxmlformats.org/officeDocument/2006/relationships/tags" Target="../tags/tag980.xml"/><Relationship Id="rId10" Type="http://schemas.openxmlformats.org/officeDocument/2006/relationships/tags" Target="../tags/tag933.xml"/><Relationship Id="rId31" Type="http://schemas.openxmlformats.org/officeDocument/2006/relationships/tags" Target="../tags/tag954.xml"/><Relationship Id="rId44" Type="http://schemas.openxmlformats.org/officeDocument/2006/relationships/tags" Target="../tags/tag967.xml"/><Relationship Id="rId52" Type="http://schemas.openxmlformats.org/officeDocument/2006/relationships/tags" Target="../tags/tag975.xml"/><Relationship Id="rId60" Type="http://schemas.openxmlformats.org/officeDocument/2006/relationships/tags" Target="../tags/tag983.xml"/><Relationship Id="rId65" Type="http://schemas.openxmlformats.org/officeDocument/2006/relationships/tags" Target="../tags/tag988.xml"/><Relationship Id="rId73" Type="http://schemas.openxmlformats.org/officeDocument/2006/relationships/tags" Target="../tags/tag996.xml"/><Relationship Id="rId78" Type="http://schemas.openxmlformats.org/officeDocument/2006/relationships/tags" Target="../tags/tag1001.xml"/><Relationship Id="rId81" Type="http://schemas.openxmlformats.org/officeDocument/2006/relationships/tags" Target="../tags/tag1004.xml"/><Relationship Id="rId86" Type="http://schemas.openxmlformats.org/officeDocument/2006/relationships/tags" Target="../tags/tag1009.xml"/><Relationship Id="rId94" Type="http://schemas.openxmlformats.org/officeDocument/2006/relationships/tags" Target="../tags/tag1017.xml"/><Relationship Id="rId99" Type="http://schemas.openxmlformats.org/officeDocument/2006/relationships/tags" Target="../tags/tag1022.xml"/><Relationship Id="rId101" Type="http://schemas.openxmlformats.org/officeDocument/2006/relationships/oleObject" Target="../embeddings/oleObject58.bin"/><Relationship Id="rId4" Type="http://schemas.openxmlformats.org/officeDocument/2006/relationships/tags" Target="../tags/tag927.xml"/><Relationship Id="rId9" Type="http://schemas.openxmlformats.org/officeDocument/2006/relationships/tags" Target="../tags/tag932.xml"/><Relationship Id="rId13" Type="http://schemas.openxmlformats.org/officeDocument/2006/relationships/tags" Target="../tags/tag936.xml"/><Relationship Id="rId18" Type="http://schemas.openxmlformats.org/officeDocument/2006/relationships/tags" Target="../tags/tag941.xml"/><Relationship Id="rId39" Type="http://schemas.openxmlformats.org/officeDocument/2006/relationships/tags" Target="../tags/tag962.xml"/><Relationship Id="rId34" Type="http://schemas.openxmlformats.org/officeDocument/2006/relationships/tags" Target="../tags/tag957.xml"/><Relationship Id="rId50" Type="http://schemas.openxmlformats.org/officeDocument/2006/relationships/tags" Target="../tags/tag973.xml"/><Relationship Id="rId55" Type="http://schemas.openxmlformats.org/officeDocument/2006/relationships/tags" Target="../tags/tag978.xml"/><Relationship Id="rId76" Type="http://schemas.openxmlformats.org/officeDocument/2006/relationships/tags" Target="../tags/tag999.xml"/><Relationship Id="rId97" Type="http://schemas.openxmlformats.org/officeDocument/2006/relationships/tags" Target="../tags/tag1020.xml"/><Relationship Id="rId104" Type="http://schemas.openxmlformats.org/officeDocument/2006/relationships/image" Target="../media/image48.emf"/></Relationships>
</file>

<file path=ppt/slides/_rels/slide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image" Target="../media/image6.em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image" Target="../media/image8.emf"/><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oleObject" Target="../embeddings/oleObject4.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oleObject" Target="../embeddings/oleObject2.bin"/><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image" Target="../media/image7.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slideLayout" Target="../slideLayouts/slideLayout2.xml"/><Relationship Id="rId8" Type="http://schemas.openxmlformats.org/officeDocument/2006/relationships/tags" Target="../tags/tag8.xml"/><Relationship Id="rId51"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tags" Target="../tags/tag1029.xml"/><Relationship Id="rId13" Type="http://schemas.openxmlformats.org/officeDocument/2006/relationships/tags" Target="../tags/tag1034.xml"/><Relationship Id="rId18" Type="http://schemas.openxmlformats.org/officeDocument/2006/relationships/tags" Target="../tags/tag1039.xml"/><Relationship Id="rId26" Type="http://schemas.openxmlformats.org/officeDocument/2006/relationships/tags" Target="../tags/tag1047.xml"/><Relationship Id="rId39" Type="http://schemas.openxmlformats.org/officeDocument/2006/relationships/oleObject" Target="../embeddings/oleObject61.bin"/><Relationship Id="rId3" Type="http://schemas.openxmlformats.org/officeDocument/2006/relationships/tags" Target="../tags/tag1024.xml"/><Relationship Id="rId21" Type="http://schemas.openxmlformats.org/officeDocument/2006/relationships/tags" Target="../tags/tag1042.xml"/><Relationship Id="rId34" Type="http://schemas.openxmlformats.org/officeDocument/2006/relationships/tags" Target="../tags/tag1055.xml"/><Relationship Id="rId42" Type="http://schemas.openxmlformats.org/officeDocument/2006/relationships/image" Target="../media/image50.emf"/><Relationship Id="rId7" Type="http://schemas.openxmlformats.org/officeDocument/2006/relationships/tags" Target="../tags/tag1028.xml"/><Relationship Id="rId12" Type="http://schemas.openxmlformats.org/officeDocument/2006/relationships/tags" Target="../tags/tag1033.xml"/><Relationship Id="rId17" Type="http://schemas.openxmlformats.org/officeDocument/2006/relationships/tags" Target="../tags/tag1038.xml"/><Relationship Id="rId25" Type="http://schemas.openxmlformats.org/officeDocument/2006/relationships/tags" Target="../tags/tag1046.xml"/><Relationship Id="rId33" Type="http://schemas.openxmlformats.org/officeDocument/2006/relationships/tags" Target="../tags/tag1054.xml"/><Relationship Id="rId38" Type="http://schemas.openxmlformats.org/officeDocument/2006/relationships/image" Target="../media/image1.emf"/><Relationship Id="rId2" Type="http://schemas.openxmlformats.org/officeDocument/2006/relationships/tags" Target="../tags/tag1023.xml"/><Relationship Id="rId16" Type="http://schemas.openxmlformats.org/officeDocument/2006/relationships/tags" Target="../tags/tag1037.xml"/><Relationship Id="rId20" Type="http://schemas.openxmlformats.org/officeDocument/2006/relationships/tags" Target="../tags/tag1041.xml"/><Relationship Id="rId29" Type="http://schemas.openxmlformats.org/officeDocument/2006/relationships/tags" Target="../tags/tag1050.xml"/><Relationship Id="rId41" Type="http://schemas.openxmlformats.org/officeDocument/2006/relationships/oleObject" Target="../embeddings/oleObject62.bin"/><Relationship Id="rId1" Type="http://schemas.openxmlformats.org/officeDocument/2006/relationships/vmlDrawing" Target="../drawings/vmlDrawing19.vml"/><Relationship Id="rId6" Type="http://schemas.openxmlformats.org/officeDocument/2006/relationships/tags" Target="../tags/tag1027.xml"/><Relationship Id="rId11" Type="http://schemas.openxmlformats.org/officeDocument/2006/relationships/tags" Target="../tags/tag1032.xml"/><Relationship Id="rId24" Type="http://schemas.openxmlformats.org/officeDocument/2006/relationships/tags" Target="../tags/tag1045.xml"/><Relationship Id="rId32" Type="http://schemas.openxmlformats.org/officeDocument/2006/relationships/tags" Target="../tags/tag1053.xml"/><Relationship Id="rId37" Type="http://schemas.openxmlformats.org/officeDocument/2006/relationships/oleObject" Target="../embeddings/oleObject60.bin"/><Relationship Id="rId40" Type="http://schemas.openxmlformats.org/officeDocument/2006/relationships/image" Target="../media/image49.emf"/><Relationship Id="rId5" Type="http://schemas.openxmlformats.org/officeDocument/2006/relationships/tags" Target="../tags/tag1026.xml"/><Relationship Id="rId15" Type="http://schemas.openxmlformats.org/officeDocument/2006/relationships/tags" Target="../tags/tag1036.xml"/><Relationship Id="rId23" Type="http://schemas.openxmlformats.org/officeDocument/2006/relationships/tags" Target="../tags/tag1044.xml"/><Relationship Id="rId28" Type="http://schemas.openxmlformats.org/officeDocument/2006/relationships/tags" Target="../tags/tag1049.xml"/><Relationship Id="rId36" Type="http://schemas.openxmlformats.org/officeDocument/2006/relationships/slideLayout" Target="../slideLayouts/slideLayout2.xml"/><Relationship Id="rId10" Type="http://schemas.openxmlformats.org/officeDocument/2006/relationships/tags" Target="../tags/tag1031.xml"/><Relationship Id="rId19" Type="http://schemas.openxmlformats.org/officeDocument/2006/relationships/tags" Target="../tags/tag1040.xml"/><Relationship Id="rId31" Type="http://schemas.openxmlformats.org/officeDocument/2006/relationships/tags" Target="../tags/tag1052.xml"/><Relationship Id="rId4" Type="http://schemas.openxmlformats.org/officeDocument/2006/relationships/tags" Target="../tags/tag1025.xml"/><Relationship Id="rId9" Type="http://schemas.openxmlformats.org/officeDocument/2006/relationships/tags" Target="../tags/tag1030.xml"/><Relationship Id="rId14" Type="http://schemas.openxmlformats.org/officeDocument/2006/relationships/tags" Target="../tags/tag1035.xml"/><Relationship Id="rId22" Type="http://schemas.openxmlformats.org/officeDocument/2006/relationships/tags" Target="../tags/tag1043.xml"/><Relationship Id="rId27" Type="http://schemas.openxmlformats.org/officeDocument/2006/relationships/tags" Target="../tags/tag1048.xml"/><Relationship Id="rId30" Type="http://schemas.openxmlformats.org/officeDocument/2006/relationships/tags" Target="../tags/tag1051.xml"/><Relationship Id="rId35" Type="http://schemas.openxmlformats.org/officeDocument/2006/relationships/tags" Target="../tags/tag1056.xml"/></Relationships>
</file>

<file path=ppt/slides/_rels/slide21.xml.rels><?xml version="1.0" encoding="UTF-8" standalone="yes"?>
<Relationships xmlns="http://schemas.openxmlformats.org/package/2006/relationships"><Relationship Id="rId2" Type="http://schemas.openxmlformats.org/officeDocument/2006/relationships/image" Target="../media/image51.gi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1063.xml"/><Relationship Id="rId13" Type="http://schemas.openxmlformats.org/officeDocument/2006/relationships/tags" Target="../tags/tag1068.xml"/><Relationship Id="rId18" Type="http://schemas.openxmlformats.org/officeDocument/2006/relationships/tags" Target="../tags/tag1073.xml"/><Relationship Id="rId26" Type="http://schemas.openxmlformats.org/officeDocument/2006/relationships/tags" Target="../tags/tag1081.xml"/><Relationship Id="rId39" Type="http://schemas.openxmlformats.org/officeDocument/2006/relationships/oleObject" Target="../embeddings/oleObject64.bin"/><Relationship Id="rId3" Type="http://schemas.openxmlformats.org/officeDocument/2006/relationships/tags" Target="../tags/tag1058.xml"/><Relationship Id="rId21" Type="http://schemas.openxmlformats.org/officeDocument/2006/relationships/tags" Target="../tags/tag1076.xml"/><Relationship Id="rId34" Type="http://schemas.openxmlformats.org/officeDocument/2006/relationships/tags" Target="../tags/tag1089.xml"/><Relationship Id="rId42" Type="http://schemas.openxmlformats.org/officeDocument/2006/relationships/image" Target="../media/image53.emf"/><Relationship Id="rId7" Type="http://schemas.openxmlformats.org/officeDocument/2006/relationships/tags" Target="../tags/tag1062.xml"/><Relationship Id="rId12" Type="http://schemas.openxmlformats.org/officeDocument/2006/relationships/tags" Target="../tags/tag1067.xml"/><Relationship Id="rId17" Type="http://schemas.openxmlformats.org/officeDocument/2006/relationships/tags" Target="../tags/tag1072.xml"/><Relationship Id="rId25" Type="http://schemas.openxmlformats.org/officeDocument/2006/relationships/tags" Target="../tags/tag1080.xml"/><Relationship Id="rId33" Type="http://schemas.openxmlformats.org/officeDocument/2006/relationships/tags" Target="../tags/tag1088.xml"/><Relationship Id="rId38" Type="http://schemas.openxmlformats.org/officeDocument/2006/relationships/image" Target="../media/image1.emf"/><Relationship Id="rId2" Type="http://schemas.openxmlformats.org/officeDocument/2006/relationships/tags" Target="../tags/tag1057.xml"/><Relationship Id="rId16" Type="http://schemas.openxmlformats.org/officeDocument/2006/relationships/tags" Target="../tags/tag1071.xml"/><Relationship Id="rId20" Type="http://schemas.openxmlformats.org/officeDocument/2006/relationships/tags" Target="../tags/tag1075.xml"/><Relationship Id="rId29" Type="http://schemas.openxmlformats.org/officeDocument/2006/relationships/tags" Target="../tags/tag1084.xml"/><Relationship Id="rId41" Type="http://schemas.openxmlformats.org/officeDocument/2006/relationships/oleObject" Target="../embeddings/oleObject65.bin"/><Relationship Id="rId1" Type="http://schemas.openxmlformats.org/officeDocument/2006/relationships/vmlDrawing" Target="../drawings/vmlDrawing20.vml"/><Relationship Id="rId6" Type="http://schemas.openxmlformats.org/officeDocument/2006/relationships/tags" Target="../tags/tag1061.xml"/><Relationship Id="rId11" Type="http://schemas.openxmlformats.org/officeDocument/2006/relationships/tags" Target="../tags/tag1066.xml"/><Relationship Id="rId24" Type="http://schemas.openxmlformats.org/officeDocument/2006/relationships/tags" Target="../tags/tag1079.xml"/><Relationship Id="rId32" Type="http://schemas.openxmlformats.org/officeDocument/2006/relationships/tags" Target="../tags/tag1087.xml"/><Relationship Id="rId37" Type="http://schemas.openxmlformats.org/officeDocument/2006/relationships/oleObject" Target="../embeddings/oleObject63.bin"/><Relationship Id="rId40" Type="http://schemas.openxmlformats.org/officeDocument/2006/relationships/image" Target="../media/image52.emf"/><Relationship Id="rId5" Type="http://schemas.openxmlformats.org/officeDocument/2006/relationships/tags" Target="../tags/tag1060.xml"/><Relationship Id="rId15" Type="http://schemas.openxmlformats.org/officeDocument/2006/relationships/tags" Target="../tags/tag1070.xml"/><Relationship Id="rId23" Type="http://schemas.openxmlformats.org/officeDocument/2006/relationships/tags" Target="../tags/tag1078.xml"/><Relationship Id="rId28" Type="http://schemas.openxmlformats.org/officeDocument/2006/relationships/tags" Target="../tags/tag1083.xml"/><Relationship Id="rId36" Type="http://schemas.openxmlformats.org/officeDocument/2006/relationships/slideLayout" Target="../slideLayouts/slideLayout2.xml"/><Relationship Id="rId10" Type="http://schemas.openxmlformats.org/officeDocument/2006/relationships/tags" Target="../tags/tag1065.xml"/><Relationship Id="rId19" Type="http://schemas.openxmlformats.org/officeDocument/2006/relationships/tags" Target="../tags/tag1074.xml"/><Relationship Id="rId31" Type="http://schemas.openxmlformats.org/officeDocument/2006/relationships/tags" Target="../tags/tag1086.xml"/><Relationship Id="rId4" Type="http://schemas.openxmlformats.org/officeDocument/2006/relationships/tags" Target="../tags/tag1059.xml"/><Relationship Id="rId9" Type="http://schemas.openxmlformats.org/officeDocument/2006/relationships/tags" Target="../tags/tag1064.xml"/><Relationship Id="rId14" Type="http://schemas.openxmlformats.org/officeDocument/2006/relationships/tags" Target="../tags/tag1069.xml"/><Relationship Id="rId22" Type="http://schemas.openxmlformats.org/officeDocument/2006/relationships/tags" Target="../tags/tag1077.xml"/><Relationship Id="rId27" Type="http://schemas.openxmlformats.org/officeDocument/2006/relationships/tags" Target="../tags/tag1082.xml"/><Relationship Id="rId30" Type="http://schemas.openxmlformats.org/officeDocument/2006/relationships/tags" Target="../tags/tag1085.xml"/><Relationship Id="rId35" Type="http://schemas.openxmlformats.org/officeDocument/2006/relationships/tags" Target="../tags/tag1090.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56.gi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tags" Target="../tags/tag72.xml"/><Relationship Id="rId39" Type="http://schemas.openxmlformats.org/officeDocument/2006/relationships/tags" Target="../tags/tag85.xml"/><Relationship Id="rId21" Type="http://schemas.openxmlformats.org/officeDocument/2006/relationships/tags" Target="../tags/tag67.xml"/><Relationship Id="rId34" Type="http://schemas.openxmlformats.org/officeDocument/2006/relationships/tags" Target="../tags/tag80.xml"/><Relationship Id="rId42" Type="http://schemas.openxmlformats.org/officeDocument/2006/relationships/tags" Target="../tags/tag88.xml"/><Relationship Id="rId47" Type="http://schemas.openxmlformats.org/officeDocument/2006/relationships/slideLayout" Target="../slideLayouts/slideLayout2.xml"/><Relationship Id="rId50" Type="http://schemas.openxmlformats.org/officeDocument/2006/relationships/oleObject" Target="../embeddings/oleObject6.bin"/><Relationship Id="rId55" Type="http://schemas.openxmlformats.org/officeDocument/2006/relationships/image" Target="../media/image11.emf"/><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33" Type="http://schemas.openxmlformats.org/officeDocument/2006/relationships/tags" Target="../tags/tag79.xml"/><Relationship Id="rId38" Type="http://schemas.openxmlformats.org/officeDocument/2006/relationships/tags" Target="../tags/tag84.xml"/><Relationship Id="rId46" Type="http://schemas.openxmlformats.org/officeDocument/2006/relationships/tags" Target="../tags/tag92.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29" Type="http://schemas.openxmlformats.org/officeDocument/2006/relationships/tags" Target="../tags/tag75.xml"/><Relationship Id="rId41" Type="http://schemas.openxmlformats.org/officeDocument/2006/relationships/tags" Target="../tags/tag87.xml"/><Relationship Id="rId54" Type="http://schemas.openxmlformats.org/officeDocument/2006/relationships/oleObject" Target="../embeddings/oleObject8.bin"/><Relationship Id="rId1" Type="http://schemas.openxmlformats.org/officeDocument/2006/relationships/vmlDrawing" Target="../drawings/vmlDrawing3.v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tags" Target="../tags/tag70.xml"/><Relationship Id="rId32" Type="http://schemas.openxmlformats.org/officeDocument/2006/relationships/tags" Target="../tags/tag78.xml"/><Relationship Id="rId37" Type="http://schemas.openxmlformats.org/officeDocument/2006/relationships/tags" Target="../tags/tag83.xml"/><Relationship Id="rId40" Type="http://schemas.openxmlformats.org/officeDocument/2006/relationships/tags" Target="../tags/tag86.xml"/><Relationship Id="rId45" Type="http://schemas.openxmlformats.org/officeDocument/2006/relationships/tags" Target="../tags/tag91.xml"/><Relationship Id="rId53" Type="http://schemas.openxmlformats.org/officeDocument/2006/relationships/image" Target="../media/image10.emf"/><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tags" Target="../tags/tag82.xml"/><Relationship Id="rId49" Type="http://schemas.openxmlformats.org/officeDocument/2006/relationships/image" Target="../media/image6.emf"/><Relationship Id="rId10" Type="http://schemas.openxmlformats.org/officeDocument/2006/relationships/tags" Target="../tags/tag56.xml"/><Relationship Id="rId19" Type="http://schemas.openxmlformats.org/officeDocument/2006/relationships/tags" Target="../tags/tag65.xml"/><Relationship Id="rId31" Type="http://schemas.openxmlformats.org/officeDocument/2006/relationships/tags" Target="../tags/tag77.xml"/><Relationship Id="rId44" Type="http://schemas.openxmlformats.org/officeDocument/2006/relationships/tags" Target="../tags/tag90.xml"/><Relationship Id="rId52" Type="http://schemas.openxmlformats.org/officeDocument/2006/relationships/oleObject" Target="../embeddings/oleObject7.bin"/><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tags" Target="../tags/tag76.xml"/><Relationship Id="rId35" Type="http://schemas.openxmlformats.org/officeDocument/2006/relationships/tags" Target="../tags/tag81.xml"/><Relationship Id="rId43" Type="http://schemas.openxmlformats.org/officeDocument/2006/relationships/tags" Target="../tags/tag89.xml"/><Relationship Id="rId48" Type="http://schemas.openxmlformats.org/officeDocument/2006/relationships/oleObject" Target="../embeddings/oleObject5.bin"/><Relationship Id="rId8" Type="http://schemas.openxmlformats.org/officeDocument/2006/relationships/tags" Target="../tags/tag54.xml"/><Relationship Id="rId51" Type="http://schemas.openxmlformats.org/officeDocument/2006/relationships/image" Target="../media/image9.emf"/><Relationship Id="rId3" Type="http://schemas.openxmlformats.org/officeDocument/2006/relationships/tags" Target="../tags/tag4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9.gi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tags" Target="../tags/tag117.xml"/><Relationship Id="rId3" Type="http://schemas.openxmlformats.org/officeDocument/2006/relationships/tags" Target="../tags/tag94.xml"/><Relationship Id="rId21" Type="http://schemas.openxmlformats.org/officeDocument/2006/relationships/tags" Target="../tags/tag112.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image" Target="../media/image1.emf"/><Relationship Id="rId1" Type="http://schemas.openxmlformats.org/officeDocument/2006/relationships/vmlDrawing" Target="../drawings/vmlDrawing4.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oleObject" Target="../embeddings/oleObject9.bin"/><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image" Target="../media/image12.emf"/><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Layout" Target="../slideLayouts/slideLayout2.xml"/><Relationship Id="rId30"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tags" Target="../tags/tag134.xml"/><Relationship Id="rId26" Type="http://schemas.openxmlformats.org/officeDocument/2006/relationships/tags" Target="../tags/tag142.xml"/><Relationship Id="rId3" Type="http://schemas.openxmlformats.org/officeDocument/2006/relationships/tags" Target="../tags/tag119.xml"/><Relationship Id="rId21" Type="http://schemas.openxmlformats.org/officeDocument/2006/relationships/tags" Target="../tags/tag137.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5" Type="http://schemas.openxmlformats.org/officeDocument/2006/relationships/tags" Target="../tags/tag141.xml"/><Relationship Id="rId2" Type="http://schemas.openxmlformats.org/officeDocument/2006/relationships/tags" Target="../tags/tag118.xml"/><Relationship Id="rId16" Type="http://schemas.openxmlformats.org/officeDocument/2006/relationships/tags" Target="../tags/tag132.xml"/><Relationship Id="rId20" Type="http://schemas.openxmlformats.org/officeDocument/2006/relationships/tags" Target="../tags/tag136.xml"/><Relationship Id="rId29"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122.xml"/><Relationship Id="rId11" Type="http://schemas.openxmlformats.org/officeDocument/2006/relationships/tags" Target="../tags/tag127.xml"/><Relationship Id="rId24" Type="http://schemas.openxmlformats.org/officeDocument/2006/relationships/tags" Target="../tags/tag140.xml"/><Relationship Id="rId5" Type="http://schemas.openxmlformats.org/officeDocument/2006/relationships/tags" Target="../tags/tag121.xml"/><Relationship Id="rId15" Type="http://schemas.openxmlformats.org/officeDocument/2006/relationships/tags" Target="../tags/tag131.xml"/><Relationship Id="rId23" Type="http://schemas.openxmlformats.org/officeDocument/2006/relationships/tags" Target="../tags/tag139.xml"/><Relationship Id="rId28" Type="http://schemas.openxmlformats.org/officeDocument/2006/relationships/oleObject" Target="../embeddings/oleObject11.bin"/><Relationship Id="rId10" Type="http://schemas.openxmlformats.org/officeDocument/2006/relationships/tags" Target="../tags/tag126.xml"/><Relationship Id="rId19" Type="http://schemas.openxmlformats.org/officeDocument/2006/relationships/tags" Target="../tags/tag135.xml"/><Relationship Id="rId31" Type="http://schemas.openxmlformats.org/officeDocument/2006/relationships/image" Target="../media/image13.emf"/><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 Id="rId22" Type="http://schemas.openxmlformats.org/officeDocument/2006/relationships/tags" Target="../tags/tag138.xml"/><Relationship Id="rId27" Type="http://schemas.openxmlformats.org/officeDocument/2006/relationships/slideLayout" Target="../slideLayouts/slideLayout2.xml"/><Relationship Id="rId30"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tags" Target="../tags/tag167.xml"/><Relationship Id="rId3" Type="http://schemas.openxmlformats.org/officeDocument/2006/relationships/tags" Target="../tags/tag144.xml"/><Relationship Id="rId21" Type="http://schemas.openxmlformats.org/officeDocument/2006/relationships/tags" Target="../tags/tag162.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tags" Target="../tags/tag166.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29"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oleObject" Target="../embeddings/oleObject13.bin"/><Relationship Id="rId10" Type="http://schemas.openxmlformats.org/officeDocument/2006/relationships/tags" Target="../tags/tag151.xml"/><Relationship Id="rId19" Type="http://schemas.openxmlformats.org/officeDocument/2006/relationships/tags" Target="../tags/tag160.xml"/><Relationship Id="rId31" Type="http://schemas.openxmlformats.org/officeDocument/2006/relationships/image" Target="../media/image14.emf"/><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slideLayout" Target="../slideLayouts/slideLayout2.xml"/><Relationship Id="rId30" Type="http://schemas.openxmlformats.org/officeDocument/2006/relationships/oleObject" Target="../embeddings/oleObject14.bin"/></Relationships>
</file>

<file path=ppt/slides/_rels/slide7.xml.rels><?xml version="1.0" encoding="UTF-8" standalone="yes"?>
<Relationships xmlns="http://schemas.openxmlformats.org/package/2006/relationships"><Relationship Id="rId13" Type="http://schemas.openxmlformats.org/officeDocument/2006/relationships/tags" Target="../tags/tag179.xml"/><Relationship Id="rId18" Type="http://schemas.openxmlformats.org/officeDocument/2006/relationships/tags" Target="../tags/tag184.xml"/><Relationship Id="rId26" Type="http://schemas.openxmlformats.org/officeDocument/2006/relationships/tags" Target="../tags/tag192.xml"/><Relationship Id="rId39" Type="http://schemas.openxmlformats.org/officeDocument/2006/relationships/tags" Target="../tags/tag205.xml"/><Relationship Id="rId21" Type="http://schemas.openxmlformats.org/officeDocument/2006/relationships/tags" Target="../tags/tag187.xml"/><Relationship Id="rId34" Type="http://schemas.openxmlformats.org/officeDocument/2006/relationships/tags" Target="../tags/tag200.xml"/><Relationship Id="rId42" Type="http://schemas.openxmlformats.org/officeDocument/2006/relationships/tags" Target="../tags/tag208.xml"/><Relationship Id="rId47" Type="http://schemas.openxmlformats.org/officeDocument/2006/relationships/tags" Target="../tags/tag213.xml"/><Relationship Id="rId50" Type="http://schemas.openxmlformats.org/officeDocument/2006/relationships/tags" Target="../tags/tag216.xml"/><Relationship Id="rId55" Type="http://schemas.openxmlformats.org/officeDocument/2006/relationships/tags" Target="../tags/tag221.xml"/><Relationship Id="rId63" Type="http://schemas.openxmlformats.org/officeDocument/2006/relationships/tags" Target="../tags/tag229.xml"/><Relationship Id="rId68" Type="http://schemas.openxmlformats.org/officeDocument/2006/relationships/tags" Target="../tags/tag234.xml"/><Relationship Id="rId76" Type="http://schemas.openxmlformats.org/officeDocument/2006/relationships/tags" Target="../tags/tag242.xml"/><Relationship Id="rId84" Type="http://schemas.openxmlformats.org/officeDocument/2006/relationships/tags" Target="../tags/tag250.xml"/><Relationship Id="rId89" Type="http://schemas.openxmlformats.org/officeDocument/2006/relationships/tags" Target="../tags/tag255.xml"/><Relationship Id="rId7" Type="http://schemas.openxmlformats.org/officeDocument/2006/relationships/tags" Target="../tags/tag173.xml"/><Relationship Id="rId71" Type="http://schemas.openxmlformats.org/officeDocument/2006/relationships/tags" Target="../tags/tag237.xml"/><Relationship Id="rId92" Type="http://schemas.openxmlformats.org/officeDocument/2006/relationships/image" Target="../media/image6.emf"/><Relationship Id="rId2" Type="http://schemas.openxmlformats.org/officeDocument/2006/relationships/tags" Target="../tags/tag168.xml"/><Relationship Id="rId16" Type="http://schemas.openxmlformats.org/officeDocument/2006/relationships/tags" Target="../tags/tag182.xml"/><Relationship Id="rId29" Type="http://schemas.openxmlformats.org/officeDocument/2006/relationships/tags" Target="../tags/tag195.xml"/><Relationship Id="rId11" Type="http://schemas.openxmlformats.org/officeDocument/2006/relationships/tags" Target="../tags/tag177.xml"/><Relationship Id="rId24" Type="http://schemas.openxmlformats.org/officeDocument/2006/relationships/tags" Target="../tags/tag190.xml"/><Relationship Id="rId32" Type="http://schemas.openxmlformats.org/officeDocument/2006/relationships/tags" Target="../tags/tag198.xml"/><Relationship Id="rId37" Type="http://schemas.openxmlformats.org/officeDocument/2006/relationships/tags" Target="../tags/tag203.xml"/><Relationship Id="rId40" Type="http://schemas.openxmlformats.org/officeDocument/2006/relationships/tags" Target="../tags/tag206.xml"/><Relationship Id="rId45" Type="http://schemas.openxmlformats.org/officeDocument/2006/relationships/tags" Target="../tags/tag211.xml"/><Relationship Id="rId53" Type="http://schemas.openxmlformats.org/officeDocument/2006/relationships/tags" Target="../tags/tag219.xml"/><Relationship Id="rId58" Type="http://schemas.openxmlformats.org/officeDocument/2006/relationships/tags" Target="../tags/tag224.xml"/><Relationship Id="rId66" Type="http://schemas.openxmlformats.org/officeDocument/2006/relationships/tags" Target="../tags/tag232.xml"/><Relationship Id="rId74" Type="http://schemas.openxmlformats.org/officeDocument/2006/relationships/tags" Target="../tags/tag240.xml"/><Relationship Id="rId79" Type="http://schemas.openxmlformats.org/officeDocument/2006/relationships/tags" Target="../tags/tag245.xml"/><Relationship Id="rId87" Type="http://schemas.openxmlformats.org/officeDocument/2006/relationships/tags" Target="../tags/tag253.xml"/><Relationship Id="rId5" Type="http://schemas.openxmlformats.org/officeDocument/2006/relationships/tags" Target="../tags/tag171.xml"/><Relationship Id="rId61" Type="http://schemas.openxmlformats.org/officeDocument/2006/relationships/tags" Target="../tags/tag227.xml"/><Relationship Id="rId82" Type="http://schemas.openxmlformats.org/officeDocument/2006/relationships/tags" Target="../tags/tag248.xml"/><Relationship Id="rId90" Type="http://schemas.openxmlformats.org/officeDocument/2006/relationships/slideLayout" Target="../slideLayouts/slideLayout2.xml"/><Relationship Id="rId95" Type="http://schemas.openxmlformats.org/officeDocument/2006/relationships/oleObject" Target="../embeddings/oleObject17.bin"/><Relationship Id="rId19" Type="http://schemas.openxmlformats.org/officeDocument/2006/relationships/tags" Target="../tags/tag185.xml"/><Relationship Id="rId14" Type="http://schemas.openxmlformats.org/officeDocument/2006/relationships/tags" Target="../tags/tag180.xml"/><Relationship Id="rId22" Type="http://schemas.openxmlformats.org/officeDocument/2006/relationships/tags" Target="../tags/tag188.xml"/><Relationship Id="rId27" Type="http://schemas.openxmlformats.org/officeDocument/2006/relationships/tags" Target="../tags/tag193.xml"/><Relationship Id="rId30" Type="http://schemas.openxmlformats.org/officeDocument/2006/relationships/tags" Target="../tags/tag196.xml"/><Relationship Id="rId35" Type="http://schemas.openxmlformats.org/officeDocument/2006/relationships/tags" Target="../tags/tag201.xml"/><Relationship Id="rId43" Type="http://schemas.openxmlformats.org/officeDocument/2006/relationships/tags" Target="../tags/tag209.xml"/><Relationship Id="rId48" Type="http://schemas.openxmlformats.org/officeDocument/2006/relationships/tags" Target="../tags/tag214.xml"/><Relationship Id="rId56" Type="http://schemas.openxmlformats.org/officeDocument/2006/relationships/tags" Target="../tags/tag222.xml"/><Relationship Id="rId64" Type="http://schemas.openxmlformats.org/officeDocument/2006/relationships/tags" Target="../tags/tag230.xml"/><Relationship Id="rId69" Type="http://schemas.openxmlformats.org/officeDocument/2006/relationships/tags" Target="../tags/tag235.xml"/><Relationship Id="rId77" Type="http://schemas.openxmlformats.org/officeDocument/2006/relationships/tags" Target="../tags/tag243.xml"/><Relationship Id="rId8" Type="http://schemas.openxmlformats.org/officeDocument/2006/relationships/tags" Target="../tags/tag174.xml"/><Relationship Id="rId51" Type="http://schemas.openxmlformats.org/officeDocument/2006/relationships/tags" Target="../tags/tag217.xml"/><Relationship Id="rId72" Type="http://schemas.openxmlformats.org/officeDocument/2006/relationships/tags" Target="../tags/tag238.xml"/><Relationship Id="rId80" Type="http://schemas.openxmlformats.org/officeDocument/2006/relationships/tags" Target="../tags/tag246.xml"/><Relationship Id="rId85" Type="http://schemas.openxmlformats.org/officeDocument/2006/relationships/tags" Target="../tags/tag251.xml"/><Relationship Id="rId93" Type="http://schemas.openxmlformats.org/officeDocument/2006/relationships/oleObject" Target="../embeddings/oleObject16.bin"/><Relationship Id="rId3" Type="http://schemas.openxmlformats.org/officeDocument/2006/relationships/tags" Target="../tags/tag169.xml"/><Relationship Id="rId12" Type="http://schemas.openxmlformats.org/officeDocument/2006/relationships/tags" Target="../tags/tag178.xml"/><Relationship Id="rId17" Type="http://schemas.openxmlformats.org/officeDocument/2006/relationships/tags" Target="../tags/tag183.xml"/><Relationship Id="rId25" Type="http://schemas.openxmlformats.org/officeDocument/2006/relationships/tags" Target="../tags/tag191.xml"/><Relationship Id="rId33" Type="http://schemas.openxmlformats.org/officeDocument/2006/relationships/tags" Target="../tags/tag199.xml"/><Relationship Id="rId38" Type="http://schemas.openxmlformats.org/officeDocument/2006/relationships/tags" Target="../tags/tag204.xml"/><Relationship Id="rId46" Type="http://schemas.openxmlformats.org/officeDocument/2006/relationships/tags" Target="../tags/tag212.xml"/><Relationship Id="rId59" Type="http://schemas.openxmlformats.org/officeDocument/2006/relationships/tags" Target="../tags/tag225.xml"/><Relationship Id="rId67" Type="http://schemas.openxmlformats.org/officeDocument/2006/relationships/tags" Target="../tags/tag233.xml"/><Relationship Id="rId20" Type="http://schemas.openxmlformats.org/officeDocument/2006/relationships/tags" Target="../tags/tag186.xml"/><Relationship Id="rId41" Type="http://schemas.openxmlformats.org/officeDocument/2006/relationships/tags" Target="../tags/tag207.xml"/><Relationship Id="rId54" Type="http://schemas.openxmlformats.org/officeDocument/2006/relationships/tags" Target="../tags/tag220.xml"/><Relationship Id="rId62" Type="http://schemas.openxmlformats.org/officeDocument/2006/relationships/tags" Target="../tags/tag228.xml"/><Relationship Id="rId70" Type="http://schemas.openxmlformats.org/officeDocument/2006/relationships/tags" Target="../tags/tag236.xml"/><Relationship Id="rId75" Type="http://schemas.openxmlformats.org/officeDocument/2006/relationships/tags" Target="../tags/tag241.xml"/><Relationship Id="rId83" Type="http://schemas.openxmlformats.org/officeDocument/2006/relationships/tags" Target="../tags/tag249.xml"/><Relationship Id="rId88" Type="http://schemas.openxmlformats.org/officeDocument/2006/relationships/tags" Target="../tags/tag254.xml"/><Relationship Id="rId91" Type="http://schemas.openxmlformats.org/officeDocument/2006/relationships/oleObject" Target="../embeddings/oleObject15.bin"/><Relationship Id="rId96" Type="http://schemas.openxmlformats.org/officeDocument/2006/relationships/image" Target="../media/image16.emf"/><Relationship Id="rId1" Type="http://schemas.openxmlformats.org/officeDocument/2006/relationships/vmlDrawing" Target="../drawings/vmlDrawing7.vml"/><Relationship Id="rId6" Type="http://schemas.openxmlformats.org/officeDocument/2006/relationships/tags" Target="../tags/tag172.xml"/><Relationship Id="rId15" Type="http://schemas.openxmlformats.org/officeDocument/2006/relationships/tags" Target="../tags/tag181.xml"/><Relationship Id="rId23" Type="http://schemas.openxmlformats.org/officeDocument/2006/relationships/tags" Target="../tags/tag189.xml"/><Relationship Id="rId28" Type="http://schemas.openxmlformats.org/officeDocument/2006/relationships/tags" Target="../tags/tag194.xml"/><Relationship Id="rId36" Type="http://schemas.openxmlformats.org/officeDocument/2006/relationships/tags" Target="../tags/tag202.xml"/><Relationship Id="rId49" Type="http://schemas.openxmlformats.org/officeDocument/2006/relationships/tags" Target="../tags/tag215.xml"/><Relationship Id="rId57" Type="http://schemas.openxmlformats.org/officeDocument/2006/relationships/tags" Target="../tags/tag223.xml"/><Relationship Id="rId10" Type="http://schemas.openxmlformats.org/officeDocument/2006/relationships/tags" Target="../tags/tag176.xml"/><Relationship Id="rId31" Type="http://schemas.openxmlformats.org/officeDocument/2006/relationships/tags" Target="../tags/tag197.xml"/><Relationship Id="rId44" Type="http://schemas.openxmlformats.org/officeDocument/2006/relationships/tags" Target="../tags/tag210.xml"/><Relationship Id="rId52" Type="http://schemas.openxmlformats.org/officeDocument/2006/relationships/tags" Target="../tags/tag218.xml"/><Relationship Id="rId60" Type="http://schemas.openxmlformats.org/officeDocument/2006/relationships/tags" Target="../tags/tag226.xml"/><Relationship Id="rId65" Type="http://schemas.openxmlformats.org/officeDocument/2006/relationships/tags" Target="../tags/tag231.xml"/><Relationship Id="rId73" Type="http://schemas.openxmlformats.org/officeDocument/2006/relationships/tags" Target="../tags/tag239.xml"/><Relationship Id="rId78" Type="http://schemas.openxmlformats.org/officeDocument/2006/relationships/tags" Target="../tags/tag244.xml"/><Relationship Id="rId81" Type="http://schemas.openxmlformats.org/officeDocument/2006/relationships/tags" Target="../tags/tag247.xml"/><Relationship Id="rId86" Type="http://schemas.openxmlformats.org/officeDocument/2006/relationships/tags" Target="../tags/tag252.xml"/><Relationship Id="rId94" Type="http://schemas.openxmlformats.org/officeDocument/2006/relationships/image" Target="../media/image15.emf"/><Relationship Id="rId4" Type="http://schemas.openxmlformats.org/officeDocument/2006/relationships/tags" Target="../tags/tag170.xml"/><Relationship Id="rId9" Type="http://schemas.openxmlformats.org/officeDocument/2006/relationships/tags" Target="../tags/tag175.xml"/></Relationships>
</file>

<file path=ppt/slides/_rels/slide8.xml.rels><?xml version="1.0" encoding="UTF-8" standalone="yes"?>
<Relationships xmlns="http://schemas.openxmlformats.org/package/2006/relationships"><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9" Type="http://schemas.openxmlformats.org/officeDocument/2006/relationships/tags" Target="../tags/tag293.xml"/><Relationship Id="rId21" Type="http://schemas.openxmlformats.org/officeDocument/2006/relationships/tags" Target="../tags/tag275.xml"/><Relationship Id="rId34" Type="http://schemas.openxmlformats.org/officeDocument/2006/relationships/tags" Target="../tags/tag288.xml"/><Relationship Id="rId42" Type="http://schemas.openxmlformats.org/officeDocument/2006/relationships/tags" Target="../tags/tag296.xml"/><Relationship Id="rId47" Type="http://schemas.openxmlformats.org/officeDocument/2006/relationships/tags" Target="../tags/tag301.xml"/><Relationship Id="rId50" Type="http://schemas.openxmlformats.org/officeDocument/2006/relationships/tags" Target="../tags/tag304.xml"/><Relationship Id="rId55" Type="http://schemas.openxmlformats.org/officeDocument/2006/relationships/oleObject" Target="../embeddings/oleObject19.bin"/><Relationship Id="rId7" Type="http://schemas.openxmlformats.org/officeDocument/2006/relationships/tags" Target="../tags/tag261.xml"/><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29" Type="http://schemas.openxmlformats.org/officeDocument/2006/relationships/tags" Target="../tags/tag283.xml"/><Relationship Id="rId41" Type="http://schemas.openxmlformats.org/officeDocument/2006/relationships/tags" Target="../tags/tag295.xml"/><Relationship Id="rId54" Type="http://schemas.openxmlformats.org/officeDocument/2006/relationships/image" Target="../media/image6.emf"/><Relationship Id="rId62" Type="http://schemas.openxmlformats.org/officeDocument/2006/relationships/image" Target="../media/image20.emf"/><Relationship Id="rId1" Type="http://schemas.openxmlformats.org/officeDocument/2006/relationships/vmlDrawing" Target="../drawings/vmlDrawing8.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tags" Target="../tags/tag278.xml"/><Relationship Id="rId32" Type="http://schemas.openxmlformats.org/officeDocument/2006/relationships/tags" Target="../tags/tag286.xml"/><Relationship Id="rId37" Type="http://schemas.openxmlformats.org/officeDocument/2006/relationships/tags" Target="../tags/tag291.xml"/><Relationship Id="rId40" Type="http://schemas.openxmlformats.org/officeDocument/2006/relationships/tags" Target="../tags/tag294.xml"/><Relationship Id="rId45" Type="http://schemas.openxmlformats.org/officeDocument/2006/relationships/tags" Target="../tags/tag299.xml"/><Relationship Id="rId53" Type="http://schemas.openxmlformats.org/officeDocument/2006/relationships/oleObject" Target="../embeddings/oleObject18.bin"/><Relationship Id="rId58" Type="http://schemas.openxmlformats.org/officeDocument/2006/relationships/image" Target="../media/image18.emf"/><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tags" Target="../tags/tag282.xml"/><Relationship Id="rId36" Type="http://schemas.openxmlformats.org/officeDocument/2006/relationships/tags" Target="../tags/tag290.xml"/><Relationship Id="rId49" Type="http://schemas.openxmlformats.org/officeDocument/2006/relationships/tags" Target="../tags/tag303.xml"/><Relationship Id="rId57" Type="http://schemas.openxmlformats.org/officeDocument/2006/relationships/oleObject" Target="../embeddings/oleObject20.bin"/><Relationship Id="rId61" Type="http://schemas.openxmlformats.org/officeDocument/2006/relationships/oleObject" Target="../embeddings/oleObject22.bin"/><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tags" Target="../tags/tag285.xml"/><Relationship Id="rId44" Type="http://schemas.openxmlformats.org/officeDocument/2006/relationships/tags" Target="../tags/tag298.xml"/><Relationship Id="rId52" Type="http://schemas.openxmlformats.org/officeDocument/2006/relationships/slideLayout" Target="../slideLayouts/slideLayout2.xml"/><Relationship Id="rId60" Type="http://schemas.openxmlformats.org/officeDocument/2006/relationships/image" Target="../media/image19.emf"/><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tags" Target="../tags/tag281.xml"/><Relationship Id="rId30" Type="http://schemas.openxmlformats.org/officeDocument/2006/relationships/tags" Target="../tags/tag284.xml"/><Relationship Id="rId35" Type="http://schemas.openxmlformats.org/officeDocument/2006/relationships/tags" Target="../tags/tag289.xml"/><Relationship Id="rId43" Type="http://schemas.openxmlformats.org/officeDocument/2006/relationships/tags" Target="../tags/tag297.xml"/><Relationship Id="rId48" Type="http://schemas.openxmlformats.org/officeDocument/2006/relationships/tags" Target="../tags/tag302.xml"/><Relationship Id="rId56" Type="http://schemas.openxmlformats.org/officeDocument/2006/relationships/image" Target="../media/image17.emf"/><Relationship Id="rId8" Type="http://schemas.openxmlformats.org/officeDocument/2006/relationships/tags" Target="../tags/tag262.xml"/><Relationship Id="rId51" Type="http://schemas.openxmlformats.org/officeDocument/2006/relationships/tags" Target="../tags/tag305.xml"/><Relationship Id="rId3" Type="http://schemas.openxmlformats.org/officeDocument/2006/relationships/tags" Target="../tags/tag257.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33" Type="http://schemas.openxmlformats.org/officeDocument/2006/relationships/tags" Target="../tags/tag287.xml"/><Relationship Id="rId38" Type="http://schemas.openxmlformats.org/officeDocument/2006/relationships/tags" Target="../tags/tag292.xml"/><Relationship Id="rId46" Type="http://schemas.openxmlformats.org/officeDocument/2006/relationships/tags" Target="../tags/tag300.xml"/><Relationship Id="rId59"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tags" Target="../tags/tag317.xml"/><Relationship Id="rId18" Type="http://schemas.openxmlformats.org/officeDocument/2006/relationships/tags" Target="../tags/tag322.xml"/><Relationship Id="rId26" Type="http://schemas.openxmlformats.org/officeDocument/2006/relationships/tags" Target="../tags/tag330.xml"/><Relationship Id="rId39" Type="http://schemas.openxmlformats.org/officeDocument/2006/relationships/tags" Target="../tags/tag343.xml"/><Relationship Id="rId3" Type="http://schemas.openxmlformats.org/officeDocument/2006/relationships/tags" Target="../tags/tag307.xml"/><Relationship Id="rId21" Type="http://schemas.openxmlformats.org/officeDocument/2006/relationships/tags" Target="../tags/tag325.xml"/><Relationship Id="rId34" Type="http://schemas.openxmlformats.org/officeDocument/2006/relationships/tags" Target="../tags/tag338.xml"/><Relationship Id="rId42" Type="http://schemas.openxmlformats.org/officeDocument/2006/relationships/slideLayout" Target="../slideLayouts/slideLayout2.xml"/><Relationship Id="rId47" Type="http://schemas.openxmlformats.org/officeDocument/2006/relationships/oleObject" Target="../embeddings/oleObject25.bin"/><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tags" Target="../tags/tag321.xml"/><Relationship Id="rId25" Type="http://schemas.openxmlformats.org/officeDocument/2006/relationships/tags" Target="../tags/tag329.xml"/><Relationship Id="rId33" Type="http://schemas.openxmlformats.org/officeDocument/2006/relationships/tags" Target="../tags/tag337.xml"/><Relationship Id="rId38" Type="http://schemas.openxmlformats.org/officeDocument/2006/relationships/tags" Target="../tags/tag342.xml"/><Relationship Id="rId46" Type="http://schemas.openxmlformats.org/officeDocument/2006/relationships/image" Target="../media/image21.emf"/><Relationship Id="rId2" Type="http://schemas.openxmlformats.org/officeDocument/2006/relationships/tags" Target="../tags/tag306.xml"/><Relationship Id="rId16" Type="http://schemas.openxmlformats.org/officeDocument/2006/relationships/tags" Target="../tags/tag320.xml"/><Relationship Id="rId20" Type="http://schemas.openxmlformats.org/officeDocument/2006/relationships/tags" Target="../tags/tag324.xml"/><Relationship Id="rId29" Type="http://schemas.openxmlformats.org/officeDocument/2006/relationships/tags" Target="../tags/tag333.xml"/><Relationship Id="rId41" Type="http://schemas.openxmlformats.org/officeDocument/2006/relationships/tags" Target="../tags/tag345.xml"/><Relationship Id="rId1" Type="http://schemas.openxmlformats.org/officeDocument/2006/relationships/vmlDrawing" Target="../drawings/vmlDrawing9.vml"/><Relationship Id="rId6" Type="http://schemas.openxmlformats.org/officeDocument/2006/relationships/tags" Target="../tags/tag310.xml"/><Relationship Id="rId11" Type="http://schemas.openxmlformats.org/officeDocument/2006/relationships/tags" Target="../tags/tag315.xml"/><Relationship Id="rId24" Type="http://schemas.openxmlformats.org/officeDocument/2006/relationships/tags" Target="../tags/tag328.xml"/><Relationship Id="rId32" Type="http://schemas.openxmlformats.org/officeDocument/2006/relationships/tags" Target="../tags/tag336.xml"/><Relationship Id="rId37" Type="http://schemas.openxmlformats.org/officeDocument/2006/relationships/tags" Target="../tags/tag341.xml"/><Relationship Id="rId40" Type="http://schemas.openxmlformats.org/officeDocument/2006/relationships/tags" Target="../tags/tag344.xml"/><Relationship Id="rId45" Type="http://schemas.openxmlformats.org/officeDocument/2006/relationships/oleObject" Target="../embeddings/oleObject24.bin"/><Relationship Id="rId5" Type="http://schemas.openxmlformats.org/officeDocument/2006/relationships/tags" Target="../tags/tag309.xml"/><Relationship Id="rId15" Type="http://schemas.openxmlformats.org/officeDocument/2006/relationships/tags" Target="../tags/tag319.xml"/><Relationship Id="rId23" Type="http://schemas.openxmlformats.org/officeDocument/2006/relationships/tags" Target="../tags/tag327.xml"/><Relationship Id="rId28" Type="http://schemas.openxmlformats.org/officeDocument/2006/relationships/tags" Target="../tags/tag332.xml"/><Relationship Id="rId36" Type="http://schemas.openxmlformats.org/officeDocument/2006/relationships/tags" Target="../tags/tag340.xml"/><Relationship Id="rId10" Type="http://schemas.openxmlformats.org/officeDocument/2006/relationships/tags" Target="../tags/tag314.xml"/><Relationship Id="rId19" Type="http://schemas.openxmlformats.org/officeDocument/2006/relationships/tags" Target="../tags/tag323.xml"/><Relationship Id="rId31" Type="http://schemas.openxmlformats.org/officeDocument/2006/relationships/tags" Target="../tags/tag335.xml"/><Relationship Id="rId44" Type="http://schemas.openxmlformats.org/officeDocument/2006/relationships/image" Target="../media/image6.emf"/><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tags" Target="../tags/tag318.xml"/><Relationship Id="rId22" Type="http://schemas.openxmlformats.org/officeDocument/2006/relationships/tags" Target="../tags/tag326.xml"/><Relationship Id="rId27" Type="http://schemas.openxmlformats.org/officeDocument/2006/relationships/tags" Target="../tags/tag331.xml"/><Relationship Id="rId30" Type="http://schemas.openxmlformats.org/officeDocument/2006/relationships/tags" Target="../tags/tag334.xml"/><Relationship Id="rId35" Type="http://schemas.openxmlformats.org/officeDocument/2006/relationships/tags" Target="../tags/tag339.xml"/><Relationship Id="rId43" Type="http://schemas.openxmlformats.org/officeDocument/2006/relationships/oleObject" Target="../embeddings/oleObject23.bin"/><Relationship Id="rId48"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52400" y="5848350"/>
            <a:ext cx="7086600" cy="428194"/>
          </a:xfrm>
        </p:spPr>
        <p:txBody>
          <a:bodyPr>
            <a:normAutofit lnSpcReduction="10000"/>
          </a:bodyPr>
          <a:lstStyle/>
          <a:p>
            <a:pPr algn="just"/>
            <a:r>
              <a:rPr lang="lt-LT" sz="2400" dirty="0" smtClean="0">
                <a:solidFill>
                  <a:schemeClr val="accent1">
                    <a:lumMod val="50000"/>
                  </a:schemeClr>
                </a:solidFill>
              </a:rPr>
              <a:t>2007-2013 m. analizė</a:t>
            </a:r>
            <a:endParaRPr lang="lt-LT" sz="2400" dirty="0">
              <a:solidFill>
                <a:schemeClr val="accent1">
                  <a:lumMod val="50000"/>
                </a:schemeClr>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19050"/>
            <a:ext cx="1360488"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txBox="1">
            <a:spLocks/>
          </p:cNvSpPr>
          <p:nvPr/>
        </p:nvSpPr>
        <p:spPr>
          <a:xfrm>
            <a:off x="152400" y="4953000"/>
            <a:ext cx="8904288" cy="914400"/>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lt-LT" sz="2400" b="1" cap="all" dirty="0">
                <a:solidFill>
                  <a:schemeClr val="accent1">
                    <a:lumMod val="50000"/>
                  </a:schemeClr>
                </a:solidFill>
                <a:latin typeface="+mn-lt"/>
                <a:ea typeface="+mn-ea"/>
                <a:cs typeface="+mn-cs"/>
              </a:rPr>
              <a:t>Programos </a:t>
            </a:r>
            <a:r>
              <a:rPr lang="lt-LT" sz="2400" b="1" i="1" dirty="0">
                <a:solidFill>
                  <a:schemeClr val="accent1">
                    <a:lumMod val="50000"/>
                  </a:schemeClr>
                </a:solidFill>
                <a:latin typeface="+mn-lt"/>
                <a:ea typeface="+mn-ea"/>
                <a:cs typeface="+mn-cs"/>
              </a:rPr>
              <a:t>e</a:t>
            </a:r>
            <a:r>
              <a:rPr lang="lt-LT" sz="2400" b="1" i="1" cap="all" dirty="0" smtClean="0">
                <a:solidFill>
                  <a:schemeClr val="accent1">
                    <a:lumMod val="50000"/>
                  </a:schemeClr>
                </a:solidFill>
                <a:latin typeface="+mn-lt"/>
                <a:ea typeface="+mn-ea"/>
                <a:cs typeface="+mn-cs"/>
              </a:rPr>
              <a:t>Twinning</a:t>
            </a:r>
            <a:r>
              <a:rPr lang="lt-LT" sz="2400" b="1" cap="all" dirty="0" smtClean="0">
                <a:solidFill>
                  <a:schemeClr val="accent1">
                    <a:lumMod val="50000"/>
                  </a:schemeClr>
                </a:solidFill>
                <a:latin typeface="+mn-lt"/>
                <a:ea typeface="+mn-ea"/>
                <a:cs typeface="+mn-cs"/>
              </a:rPr>
              <a:t> </a:t>
            </a:r>
            <a:r>
              <a:rPr lang="lt-LT" sz="2400" b="1" cap="all" dirty="0">
                <a:solidFill>
                  <a:schemeClr val="accent1">
                    <a:lumMod val="50000"/>
                  </a:schemeClr>
                </a:solidFill>
                <a:latin typeface="+mn-lt"/>
                <a:ea typeface="+mn-ea"/>
                <a:cs typeface="+mn-cs"/>
              </a:rPr>
              <a:t>pristatymas. </a:t>
            </a:r>
            <a:r>
              <a:rPr lang="lt-LT" sz="2400" b="1" cap="all" dirty="0" smtClean="0">
                <a:solidFill>
                  <a:schemeClr val="accent1">
                    <a:lumMod val="50000"/>
                  </a:schemeClr>
                </a:solidFill>
                <a:latin typeface="+mn-lt"/>
                <a:ea typeface="+mn-ea"/>
                <a:cs typeface="+mn-cs"/>
              </a:rPr>
              <a:t>Profesinių </a:t>
            </a:r>
            <a:r>
              <a:rPr lang="lt-LT" sz="2400" b="1" cap="all" dirty="0">
                <a:solidFill>
                  <a:schemeClr val="accent1">
                    <a:lumMod val="50000"/>
                  </a:schemeClr>
                </a:solidFill>
                <a:latin typeface="+mn-lt"/>
                <a:ea typeface="+mn-ea"/>
                <a:cs typeface="+mn-cs"/>
              </a:rPr>
              <a:t>kompetencijų tobulinimas, vykdant programos </a:t>
            </a:r>
            <a:r>
              <a:rPr lang="lt-LT" sz="2400" b="1" i="1" dirty="0">
                <a:solidFill>
                  <a:schemeClr val="accent1">
                    <a:lumMod val="50000"/>
                  </a:schemeClr>
                </a:solidFill>
              </a:rPr>
              <a:t>e</a:t>
            </a:r>
            <a:r>
              <a:rPr lang="lt-LT" sz="2400" b="1" cap="all" dirty="0" smtClean="0">
                <a:solidFill>
                  <a:schemeClr val="accent1">
                    <a:lumMod val="50000"/>
                  </a:schemeClr>
                </a:solidFill>
                <a:latin typeface="+mn-lt"/>
                <a:ea typeface="+mn-ea"/>
                <a:cs typeface="+mn-cs"/>
              </a:rPr>
              <a:t>Twinning </a:t>
            </a:r>
            <a:r>
              <a:rPr lang="lt-LT" sz="2400" b="1" cap="all" dirty="0">
                <a:solidFill>
                  <a:schemeClr val="accent1">
                    <a:lumMod val="50000"/>
                  </a:schemeClr>
                </a:solidFill>
                <a:latin typeface="+mn-lt"/>
                <a:ea typeface="+mn-ea"/>
                <a:cs typeface="+mn-cs"/>
              </a:rPr>
              <a:t>projektus </a:t>
            </a:r>
            <a:endParaRPr lang="en-US" sz="2400" b="1" dirty="0">
              <a:solidFill>
                <a:schemeClr val="accent1">
                  <a:lumMod val="50000"/>
                </a:schemeClr>
              </a:solidFill>
              <a:latin typeface="+mn-lt"/>
              <a:ea typeface="+mn-ea"/>
              <a:cs typeface="+mn-cs"/>
            </a:endParaRPr>
          </a:p>
        </p:txBody>
      </p:sp>
      <p:sp>
        <p:nvSpPr>
          <p:cNvPr id="5" name="Subtitle 2"/>
          <p:cNvSpPr>
            <a:spLocks noGrp="1"/>
          </p:cNvSpPr>
          <p:nvPr/>
        </p:nvSpPr>
        <p:spPr>
          <a:xfrm>
            <a:off x="152400" y="6324600"/>
            <a:ext cx="9056688" cy="533400"/>
          </a:xfrm>
          <a:prstGeom prst="rect">
            <a:avLst/>
          </a:prstGeom>
        </p:spPr>
        <p:txBody>
          <a:bodyPr vert="horz" lIns="91440" tIns="45720" rIns="91440" bIns="45720" rtlCol="0">
            <a:noAutofit/>
          </a:bodyPr>
          <a:lstStyle>
            <a:lvl1pPr marL="0" indent="0" algn="l" defTabSz="914400" rtl="0" eaLnBrk="1" latinLnBrk="0" hangingPunct="1">
              <a:spcBef>
                <a:spcPct val="20000"/>
              </a:spcBef>
              <a:buClr>
                <a:schemeClr val="accent1"/>
              </a:buClr>
              <a:buSzPct val="85000"/>
              <a:buFont typeface="Arial" pitchFamily="34" charset="0"/>
              <a:buNone/>
              <a:defRPr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9pPr>
          </a:lstStyle>
          <a:p>
            <a:r>
              <a:rPr lang="lt-LT" sz="1100" b="1" dirty="0">
                <a:solidFill>
                  <a:schemeClr val="accent1">
                    <a:lumMod val="50000"/>
                  </a:schemeClr>
                </a:solidFill>
              </a:rPr>
              <a:t>Gargždų „Minijos“ progimnazijos IT mokytoja metodininkė, </a:t>
            </a:r>
            <a:endParaRPr lang="lt-LT" sz="1100" b="1" dirty="0" smtClean="0">
              <a:solidFill>
                <a:schemeClr val="accent1">
                  <a:lumMod val="50000"/>
                </a:schemeClr>
              </a:solidFill>
            </a:endParaRPr>
          </a:p>
          <a:p>
            <a:r>
              <a:rPr lang="lt-LT" sz="1100" b="1" dirty="0" smtClean="0">
                <a:solidFill>
                  <a:schemeClr val="accent1">
                    <a:lumMod val="50000"/>
                  </a:schemeClr>
                </a:solidFill>
              </a:rPr>
              <a:t>programos </a:t>
            </a:r>
            <a:r>
              <a:rPr lang="lt-LT" sz="1100" b="1" dirty="0">
                <a:solidFill>
                  <a:schemeClr val="accent1">
                    <a:lumMod val="50000"/>
                  </a:schemeClr>
                </a:solidFill>
              </a:rPr>
              <a:t>eTwinning ambasadorė Kauno/Klaipėdos regionuose Raminta Birgėlienė</a:t>
            </a:r>
            <a:endParaRPr lang="en-US" sz="1100" b="1" dirty="0">
              <a:solidFill>
                <a:schemeClr val="accent1">
                  <a:lumMod val="50000"/>
                </a:schemeClr>
              </a:solidFill>
            </a:endParaRPr>
          </a:p>
        </p:txBody>
      </p:sp>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05199" y="196056"/>
            <a:ext cx="2509837" cy="7175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18747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402169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9" name="think-cell Slide" r:id="rId118" imgW="270" imgH="270" progId="TCLayout.ActiveDocument.1">
                  <p:embed/>
                </p:oleObj>
              </mc:Choice>
              <mc:Fallback>
                <p:oleObj name="think-cell Slide" r:id="rId118" imgW="270" imgH="270" progId="TCLayout.ActiveDocument.1">
                  <p:embed/>
                  <p:pic>
                    <p:nvPicPr>
                      <p:cNvPr id="0" name=""/>
                      <p:cNvPicPr/>
                      <p:nvPr/>
                    </p:nvPicPr>
                    <p:blipFill>
                      <a:blip r:embed="rId11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dirty="0">
              <a:latin typeface="Calibri"/>
              <a:sym typeface="Calibri"/>
            </a:endParaRPr>
          </a:p>
        </p:txBody>
      </p:sp>
      <p:sp>
        <p:nvSpPr>
          <p:cNvPr id="2" name="Title 1"/>
          <p:cNvSpPr>
            <a:spLocks noGrp="1"/>
          </p:cNvSpPr>
          <p:nvPr>
            <p:ph type="title"/>
          </p:nvPr>
        </p:nvSpPr>
        <p:spPr>
          <a:xfrm>
            <a:off x="320540" y="188640"/>
            <a:ext cx="8229600" cy="487362"/>
          </a:xfrm>
        </p:spPr>
        <p:txBody>
          <a:bodyPr>
            <a:noAutofit/>
          </a:bodyPr>
          <a:lstStyle/>
          <a:p>
            <a:r>
              <a:rPr lang="lt-LT" sz="2000" b="1" dirty="0">
                <a:solidFill>
                  <a:schemeClr val="tx2">
                    <a:lumMod val="75000"/>
                  </a:schemeClr>
                </a:solidFill>
              </a:rPr>
              <a:t>Lyginant vartotojų aktyvumą, daugiausiai aktyvių vartotojų yra tarp dėstančių užsienio kalbas, pradinio ugdymo dalykus, ikimokyklinio ugdymo dalykus, dailę bei informacines ir komunikacijos technologijas</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856255284"/>
              </p:ext>
            </p:extLst>
          </p:nvPr>
        </p:nvGraphicFramePr>
        <p:xfrm>
          <a:off x="2209800" y="1181100"/>
          <a:ext cx="3305156" cy="5000520"/>
        </p:xfrm>
        <a:graphic>
          <a:graphicData uri="http://schemas.openxmlformats.org/presentationml/2006/ole">
            <mc:AlternateContent xmlns:mc="http://schemas.openxmlformats.org/markup-compatibility/2006">
              <mc:Choice xmlns:v="urn:schemas-microsoft-com:vml" Requires="v">
                <p:oleObj spid="_x0000_s16420" name="Chart" r:id="rId120" imgW="3305179" imgH="5000605" progId="MSGraph.Chart.8">
                  <p:embed followColorScheme="full"/>
                </p:oleObj>
              </mc:Choice>
              <mc:Fallback>
                <p:oleObj name="Chart" r:id="rId120" imgW="3305179" imgH="5000605" progId="MSGraph.Chart.8">
                  <p:embed followColorScheme="full"/>
                  <p:pic>
                    <p:nvPicPr>
                      <p:cNvPr id="0" name=""/>
                      <p:cNvPicPr/>
                      <p:nvPr/>
                    </p:nvPicPr>
                    <p:blipFill>
                      <a:blip r:embed="rId121"/>
                      <a:stretch>
                        <a:fillRect/>
                      </a:stretch>
                    </p:blipFill>
                    <p:spPr>
                      <a:xfrm>
                        <a:off x="2209800" y="1181100"/>
                        <a:ext cx="3305156" cy="5000520"/>
                      </a:xfrm>
                      <a:prstGeom prst="rect">
                        <a:avLst/>
                      </a:prstGeom>
                    </p:spPr>
                  </p:pic>
                </p:oleObj>
              </mc:Fallback>
            </mc:AlternateContent>
          </a:graphicData>
        </a:graphic>
      </p:graphicFrame>
      <p:sp>
        <p:nvSpPr>
          <p:cNvPr id="24" name="Rectangle 23"/>
          <p:cNvSpPr/>
          <p:nvPr>
            <p:custDataLst>
              <p:tags r:id="rId5"/>
            </p:custDataLst>
          </p:nvPr>
        </p:nvSpPr>
        <p:spPr bwMode="auto">
          <a:xfrm>
            <a:off x="1485900" y="5857875"/>
            <a:ext cx="709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chnologijos</a:t>
            </a:r>
            <a:endParaRPr lang="en-US" sz="1000" dirty="0">
              <a:solidFill>
                <a:schemeClr val="tx1"/>
              </a:solidFill>
              <a:latin typeface="Calibri"/>
              <a:sym typeface="Calibri"/>
            </a:endParaRPr>
          </a:p>
        </p:txBody>
      </p:sp>
      <p:sp>
        <p:nvSpPr>
          <p:cNvPr id="81" name="Rectangle 80"/>
          <p:cNvSpPr/>
          <p:nvPr>
            <p:custDataLst>
              <p:tags r:id="rId6"/>
            </p:custDataLst>
          </p:nvPr>
        </p:nvSpPr>
        <p:spPr bwMode="gray">
          <a:xfrm>
            <a:off x="2463800" y="59372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F928405-9B84-48D5-96D0-FEF5A783F679}" type="datetime'''''''''''''''''2''''''''''''6%'''''''''">
              <a:rPr lang="en-US" sz="1000">
                <a:solidFill>
                  <a:schemeClr val="tx1"/>
                </a:solidFill>
                <a:sym typeface="+mn-lt"/>
              </a:rPr>
              <a:pPr>
                <a:spcBef>
                  <a:spcPct val="0"/>
                </a:spcBef>
                <a:spcAft>
                  <a:spcPct val="0"/>
                </a:spcAft>
              </a:pPr>
              <a:t>26%</a:t>
            </a:fld>
            <a:endParaRPr lang="en-US" sz="1000">
              <a:solidFill>
                <a:schemeClr val="tx1"/>
              </a:solidFill>
              <a:sym typeface="+mn-lt"/>
            </a:endParaRPr>
          </a:p>
        </p:txBody>
      </p:sp>
      <p:sp>
        <p:nvSpPr>
          <p:cNvPr id="80" name="Rectangle 79"/>
          <p:cNvSpPr/>
          <p:nvPr>
            <p:custDataLst>
              <p:tags r:id="rId7"/>
            </p:custDataLst>
          </p:nvPr>
        </p:nvSpPr>
        <p:spPr bwMode="gray">
          <a:xfrm>
            <a:off x="2711450" y="58054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28CCD8-43BC-47A4-A48F-346550456808}" type="datetime'''''''''''7''''''''''4''''''''''''''''''''''''''''''%'">
              <a:rPr lang="en-US" sz="1000">
                <a:solidFill>
                  <a:schemeClr val="tx1"/>
                </a:solidFill>
                <a:sym typeface="+mn-lt"/>
              </a:rPr>
              <a:pPr>
                <a:spcBef>
                  <a:spcPct val="0"/>
                </a:spcBef>
                <a:spcAft>
                  <a:spcPct val="0"/>
                </a:spcAft>
              </a:pPr>
              <a:t>74%</a:t>
            </a:fld>
            <a:endParaRPr lang="en-US" sz="1000">
              <a:solidFill>
                <a:schemeClr val="tx1"/>
              </a:solidFill>
              <a:sym typeface="+mn-lt"/>
            </a:endParaRPr>
          </a:p>
        </p:txBody>
      </p:sp>
      <p:sp>
        <p:nvSpPr>
          <p:cNvPr id="23" name="Rectangle 22"/>
          <p:cNvSpPr/>
          <p:nvPr>
            <p:custDataLst>
              <p:tags r:id="rId8"/>
            </p:custDataLst>
          </p:nvPr>
        </p:nvSpPr>
        <p:spPr bwMode="auto">
          <a:xfrm>
            <a:off x="1443038" y="5554663"/>
            <a:ext cx="7524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Aplinkosauga</a:t>
            </a:r>
            <a:endParaRPr lang="en-US" sz="1100" dirty="0">
              <a:solidFill>
                <a:schemeClr val="tx1"/>
              </a:solidFill>
              <a:latin typeface="Calibri"/>
              <a:sym typeface="Calibri"/>
            </a:endParaRPr>
          </a:p>
        </p:txBody>
      </p:sp>
      <p:sp>
        <p:nvSpPr>
          <p:cNvPr id="79" name="Rectangle 78"/>
          <p:cNvSpPr/>
          <p:nvPr>
            <p:custDataLst>
              <p:tags r:id="rId9"/>
            </p:custDataLst>
          </p:nvPr>
        </p:nvSpPr>
        <p:spPr bwMode="gray">
          <a:xfrm>
            <a:off x="2540000" y="56419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B097E4D-B585-40E4-8F9B-0ADE4213929B}" type="datetime'''''''''''''''''''''''''''''''4''''''''''''''''''''''0''''''%'">
              <a:rPr lang="en-US" sz="1000">
                <a:solidFill>
                  <a:schemeClr val="tx1"/>
                </a:solidFill>
                <a:sym typeface="+mn-lt"/>
              </a:rPr>
              <a:pPr>
                <a:spcBef>
                  <a:spcPct val="0"/>
                </a:spcBef>
                <a:spcAft>
                  <a:spcPct val="0"/>
                </a:spcAft>
              </a:pPr>
              <a:t>40%</a:t>
            </a:fld>
            <a:endParaRPr lang="en-US" sz="1000">
              <a:solidFill>
                <a:schemeClr val="tx1"/>
              </a:solidFill>
              <a:sym typeface="+mn-lt"/>
            </a:endParaRPr>
          </a:p>
        </p:txBody>
      </p:sp>
      <p:sp>
        <p:nvSpPr>
          <p:cNvPr id="78" name="Rectangle 77"/>
          <p:cNvSpPr/>
          <p:nvPr>
            <p:custDataLst>
              <p:tags r:id="rId10"/>
            </p:custDataLst>
          </p:nvPr>
        </p:nvSpPr>
        <p:spPr bwMode="gray">
          <a:xfrm>
            <a:off x="2644775" y="55102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552266D-D839-4CCA-A0B9-1765DCBD0B65}" type="datetime'6''''''''0''''''''''''''''''''%'''''''''">
              <a:rPr lang="en-US" sz="1000">
                <a:solidFill>
                  <a:schemeClr val="tx1"/>
                </a:solidFill>
                <a:sym typeface="+mn-lt"/>
              </a:rPr>
              <a:pPr>
                <a:spcBef>
                  <a:spcPct val="0"/>
                </a:spcBef>
                <a:spcAft>
                  <a:spcPct val="0"/>
                </a:spcAft>
              </a:pPr>
              <a:t>60%</a:t>
            </a:fld>
            <a:endParaRPr lang="en-US" sz="1000">
              <a:solidFill>
                <a:schemeClr val="tx1"/>
              </a:solidFill>
              <a:sym typeface="+mn-lt"/>
            </a:endParaRPr>
          </a:p>
        </p:txBody>
      </p:sp>
      <p:sp>
        <p:nvSpPr>
          <p:cNvPr id="22" name="Rectangle 21"/>
          <p:cNvSpPr/>
          <p:nvPr>
            <p:custDataLst>
              <p:tags r:id="rId11"/>
            </p:custDataLst>
          </p:nvPr>
        </p:nvSpPr>
        <p:spPr bwMode="auto">
          <a:xfrm>
            <a:off x="515938" y="5254625"/>
            <a:ext cx="16795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Socialiniai mokslai/Sociologija</a:t>
            </a:r>
            <a:endParaRPr lang="en-US" sz="1100" dirty="0">
              <a:solidFill>
                <a:schemeClr val="tx1"/>
              </a:solidFill>
              <a:latin typeface="Calibri"/>
              <a:sym typeface="Calibri"/>
            </a:endParaRPr>
          </a:p>
        </p:txBody>
      </p:sp>
      <p:sp>
        <p:nvSpPr>
          <p:cNvPr id="77" name="Rectangle 76"/>
          <p:cNvSpPr/>
          <p:nvPr>
            <p:custDataLst>
              <p:tags r:id="rId12"/>
            </p:custDataLst>
          </p:nvPr>
        </p:nvSpPr>
        <p:spPr bwMode="gray">
          <a:xfrm>
            <a:off x="2511425" y="53467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D96D918-EBCD-48C5-B376-DC9AD1E21351}" type="datetime'''''''''''''''''3''''''3''''''''%'''''''">
              <a:rPr lang="en-US" sz="1000">
                <a:solidFill>
                  <a:schemeClr val="tx1"/>
                </a:solidFill>
                <a:sym typeface="+mn-lt"/>
              </a:rPr>
              <a:pPr>
                <a:spcBef>
                  <a:spcPct val="0"/>
                </a:spcBef>
                <a:spcAft>
                  <a:spcPct val="0"/>
                </a:spcAft>
              </a:pPr>
              <a:t>33%</a:t>
            </a:fld>
            <a:endParaRPr lang="en-US" sz="1000">
              <a:solidFill>
                <a:schemeClr val="tx1"/>
              </a:solidFill>
              <a:sym typeface="+mn-lt"/>
            </a:endParaRPr>
          </a:p>
        </p:txBody>
      </p:sp>
      <p:sp>
        <p:nvSpPr>
          <p:cNvPr id="76" name="Rectangle 75"/>
          <p:cNvSpPr/>
          <p:nvPr>
            <p:custDataLst>
              <p:tags r:id="rId13"/>
            </p:custDataLst>
          </p:nvPr>
        </p:nvSpPr>
        <p:spPr bwMode="gray">
          <a:xfrm>
            <a:off x="2692400" y="52101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5B9E904-F9A1-4CF2-9800-AA6191C6A773}" type="datetime'''6''''''7%'''''''''''''''">
              <a:rPr lang="en-US" sz="1000">
                <a:solidFill>
                  <a:schemeClr val="tx1"/>
                </a:solidFill>
                <a:sym typeface="+mn-lt"/>
              </a:rPr>
              <a:pPr>
                <a:spcBef>
                  <a:spcPct val="0"/>
                </a:spcBef>
                <a:spcAft>
                  <a:spcPct val="0"/>
                </a:spcAft>
              </a:pPr>
              <a:t>67%</a:t>
            </a:fld>
            <a:endParaRPr lang="en-US" sz="1000">
              <a:solidFill>
                <a:schemeClr val="tx1"/>
              </a:solidFill>
              <a:sym typeface="+mn-lt"/>
            </a:endParaRPr>
          </a:p>
        </p:txBody>
      </p:sp>
      <p:sp>
        <p:nvSpPr>
          <p:cNvPr id="21" name="Rectangle 20"/>
          <p:cNvSpPr/>
          <p:nvPr>
            <p:custDataLst>
              <p:tags r:id="rId14"/>
            </p:custDataLst>
          </p:nvPr>
        </p:nvSpPr>
        <p:spPr bwMode="auto">
          <a:xfrm>
            <a:off x="1374775" y="4962525"/>
            <a:ext cx="820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amtos mokslai</a:t>
            </a:r>
            <a:endParaRPr lang="en-US" sz="1000" dirty="0">
              <a:solidFill>
                <a:schemeClr val="tx1"/>
              </a:solidFill>
              <a:latin typeface="Calibri"/>
              <a:sym typeface="Calibri"/>
            </a:endParaRPr>
          </a:p>
        </p:txBody>
      </p:sp>
      <p:sp>
        <p:nvSpPr>
          <p:cNvPr id="75" name="Rectangle 74"/>
          <p:cNvSpPr/>
          <p:nvPr>
            <p:custDataLst>
              <p:tags r:id="rId15"/>
            </p:custDataLst>
          </p:nvPr>
        </p:nvSpPr>
        <p:spPr bwMode="gray">
          <a:xfrm>
            <a:off x="2568575" y="50419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544FEBF-F4B3-49B6-8B63-78EC2AEC5BC8}" type="datetime'''''''''''''41%'''''''''''''''''''''''''''">
              <a:rPr lang="en-US" sz="1000">
                <a:solidFill>
                  <a:schemeClr val="tx1"/>
                </a:solidFill>
                <a:sym typeface="+mn-lt"/>
              </a:rPr>
              <a:pPr>
                <a:spcBef>
                  <a:spcPct val="0"/>
                </a:spcBef>
                <a:spcAft>
                  <a:spcPct val="0"/>
                </a:spcAft>
              </a:pPr>
              <a:t>41%</a:t>
            </a:fld>
            <a:endParaRPr lang="en-US" sz="1000">
              <a:solidFill>
                <a:schemeClr val="tx1"/>
              </a:solidFill>
              <a:sym typeface="+mn-lt"/>
            </a:endParaRPr>
          </a:p>
        </p:txBody>
      </p:sp>
      <p:sp>
        <p:nvSpPr>
          <p:cNvPr id="74" name="Rectangle 73"/>
          <p:cNvSpPr/>
          <p:nvPr>
            <p:custDataLst>
              <p:tags r:id="rId16"/>
            </p:custDataLst>
          </p:nvPr>
        </p:nvSpPr>
        <p:spPr bwMode="gray">
          <a:xfrm>
            <a:off x="2663825" y="4910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7818DEB-31A2-402C-9349-EE031113A557}" type="datetime'''''''''''''''''''''5''''''9''''''%'''''''''''''''''''">
              <a:rPr lang="en-US" sz="1000">
                <a:solidFill>
                  <a:schemeClr val="tx1"/>
                </a:solidFill>
                <a:sym typeface="+mn-lt"/>
              </a:rPr>
              <a:pPr>
                <a:spcBef>
                  <a:spcPct val="0"/>
                </a:spcBef>
                <a:spcAft>
                  <a:spcPct val="0"/>
                </a:spcAft>
              </a:pPr>
              <a:t>59%</a:t>
            </a:fld>
            <a:endParaRPr lang="en-US" sz="1000">
              <a:solidFill>
                <a:schemeClr val="tx1"/>
              </a:solidFill>
              <a:sym typeface="+mn-lt"/>
            </a:endParaRPr>
          </a:p>
        </p:txBody>
      </p:sp>
      <p:sp>
        <p:nvSpPr>
          <p:cNvPr id="20" name="Rectangle 19"/>
          <p:cNvSpPr/>
          <p:nvPr>
            <p:custDataLst>
              <p:tags r:id="rId17"/>
            </p:custDataLst>
          </p:nvPr>
        </p:nvSpPr>
        <p:spPr bwMode="auto">
          <a:xfrm>
            <a:off x="1290638" y="4667250"/>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Sveikatos mokslai</a:t>
            </a:r>
            <a:endParaRPr lang="en-US" sz="1000" dirty="0">
              <a:solidFill>
                <a:schemeClr val="tx1"/>
              </a:solidFill>
              <a:latin typeface="Calibri"/>
              <a:sym typeface="Calibri"/>
            </a:endParaRPr>
          </a:p>
        </p:txBody>
      </p:sp>
      <p:sp>
        <p:nvSpPr>
          <p:cNvPr id="73" name="Rectangle 72"/>
          <p:cNvSpPr/>
          <p:nvPr>
            <p:custDataLst>
              <p:tags r:id="rId18"/>
            </p:custDataLst>
          </p:nvPr>
        </p:nvSpPr>
        <p:spPr bwMode="gray">
          <a:xfrm>
            <a:off x="2625725" y="47466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03FD8E7-DE09-4AF5-8B5D-67C1A9140640}" type="datetime'''''''''''''''''''''''''''''''4''''7%'''''''''''''''">
              <a:rPr lang="en-US" sz="1000">
                <a:solidFill>
                  <a:schemeClr val="tx1"/>
                </a:solidFill>
                <a:sym typeface="+mn-lt"/>
              </a:rPr>
              <a:pPr>
                <a:spcBef>
                  <a:spcPct val="0"/>
                </a:spcBef>
                <a:spcAft>
                  <a:spcPct val="0"/>
                </a:spcAft>
              </a:pPr>
              <a:t>47%</a:t>
            </a:fld>
            <a:endParaRPr lang="en-US" sz="1000">
              <a:solidFill>
                <a:schemeClr val="tx1"/>
              </a:solidFill>
              <a:sym typeface="+mn-lt"/>
            </a:endParaRPr>
          </a:p>
        </p:txBody>
      </p:sp>
      <p:sp>
        <p:nvSpPr>
          <p:cNvPr id="72" name="Rectangle 71"/>
          <p:cNvSpPr/>
          <p:nvPr>
            <p:custDataLst>
              <p:tags r:id="rId19"/>
            </p:custDataLst>
          </p:nvPr>
        </p:nvSpPr>
        <p:spPr bwMode="gray">
          <a:xfrm>
            <a:off x="2663825" y="46148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AEBDE87-8C2C-4718-9A89-2AA9A9B8D66A}" type="datetime'''''''''''''''''''''''''''''5''''''''''''''''''''3%'''''''''">
              <a:rPr lang="en-US" sz="1000">
                <a:solidFill>
                  <a:schemeClr val="tx1"/>
                </a:solidFill>
                <a:sym typeface="+mn-lt"/>
              </a:rPr>
              <a:pPr>
                <a:spcBef>
                  <a:spcPct val="0"/>
                </a:spcBef>
                <a:spcAft>
                  <a:spcPct val="0"/>
                </a:spcAft>
              </a:pPr>
              <a:t>53%</a:t>
            </a:fld>
            <a:endParaRPr lang="en-US" sz="1000">
              <a:solidFill>
                <a:schemeClr val="tx1"/>
              </a:solidFill>
              <a:sym typeface="+mn-lt"/>
            </a:endParaRPr>
          </a:p>
        </p:txBody>
      </p:sp>
      <p:sp>
        <p:nvSpPr>
          <p:cNvPr id="19" name="Rectangle 18"/>
          <p:cNvSpPr/>
          <p:nvPr>
            <p:custDataLst>
              <p:tags r:id="rId20"/>
            </p:custDataLst>
          </p:nvPr>
        </p:nvSpPr>
        <p:spPr bwMode="auto">
          <a:xfrm>
            <a:off x="1760538" y="4371975"/>
            <a:ext cx="434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Nedėsto</a:t>
            </a:r>
            <a:endParaRPr lang="en-US" sz="1000" dirty="0">
              <a:solidFill>
                <a:schemeClr val="tx1"/>
              </a:solidFill>
              <a:latin typeface="Calibri"/>
              <a:sym typeface="Calibri"/>
            </a:endParaRPr>
          </a:p>
        </p:txBody>
      </p:sp>
      <p:sp>
        <p:nvSpPr>
          <p:cNvPr id="71" name="Rectangle 70"/>
          <p:cNvSpPr/>
          <p:nvPr>
            <p:custDataLst>
              <p:tags r:id="rId21"/>
            </p:custDataLst>
          </p:nvPr>
        </p:nvSpPr>
        <p:spPr bwMode="gray">
          <a:xfrm>
            <a:off x="2359025" y="44513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617E68F-0E27-4C9C-AA86-88754EE64B99}" type="datetime'''''''''''''5''''''''''''''''''''''''''%'''''''">
              <a:rPr lang="en-US" sz="1000">
                <a:solidFill>
                  <a:schemeClr val="tx1"/>
                </a:solidFill>
                <a:sym typeface="+mn-lt"/>
              </a:rPr>
              <a:pPr>
                <a:spcBef>
                  <a:spcPct val="0"/>
                </a:spcBef>
                <a:spcAft>
                  <a:spcPct val="0"/>
                </a:spcAft>
              </a:pPr>
              <a:t>5%</a:t>
            </a:fld>
            <a:endParaRPr lang="en-US" sz="1000">
              <a:solidFill>
                <a:schemeClr val="tx1"/>
              </a:solidFill>
              <a:sym typeface="+mn-lt"/>
            </a:endParaRPr>
          </a:p>
        </p:txBody>
      </p:sp>
      <p:sp>
        <p:nvSpPr>
          <p:cNvPr id="70" name="Rectangle 69"/>
          <p:cNvSpPr/>
          <p:nvPr>
            <p:custDataLst>
              <p:tags r:id="rId22"/>
            </p:custDataLst>
          </p:nvPr>
        </p:nvSpPr>
        <p:spPr bwMode="gray">
          <a:xfrm>
            <a:off x="2940050" y="43195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8F03F99-7412-4760-91E8-3CAE13FC6F49}" type="datetime'''''''''''''9''''''''5%'''''''''''''''''''''''''">
              <a:rPr lang="en-US" sz="1000">
                <a:solidFill>
                  <a:schemeClr val="tx1"/>
                </a:solidFill>
                <a:sym typeface="+mn-lt"/>
              </a:rPr>
              <a:pPr>
                <a:spcBef>
                  <a:spcPct val="0"/>
                </a:spcBef>
                <a:spcAft>
                  <a:spcPct val="0"/>
                </a:spcAft>
              </a:pPr>
              <a:t>95%</a:t>
            </a:fld>
            <a:endParaRPr lang="en-US" sz="1000">
              <a:solidFill>
                <a:schemeClr val="tx1"/>
              </a:solidFill>
              <a:sym typeface="+mn-lt"/>
            </a:endParaRPr>
          </a:p>
        </p:txBody>
      </p:sp>
      <p:sp>
        <p:nvSpPr>
          <p:cNvPr id="18" name="Rectangle 17"/>
          <p:cNvSpPr/>
          <p:nvPr>
            <p:custDataLst>
              <p:tags r:id="rId23"/>
            </p:custDataLst>
          </p:nvPr>
        </p:nvSpPr>
        <p:spPr bwMode="auto">
          <a:xfrm>
            <a:off x="1533525" y="4076700"/>
            <a:ext cx="661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Kūno kultūra</a:t>
            </a:r>
            <a:endParaRPr lang="en-US" sz="1000" dirty="0">
              <a:solidFill>
                <a:schemeClr val="tx1"/>
              </a:solidFill>
              <a:latin typeface="Calibri"/>
              <a:sym typeface="Calibri"/>
            </a:endParaRPr>
          </a:p>
        </p:txBody>
      </p:sp>
      <p:sp>
        <p:nvSpPr>
          <p:cNvPr id="69" name="Rectangle 68"/>
          <p:cNvSpPr/>
          <p:nvPr>
            <p:custDataLst>
              <p:tags r:id="rId24"/>
            </p:custDataLst>
          </p:nvPr>
        </p:nvSpPr>
        <p:spPr bwMode="gray">
          <a:xfrm>
            <a:off x="2568575" y="41560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0DC17FB-3F5E-4CB9-BC88-B1A2EB9890C7}" type="datetime'3''''''''6''%'''''''''''''''''''''''''''">
              <a:rPr lang="en-US" sz="1000">
                <a:solidFill>
                  <a:schemeClr val="tx1"/>
                </a:solidFill>
                <a:sym typeface="+mn-lt"/>
              </a:rPr>
              <a:pPr>
                <a:spcBef>
                  <a:spcPct val="0"/>
                </a:spcBef>
                <a:spcAft>
                  <a:spcPct val="0"/>
                </a:spcAft>
              </a:pPr>
              <a:t>36%</a:t>
            </a:fld>
            <a:endParaRPr lang="en-US" sz="1000">
              <a:solidFill>
                <a:schemeClr val="tx1"/>
              </a:solidFill>
              <a:sym typeface="+mn-lt"/>
            </a:endParaRPr>
          </a:p>
        </p:txBody>
      </p:sp>
      <p:sp>
        <p:nvSpPr>
          <p:cNvPr id="68" name="Rectangle 67"/>
          <p:cNvSpPr/>
          <p:nvPr>
            <p:custDataLst>
              <p:tags r:id="rId25"/>
            </p:custDataLst>
          </p:nvPr>
        </p:nvSpPr>
        <p:spPr bwMode="gray">
          <a:xfrm>
            <a:off x="2749550" y="40243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4C307E5-5A40-4C5E-B670-1FA2E944A4CF}" type="datetime'''''''''''''64''''''''''''%'''''''''''''''">
              <a:rPr lang="en-US" sz="1000">
                <a:solidFill>
                  <a:schemeClr val="tx1"/>
                </a:solidFill>
                <a:sym typeface="+mn-lt"/>
              </a:rPr>
              <a:pPr>
                <a:spcBef>
                  <a:spcPct val="0"/>
                </a:spcBef>
                <a:spcAft>
                  <a:spcPct val="0"/>
                </a:spcAft>
              </a:pPr>
              <a:t>64%</a:t>
            </a:fld>
            <a:endParaRPr lang="en-US" sz="1000">
              <a:solidFill>
                <a:schemeClr val="tx1"/>
              </a:solidFill>
              <a:sym typeface="+mn-lt"/>
            </a:endParaRPr>
          </a:p>
        </p:txBody>
      </p:sp>
      <p:sp>
        <p:nvSpPr>
          <p:cNvPr id="17" name="Rectangle 16"/>
          <p:cNvSpPr/>
          <p:nvPr>
            <p:custDataLst>
              <p:tags r:id="rId26"/>
            </p:custDataLst>
          </p:nvPr>
        </p:nvSpPr>
        <p:spPr bwMode="auto">
          <a:xfrm>
            <a:off x="107950" y="3781425"/>
            <a:ext cx="208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latin typeface="Calibri"/>
                <a:sym typeface="Calibri"/>
              </a:rPr>
              <a:t>Spec</a:t>
            </a:r>
            <a:r>
              <a:rPr lang="lt-LT" sz="1000" dirty="0" smtClean="0">
                <a:solidFill>
                  <a:schemeClr val="tx1"/>
                </a:solidFill>
                <a:latin typeface="Calibri"/>
                <a:sym typeface="Calibri"/>
              </a:rPr>
              <a:t>. poreikių turinčių mokinių ugdymas</a:t>
            </a:r>
            <a:endParaRPr lang="en-US" sz="1000" dirty="0">
              <a:solidFill>
                <a:schemeClr val="tx1"/>
              </a:solidFill>
              <a:latin typeface="Calibri"/>
              <a:sym typeface="Calibri"/>
            </a:endParaRPr>
          </a:p>
        </p:txBody>
      </p:sp>
      <p:sp>
        <p:nvSpPr>
          <p:cNvPr id="67" name="Rectangle 66"/>
          <p:cNvSpPr/>
          <p:nvPr>
            <p:custDataLst>
              <p:tags r:id="rId27"/>
            </p:custDataLst>
          </p:nvPr>
        </p:nvSpPr>
        <p:spPr bwMode="gray">
          <a:xfrm>
            <a:off x="2578100" y="38608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8FB08C8-2757-47F4-B84C-B043A11F0D3F}" type="datetime'''''''''3''''2''''''''''''%'''''''''''''''''''''''''">
              <a:rPr lang="en-US" sz="1000">
                <a:solidFill>
                  <a:schemeClr val="tx1"/>
                </a:solidFill>
                <a:sym typeface="+mn-lt"/>
              </a:rPr>
              <a:pPr>
                <a:spcBef>
                  <a:spcPct val="0"/>
                </a:spcBef>
                <a:spcAft>
                  <a:spcPct val="0"/>
                </a:spcAft>
              </a:pPr>
              <a:t>32%</a:t>
            </a:fld>
            <a:endParaRPr lang="en-US" sz="1000">
              <a:solidFill>
                <a:schemeClr val="tx1"/>
              </a:solidFill>
              <a:sym typeface="+mn-lt"/>
            </a:endParaRPr>
          </a:p>
        </p:txBody>
      </p:sp>
      <p:sp>
        <p:nvSpPr>
          <p:cNvPr id="66" name="Rectangle 65"/>
          <p:cNvSpPr/>
          <p:nvPr>
            <p:custDataLst>
              <p:tags r:id="rId28"/>
            </p:custDataLst>
          </p:nvPr>
        </p:nvSpPr>
        <p:spPr bwMode="gray">
          <a:xfrm>
            <a:off x="2863850" y="37290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6F97FF4-A8B3-42DB-945B-C2C5E2FF4FBB}" type="datetime'''''''''''''69''''''''%'''''''''''''''''">
              <a:rPr lang="en-US" sz="1000">
                <a:solidFill>
                  <a:schemeClr val="tx1"/>
                </a:solidFill>
                <a:sym typeface="+mn-lt"/>
              </a:rPr>
              <a:pPr>
                <a:spcBef>
                  <a:spcPct val="0"/>
                </a:spcBef>
                <a:spcAft>
                  <a:spcPct val="0"/>
                </a:spcAft>
              </a:pPr>
              <a:t>69%</a:t>
            </a:fld>
            <a:endParaRPr lang="en-US" sz="1000">
              <a:solidFill>
                <a:schemeClr val="tx1"/>
              </a:solidFill>
              <a:sym typeface="+mn-lt"/>
            </a:endParaRPr>
          </a:p>
        </p:txBody>
      </p:sp>
      <p:sp>
        <p:nvSpPr>
          <p:cNvPr id="16" name="Rectangle 15"/>
          <p:cNvSpPr/>
          <p:nvPr>
            <p:custDataLst>
              <p:tags r:id="rId29"/>
            </p:custDataLst>
          </p:nvPr>
        </p:nvSpPr>
        <p:spPr bwMode="auto">
          <a:xfrm>
            <a:off x="814388" y="3473450"/>
            <a:ext cx="13811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Matematika/Geometrija</a:t>
            </a:r>
            <a:endParaRPr lang="en-US" sz="1100" dirty="0">
              <a:solidFill>
                <a:schemeClr val="tx1"/>
              </a:solidFill>
              <a:latin typeface="Calibri"/>
              <a:sym typeface="Calibri"/>
            </a:endParaRPr>
          </a:p>
        </p:txBody>
      </p:sp>
      <p:sp>
        <p:nvSpPr>
          <p:cNvPr id="65" name="Rectangle 64"/>
          <p:cNvSpPr/>
          <p:nvPr>
            <p:custDataLst>
              <p:tags r:id="rId30"/>
            </p:custDataLst>
          </p:nvPr>
        </p:nvSpPr>
        <p:spPr bwMode="gray">
          <a:xfrm>
            <a:off x="2587625" y="35655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5BA40FC-BE37-428B-A49C-973F7007E445}" type="datetime'29''''%'''''''''''''''''''''''''''''">
              <a:rPr lang="en-US" sz="1000">
                <a:solidFill>
                  <a:schemeClr val="tx1"/>
                </a:solidFill>
                <a:sym typeface="+mn-lt"/>
              </a:rPr>
              <a:pPr>
                <a:spcBef>
                  <a:spcPct val="0"/>
                </a:spcBef>
                <a:spcAft>
                  <a:spcPct val="0"/>
                </a:spcAft>
              </a:pPr>
              <a:t>29%</a:t>
            </a:fld>
            <a:endParaRPr lang="en-US" sz="1000">
              <a:solidFill>
                <a:schemeClr val="tx1"/>
              </a:solidFill>
              <a:sym typeface="+mn-lt"/>
            </a:endParaRPr>
          </a:p>
        </p:txBody>
      </p:sp>
      <p:sp>
        <p:nvSpPr>
          <p:cNvPr id="64" name="Rectangle 63"/>
          <p:cNvSpPr/>
          <p:nvPr>
            <p:custDataLst>
              <p:tags r:id="rId31"/>
            </p:custDataLst>
          </p:nvPr>
        </p:nvSpPr>
        <p:spPr bwMode="gray">
          <a:xfrm>
            <a:off x="2968625" y="34290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2FC4886-089D-4A00-B5F2-087AE6472C98}" type="datetime'''''''71''''''''''''''''''''''''''%'''''''''''''''''''''''''">
              <a:rPr lang="en-US" sz="1000">
                <a:solidFill>
                  <a:schemeClr val="tx1"/>
                </a:solidFill>
                <a:sym typeface="+mn-lt"/>
              </a:rPr>
              <a:pPr>
                <a:spcBef>
                  <a:spcPct val="0"/>
                </a:spcBef>
                <a:spcAft>
                  <a:spcPct val="0"/>
                </a:spcAft>
              </a:pPr>
              <a:t>71%</a:t>
            </a:fld>
            <a:endParaRPr lang="en-US" sz="1000">
              <a:solidFill>
                <a:schemeClr val="tx1"/>
              </a:solidFill>
              <a:sym typeface="+mn-lt"/>
            </a:endParaRPr>
          </a:p>
        </p:txBody>
      </p:sp>
      <p:sp>
        <p:nvSpPr>
          <p:cNvPr id="15" name="Rectangle 14"/>
          <p:cNvSpPr/>
          <p:nvPr>
            <p:custDataLst>
              <p:tags r:id="rId32"/>
            </p:custDataLst>
          </p:nvPr>
        </p:nvSpPr>
        <p:spPr bwMode="auto">
          <a:xfrm>
            <a:off x="1824038" y="3181350"/>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Muzika</a:t>
            </a:r>
            <a:endParaRPr lang="en-US" sz="1000" dirty="0">
              <a:solidFill>
                <a:schemeClr val="tx1"/>
              </a:solidFill>
              <a:latin typeface="Calibri"/>
              <a:sym typeface="Calibri"/>
            </a:endParaRPr>
          </a:p>
        </p:txBody>
      </p:sp>
      <p:sp>
        <p:nvSpPr>
          <p:cNvPr id="63" name="Rectangle 62"/>
          <p:cNvSpPr/>
          <p:nvPr>
            <p:custDataLst>
              <p:tags r:id="rId33"/>
            </p:custDataLst>
          </p:nvPr>
        </p:nvSpPr>
        <p:spPr bwMode="gray">
          <a:xfrm>
            <a:off x="2625725" y="32607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8FD2B1E-7FC1-4CC4-B308-C81A494E0288}" type="datetime'''''''2''''''''''''''''9''''''''''''%'''''''''''''''''''''">
              <a:rPr lang="en-US" sz="1000">
                <a:solidFill>
                  <a:schemeClr val="tx1"/>
                </a:solidFill>
                <a:sym typeface="+mn-lt"/>
              </a:rPr>
              <a:pPr>
                <a:spcBef>
                  <a:spcPct val="0"/>
                </a:spcBef>
                <a:spcAft>
                  <a:spcPct val="0"/>
                </a:spcAft>
              </a:pPr>
              <a:t>29%</a:t>
            </a:fld>
            <a:endParaRPr lang="en-US" sz="1000">
              <a:solidFill>
                <a:schemeClr val="tx1"/>
              </a:solidFill>
              <a:sym typeface="+mn-lt"/>
            </a:endParaRPr>
          </a:p>
        </p:txBody>
      </p:sp>
      <p:sp>
        <p:nvSpPr>
          <p:cNvPr id="62" name="Rectangle 61"/>
          <p:cNvSpPr/>
          <p:nvPr>
            <p:custDataLst>
              <p:tags r:id="rId34"/>
            </p:custDataLst>
          </p:nvPr>
        </p:nvSpPr>
        <p:spPr bwMode="gray">
          <a:xfrm>
            <a:off x="3035300" y="31289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D15750E-19A1-484E-A688-3B56EEA53C24}" type="datetime'''''''''''7''''''''''''''''''''''''1%'">
              <a:rPr lang="en-US" sz="1000">
                <a:solidFill>
                  <a:schemeClr val="tx1"/>
                </a:solidFill>
                <a:sym typeface="+mn-lt"/>
              </a:rPr>
              <a:pPr>
                <a:spcBef>
                  <a:spcPct val="0"/>
                </a:spcBef>
                <a:spcAft>
                  <a:spcPct val="0"/>
                </a:spcAft>
              </a:pPr>
              <a:t>71%</a:t>
            </a:fld>
            <a:endParaRPr lang="en-US" sz="1000">
              <a:solidFill>
                <a:schemeClr val="tx1"/>
              </a:solidFill>
              <a:sym typeface="+mn-lt"/>
            </a:endParaRPr>
          </a:p>
        </p:txBody>
      </p:sp>
      <p:sp>
        <p:nvSpPr>
          <p:cNvPr id="14" name="Rectangle 13"/>
          <p:cNvSpPr/>
          <p:nvPr>
            <p:custDataLst>
              <p:tags r:id="rId35"/>
            </p:custDataLst>
          </p:nvPr>
        </p:nvSpPr>
        <p:spPr bwMode="auto">
          <a:xfrm>
            <a:off x="1300163" y="2886075"/>
            <a:ext cx="895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Kalba ir literatūra</a:t>
            </a:r>
            <a:endParaRPr lang="en-US" sz="1000" dirty="0">
              <a:solidFill>
                <a:schemeClr val="tx1"/>
              </a:solidFill>
              <a:latin typeface="Calibri"/>
              <a:sym typeface="Calibri"/>
            </a:endParaRPr>
          </a:p>
        </p:txBody>
      </p:sp>
      <p:sp>
        <p:nvSpPr>
          <p:cNvPr id="61" name="Rectangle 60"/>
          <p:cNvSpPr/>
          <p:nvPr>
            <p:custDataLst>
              <p:tags r:id="rId36"/>
            </p:custDataLst>
          </p:nvPr>
        </p:nvSpPr>
        <p:spPr bwMode="gray">
          <a:xfrm>
            <a:off x="2720975" y="29654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D32AEB2-C5F2-46B4-808A-19532C5FBAD6}" type="datetime'''''''''''''3''''''''''''''''''''''4''''''''''''%'''''''">
              <a:rPr lang="en-US" sz="1000">
                <a:solidFill>
                  <a:schemeClr val="tx1"/>
                </a:solidFill>
                <a:sym typeface="+mn-lt"/>
              </a:rPr>
              <a:pPr>
                <a:spcBef>
                  <a:spcPct val="0"/>
                </a:spcBef>
                <a:spcAft>
                  <a:spcPct val="0"/>
                </a:spcAft>
              </a:pPr>
              <a:t>34%</a:t>
            </a:fld>
            <a:endParaRPr lang="en-US" sz="1000">
              <a:solidFill>
                <a:schemeClr val="tx1"/>
              </a:solidFill>
              <a:sym typeface="+mn-lt"/>
            </a:endParaRPr>
          </a:p>
        </p:txBody>
      </p:sp>
      <p:sp>
        <p:nvSpPr>
          <p:cNvPr id="60" name="Rectangle 59"/>
          <p:cNvSpPr/>
          <p:nvPr>
            <p:custDataLst>
              <p:tags r:id="rId37"/>
            </p:custDataLst>
          </p:nvPr>
        </p:nvSpPr>
        <p:spPr bwMode="gray">
          <a:xfrm>
            <a:off x="3092450" y="2833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BB74B96-7E4A-41EA-A38B-789DC4026BDC}" type="datetime'''''''''''''''6''''''''6''%'''''''''''''''''''''">
              <a:rPr lang="en-US" sz="1000">
                <a:solidFill>
                  <a:schemeClr val="tx1"/>
                </a:solidFill>
                <a:sym typeface="+mn-lt"/>
              </a:rPr>
              <a:pPr>
                <a:spcBef>
                  <a:spcPct val="0"/>
                </a:spcBef>
                <a:spcAft>
                  <a:spcPct val="0"/>
                </a:spcAft>
              </a:pPr>
              <a:t>66%</a:t>
            </a:fld>
            <a:endParaRPr lang="en-US" sz="1000">
              <a:solidFill>
                <a:schemeClr val="tx1"/>
              </a:solidFill>
              <a:sym typeface="+mn-lt"/>
            </a:endParaRPr>
          </a:p>
        </p:txBody>
      </p:sp>
      <p:sp>
        <p:nvSpPr>
          <p:cNvPr id="13" name="Rectangle 12"/>
          <p:cNvSpPr/>
          <p:nvPr>
            <p:custDataLst>
              <p:tags r:id="rId38"/>
            </p:custDataLst>
          </p:nvPr>
        </p:nvSpPr>
        <p:spPr bwMode="auto">
          <a:xfrm>
            <a:off x="1387475" y="2590800"/>
            <a:ext cx="808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Informatika/IKT</a:t>
            </a:r>
            <a:endParaRPr lang="en-US" sz="1000" dirty="0">
              <a:solidFill>
                <a:schemeClr val="tx1"/>
              </a:solidFill>
              <a:latin typeface="Calibri"/>
              <a:sym typeface="Calibri"/>
            </a:endParaRPr>
          </a:p>
        </p:txBody>
      </p:sp>
      <p:sp>
        <p:nvSpPr>
          <p:cNvPr id="59" name="Rectangle 58"/>
          <p:cNvSpPr/>
          <p:nvPr>
            <p:custDataLst>
              <p:tags r:id="rId39"/>
            </p:custDataLst>
          </p:nvPr>
        </p:nvSpPr>
        <p:spPr bwMode="gray">
          <a:xfrm>
            <a:off x="2701925" y="26701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DA9B42A-618E-4E6B-A7CC-08E985D2D6D8}" type="datetime'''3''''''''''''''''''''''''''2%'''''''''''''''''''''''''''''''">
              <a:rPr lang="en-US" sz="1000">
                <a:solidFill>
                  <a:schemeClr val="tx1"/>
                </a:solidFill>
                <a:sym typeface="+mn-lt"/>
              </a:rPr>
              <a:pPr>
                <a:spcBef>
                  <a:spcPct val="0"/>
                </a:spcBef>
                <a:spcAft>
                  <a:spcPct val="0"/>
                </a:spcAft>
              </a:pPr>
              <a:t>32%</a:t>
            </a:fld>
            <a:endParaRPr lang="en-US" sz="1000">
              <a:solidFill>
                <a:schemeClr val="tx1"/>
              </a:solidFill>
              <a:sym typeface="+mn-lt"/>
            </a:endParaRPr>
          </a:p>
        </p:txBody>
      </p:sp>
      <p:sp>
        <p:nvSpPr>
          <p:cNvPr id="58" name="Rectangle 57"/>
          <p:cNvSpPr/>
          <p:nvPr>
            <p:custDataLst>
              <p:tags r:id="rId40"/>
            </p:custDataLst>
          </p:nvPr>
        </p:nvSpPr>
        <p:spPr bwMode="gray">
          <a:xfrm>
            <a:off x="3130550" y="25384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FE98989-8639-4E9B-A9AB-2E456E8B6C17}" type="datetime'''''''''''''''''''''''''''''6''''''''8''''''''''''''%'">
              <a:rPr lang="en-US" sz="1000">
                <a:solidFill>
                  <a:schemeClr val="tx1"/>
                </a:solidFill>
                <a:sym typeface="+mn-lt"/>
              </a:rPr>
              <a:pPr>
                <a:spcBef>
                  <a:spcPct val="0"/>
                </a:spcBef>
                <a:spcAft>
                  <a:spcPct val="0"/>
                </a:spcAft>
              </a:pPr>
              <a:t>68%</a:t>
            </a:fld>
            <a:endParaRPr lang="en-US" sz="1000">
              <a:solidFill>
                <a:schemeClr val="tx1"/>
              </a:solidFill>
              <a:sym typeface="+mn-lt"/>
            </a:endParaRPr>
          </a:p>
        </p:txBody>
      </p:sp>
      <p:sp>
        <p:nvSpPr>
          <p:cNvPr id="12" name="Rectangle 11"/>
          <p:cNvSpPr/>
          <p:nvPr>
            <p:custDataLst>
              <p:tags r:id="rId41"/>
            </p:custDataLst>
          </p:nvPr>
        </p:nvSpPr>
        <p:spPr bwMode="auto">
          <a:xfrm>
            <a:off x="1936750" y="2295525"/>
            <a:ext cx="258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Dailė</a:t>
            </a:r>
            <a:endParaRPr lang="en-US" sz="1000" dirty="0">
              <a:solidFill>
                <a:schemeClr val="tx1"/>
              </a:solidFill>
              <a:latin typeface="Calibri"/>
              <a:sym typeface="Calibri"/>
            </a:endParaRPr>
          </a:p>
        </p:txBody>
      </p:sp>
      <p:sp>
        <p:nvSpPr>
          <p:cNvPr id="57" name="Rectangle 56"/>
          <p:cNvSpPr/>
          <p:nvPr>
            <p:custDataLst>
              <p:tags r:id="rId42"/>
            </p:custDataLst>
          </p:nvPr>
        </p:nvSpPr>
        <p:spPr bwMode="gray">
          <a:xfrm>
            <a:off x="2768600" y="23749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D60755A-F69C-4038-B618-1312099E0ECF}" type="datetime'''''''''''''3''''''''''''''''''''''''7''''%'">
              <a:rPr lang="en-US" sz="1000">
                <a:solidFill>
                  <a:schemeClr val="tx1"/>
                </a:solidFill>
                <a:sym typeface="+mn-lt"/>
              </a:rPr>
              <a:pPr>
                <a:spcBef>
                  <a:spcPct val="0"/>
                </a:spcBef>
                <a:spcAft>
                  <a:spcPct val="0"/>
                </a:spcAft>
              </a:pPr>
              <a:t>37%</a:t>
            </a:fld>
            <a:endParaRPr lang="en-US" sz="1000">
              <a:solidFill>
                <a:schemeClr val="tx1"/>
              </a:solidFill>
              <a:sym typeface="+mn-lt"/>
            </a:endParaRPr>
          </a:p>
        </p:txBody>
      </p:sp>
      <p:sp>
        <p:nvSpPr>
          <p:cNvPr id="56" name="Rectangle 55"/>
          <p:cNvSpPr/>
          <p:nvPr>
            <p:custDataLst>
              <p:tags r:id="rId43"/>
            </p:custDataLst>
          </p:nvPr>
        </p:nvSpPr>
        <p:spPr bwMode="gray">
          <a:xfrm>
            <a:off x="3073400" y="2243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8A0A0A6-527A-4D0F-B34C-10F5762664EA}" type="datetime'''''''''''''''6''3''''''''''''%'''''''''''''''''">
              <a:rPr lang="en-US" sz="1000">
                <a:solidFill>
                  <a:schemeClr val="tx1"/>
                </a:solidFill>
                <a:sym typeface="+mn-lt"/>
              </a:rPr>
              <a:pPr>
                <a:spcBef>
                  <a:spcPct val="0"/>
                </a:spcBef>
                <a:spcAft>
                  <a:spcPct val="0"/>
                </a:spcAft>
              </a:pPr>
              <a:t>63%</a:t>
            </a:fld>
            <a:endParaRPr lang="en-US" sz="1000">
              <a:solidFill>
                <a:schemeClr val="tx1"/>
              </a:solidFill>
              <a:sym typeface="+mn-lt"/>
            </a:endParaRPr>
          </a:p>
        </p:txBody>
      </p:sp>
      <p:sp>
        <p:nvSpPr>
          <p:cNvPr id="8" name="Rectangle 7"/>
          <p:cNvSpPr/>
          <p:nvPr>
            <p:custDataLst>
              <p:tags r:id="rId44"/>
            </p:custDataLst>
          </p:nvPr>
        </p:nvSpPr>
        <p:spPr bwMode="auto">
          <a:xfrm>
            <a:off x="684213" y="1995488"/>
            <a:ext cx="15113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Ikimokyklinio ugdymo dalykai</a:t>
            </a:r>
            <a:endParaRPr lang="en-US" sz="1000" dirty="0">
              <a:solidFill>
                <a:schemeClr val="tx1"/>
              </a:solidFill>
              <a:sym typeface="+mn-lt"/>
            </a:endParaRPr>
          </a:p>
        </p:txBody>
      </p:sp>
      <p:sp>
        <p:nvSpPr>
          <p:cNvPr id="55" name="Rectangle 54"/>
          <p:cNvSpPr/>
          <p:nvPr>
            <p:custDataLst>
              <p:tags r:id="rId45"/>
            </p:custDataLst>
          </p:nvPr>
        </p:nvSpPr>
        <p:spPr bwMode="gray">
          <a:xfrm>
            <a:off x="3025775" y="20796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795FB18-C01F-4D6E-9604-5952682CD0D0}" type="datetime'4''''''''''''''''''''''''''2''%'''''''''">
              <a:rPr lang="en-US" sz="1000">
                <a:solidFill>
                  <a:schemeClr val="tx1"/>
                </a:solidFill>
                <a:sym typeface="+mn-lt"/>
              </a:rPr>
              <a:pPr>
                <a:spcBef>
                  <a:spcPct val="0"/>
                </a:spcBef>
                <a:spcAft>
                  <a:spcPct val="0"/>
                </a:spcAft>
              </a:pPr>
              <a:t>42%</a:t>
            </a:fld>
            <a:endParaRPr lang="en-US" sz="1000">
              <a:solidFill>
                <a:schemeClr val="tx1"/>
              </a:solidFill>
              <a:sym typeface="+mn-lt"/>
            </a:endParaRPr>
          </a:p>
        </p:txBody>
      </p:sp>
      <p:sp>
        <p:nvSpPr>
          <p:cNvPr id="54" name="Rectangle 53"/>
          <p:cNvSpPr/>
          <p:nvPr>
            <p:custDataLst>
              <p:tags r:id="rId46"/>
            </p:custDataLst>
          </p:nvPr>
        </p:nvSpPr>
        <p:spPr bwMode="gray">
          <a:xfrm>
            <a:off x="3273425" y="19431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DF740F2-C6E7-43F6-A228-996F0D3CA4DA}" type="datetime'''''''''''''5''''''''''''''''''8''''''''''''''''''''''%'">
              <a:rPr lang="en-US" sz="1000">
                <a:solidFill>
                  <a:schemeClr val="tx1"/>
                </a:solidFill>
                <a:sym typeface="+mn-lt"/>
              </a:rPr>
              <a:pPr>
                <a:spcBef>
                  <a:spcPct val="0"/>
                </a:spcBef>
                <a:spcAft>
                  <a:spcPct val="0"/>
                </a:spcAft>
              </a:pPr>
              <a:t>58%</a:t>
            </a:fld>
            <a:endParaRPr lang="en-US" sz="1000">
              <a:solidFill>
                <a:schemeClr val="tx1"/>
              </a:solidFill>
              <a:sym typeface="+mn-lt"/>
            </a:endParaRPr>
          </a:p>
        </p:txBody>
      </p:sp>
      <p:sp>
        <p:nvSpPr>
          <p:cNvPr id="7" name="Rectangle 6"/>
          <p:cNvSpPr/>
          <p:nvPr>
            <p:custDataLst>
              <p:tags r:id="rId47"/>
            </p:custDataLst>
          </p:nvPr>
        </p:nvSpPr>
        <p:spPr bwMode="auto">
          <a:xfrm>
            <a:off x="933450" y="1695450"/>
            <a:ext cx="1262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radinio ugdymo dalykai</a:t>
            </a:r>
            <a:endParaRPr lang="en-US" sz="1000" dirty="0">
              <a:solidFill>
                <a:schemeClr val="tx1"/>
              </a:solidFill>
              <a:sym typeface="+mn-lt"/>
            </a:endParaRPr>
          </a:p>
        </p:txBody>
      </p:sp>
      <p:sp>
        <p:nvSpPr>
          <p:cNvPr id="26" name="Rectangle 25"/>
          <p:cNvSpPr/>
          <p:nvPr>
            <p:custDataLst>
              <p:tags r:id="rId48"/>
            </p:custDataLst>
          </p:nvPr>
        </p:nvSpPr>
        <p:spPr bwMode="gray">
          <a:xfrm>
            <a:off x="2997200" y="17748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6E3124C-3F84-46DE-BB08-D682EB4B0694}" type="datetime'''''''3''''''3''''''''''''''''''%'''''''''''''''''''">
              <a:rPr lang="en-US" sz="1000">
                <a:solidFill>
                  <a:schemeClr val="tx1"/>
                </a:solidFill>
                <a:sym typeface="+mn-lt"/>
              </a:rPr>
              <a:pPr>
                <a:spcBef>
                  <a:spcPct val="0"/>
                </a:spcBef>
                <a:spcAft>
                  <a:spcPct val="0"/>
                </a:spcAft>
              </a:pPr>
              <a:t>33%</a:t>
            </a:fld>
            <a:endParaRPr lang="en-US" sz="1000">
              <a:solidFill>
                <a:schemeClr val="tx1"/>
              </a:solidFill>
              <a:sym typeface="+mn-lt"/>
            </a:endParaRPr>
          </a:p>
        </p:txBody>
      </p:sp>
      <p:sp>
        <p:nvSpPr>
          <p:cNvPr id="25" name="Rectangle 24"/>
          <p:cNvSpPr/>
          <p:nvPr>
            <p:custDataLst>
              <p:tags r:id="rId49"/>
            </p:custDataLst>
          </p:nvPr>
        </p:nvSpPr>
        <p:spPr bwMode="gray">
          <a:xfrm>
            <a:off x="3654425" y="16430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EAAD39E-7C11-4ECA-AAB2-22D2A4AFB5E1}" type="datetime'6''''''''''''''''''''''''7''''''''%'''''''">
              <a:rPr lang="en-US" sz="1000">
                <a:solidFill>
                  <a:schemeClr val="tx1"/>
                </a:solidFill>
                <a:sym typeface="+mn-lt"/>
              </a:rPr>
              <a:pPr>
                <a:spcBef>
                  <a:spcPct val="0"/>
                </a:spcBef>
                <a:spcAft>
                  <a:spcPct val="0"/>
                </a:spcAft>
              </a:pPr>
              <a:t>67%</a:t>
            </a:fld>
            <a:endParaRPr lang="en-US" sz="1000">
              <a:solidFill>
                <a:schemeClr val="tx1"/>
              </a:solidFill>
              <a:sym typeface="+mn-lt"/>
            </a:endParaRPr>
          </a:p>
        </p:txBody>
      </p:sp>
      <p:sp>
        <p:nvSpPr>
          <p:cNvPr id="5" name="Rectangle 4"/>
          <p:cNvSpPr/>
          <p:nvPr>
            <p:custDataLst>
              <p:tags r:id="rId50"/>
            </p:custDataLst>
          </p:nvPr>
        </p:nvSpPr>
        <p:spPr bwMode="auto">
          <a:xfrm>
            <a:off x="1377950" y="1400175"/>
            <a:ext cx="81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Užsienio kalbos</a:t>
            </a:r>
            <a:endParaRPr lang="en-US" sz="1000" b="1" dirty="0">
              <a:solidFill>
                <a:schemeClr val="tx1"/>
              </a:solidFill>
              <a:sym typeface="+mn-lt"/>
            </a:endParaRPr>
          </a:p>
        </p:txBody>
      </p:sp>
      <p:sp>
        <p:nvSpPr>
          <p:cNvPr id="11" name="Rectangle 10"/>
          <p:cNvSpPr/>
          <p:nvPr>
            <p:custDataLst>
              <p:tags r:id="rId51"/>
            </p:custDataLst>
          </p:nvPr>
        </p:nvSpPr>
        <p:spPr bwMode="gray">
          <a:xfrm>
            <a:off x="4254500" y="14795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77B8A02-514C-430B-8B37-E3D14C968C95}" type="datetime'''''''''''''''4''''''''''''0''''''''''''''''''''''''%'''''">
              <a:rPr lang="en-US" sz="1000">
                <a:solidFill>
                  <a:schemeClr val="tx1"/>
                </a:solidFill>
                <a:sym typeface="+mn-lt"/>
              </a:rPr>
              <a:pPr>
                <a:spcBef>
                  <a:spcPct val="0"/>
                </a:spcBef>
                <a:spcAft>
                  <a:spcPct val="0"/>
                </a:spcAft>
              </a:pPr>
              <a:t>40%</a:t>
            </a:fld>
            <a:endParaRPr lang="en-US" sz="1000">
              <a:solidFill>
                <a:schemeClr val="tx1"/>
              </a:solidFill>
              <a:sym typeface="+mn-lt"/>
            </a:endParaRPr>
          </a:p>
        </p:txBody>
      </p:sp>
      <p:graphicFrame>
        <p:nvGraphicFramePr>
          <p:cNvPr id="27" name="Object 26"/>
          <p:cNvGraphicFramePr>
            <a:graphicFrameLocks/>
          </p:cNvGraphicFramePr>
          <p:nvPr>
            <p:custDataLst>
              <p:tags r:id="rId52"/>
            </p:custDataLst>
            <p:extLst>
              <p:ext uri="{D42A27DB-BD31-4B8C-83A1-F6EECF244321}">
                <p14:modId xmlns:p14="http://schemas.microsoft.com/office/powerpoint/2010/main" val="3679691704"/>
              </p:ext>
            </p:extLst>
          </p:nvPr>
        </p:nvGraphicFramePr>
        <p:xfrm>
          <a:off x="6781799" y="1219199"/>
          <a:ext cx="1800236" cy="4943564"/>
        </p:xfrm>
        <a:graphic>
          <a:graphicData uri="http://schemas.openxmlformats.org/presentationml/2006/ole">
            <mc:AlternateContent xmlns:mc="http://schemas.openxmlformats.org/markup-compatibility/2006">
              <mc:Choice xmlns:v="urn:schemas-microsoft-com:vml" Requires="v">
                <p:oleObj spid="_x0000_s16421" name="Chart" r:id="rId122" imgW="1800368" imgH="4943377" progId="MSGraph.Chart.8">
                  <p:embed followColorScheme="full"/>
                </p:oleObj>
              </mc:Choice>
              <mc:Fallback>
                <p:oleObj name="Chart" r:id="rId122" imgW="1800368" imgH="4943377" progId="MSGraph.Chart.8">
                  <p:embed followColorScheme="full"/>
                  <p:pic>
                    <p:nvPicPr>
                      <p:cNvPr id="0" name=""/>
                      <p:cNvPicPr/>
                      <p:nvPr/>
                    </p:nvPicPr>
                    <p:blipFill>
                      <a:blip r:embed="rId123"/>
                      <a:stretch>
                        <a:fillRect/>
                      </a:stretch>
                    </p:blipFill>
                    <p:spPr>
                      <a:xfrm>
                        <a:off x="6781799" y="1219199"/>
                        <a:ext cx="1800236" cy="4943564"/>
                      </a:xfrm>
                      <a:prstGeom prst="rect">
                        <a:avLst/>
                      </a:prstGeom>
                    </p:spPr>
                  </p:pic>
                </p:oleObj>
              </mc:Fallback>
            </mc:AlternateContent>
          </a:graphicData>
        </a:graphic>
      </p:graphicFrame>
      <p:sp>
        <p:nvSpPr>
          <p:cNvPr id="51" name="Rectangle 50"/>
          <p:cNvSpPr/>
          <p:nvPr>
            <p:custDataLst>
              <p:tags r:id="rId53"/>
            </p:custDataLst>
          </p:nvPr>
        </p:nvSpPr>
        <p:spPr bwMode="auto">
          <a:xfrm>
            <a:off x="5964238" y="5867400"/>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Filosofija/Logika</a:t>
            </a:r>
            <a:endParaRPr lang="en-US" sz="1000" dirty="0">
              <a:solidFill>
                <a:schemeClr val="tx1"/>
              </a:solidFill>
              <a:latin typeface="Calibri"/>
              <a:sym typeface="Calibri"/>
            </a:endParaRPr>
          </a:p>
        </p:txBody>
      </p:sp>
      <p:sp>
        <p:nvSpPr>
          <p:cNvPr id="122" name="Rectangle 121"/>
          <p:cNvSpPr/>
          <p:nvPr>
            <p:custDataLst>
              <p:tags r:id="rId54"/>
            </p:custDataLst>
          </p:nvPr>
        </p:nvSpPr>
        <p:spPr bwMode="gray">
          <a:xfrm>
            <a:off x="6950075" y="59467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9FEDC90-6A6F-4EDE-B1C1-76BF811E426E}" type="datetime'20''''''''''''''''''''''''''''''''''''%'''''''''">
              <a:rPr lang="en-US" sz="1000">
                <a:solidFill>
                  <a:schemeClr val="tx1"/>
                </a:solidFill>
                <a:latin typeface="Calibri"/>
                <a:sym typeface="Calibri"/>
              </a:rPr>
              <a:pPr>
                <a:spcBef>
                  <a:spcPct val="0"/>
                </a:spcBef>
                <a:spcAft>
                  <a:spcPct val="0"/>
                </a:spcAft>
              </a:pPr>
              <a:t>20%</a:t>
            </a:fld>
            <a:endParaRPr lang="en-US" sz="1000">
              <a:solidFill>
                <a:schemeClr val="tx1"/>
              </a:solidFill>
              <a:latin typeface="Calibri"/>
              <a:sym typeface="Calibri"/>
            </a:endParaRPr>
          </a:p>
        </p:txBody>
      </p:sp>
      <p:sp>
        <p:nvSpPr>
          <p:cNvPr id="121" name="Rectangle 120"/>
          <p:cNvSpPr/>
          <p:nvPr>
            <p:custDataLst>
              <p:tags r:id="rId55"/>
            </p:custDataLst>
          </p:nvPr>
        </p:nvSpPr>
        <p:spPr bwMode="gray">
          <a:xfrm>
            <a:off x="7016750" y="58245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641CB32-9F57-4641-8AF2-B89E6852B1D7}" type="datetime'''8''''''''''''''''''''''''''''''''''''''0''%'''''''''">
              <a:rPr lang="en-US" sz="1000">
                <a:solidFill>
                  <a:schemeClr val="tx1"/>
                </a:solidFill>
                <a:sym typeface="+mn-lt"/>
              </a:rPr>
              <a:pPr>
                <a:spcBef>
                  <a:spcPct val="0"/>
                </a:spcBef>
                <a:spcAft>
                  <a:spcPct val="0"/>
                </a:spcAft>
              </a:pPr>
              <a:t>80%</a:t>
            </a:fld>
            <a:endParaRPr lang="en-US" sz="1000">
              <a:solidFill>
                <a:schemeClr val="tx1"/>
              </a:solidFill>
              <a:sym typeface="+mn-lt"/>
            </a:endParaRPr>
          </a:p>
        </p:txBody>
      </p:sp>
      <p:sp>
        <p:nvSpPr>
          <p:cNvPr id="50" name="Rectangle 49"/>
          <p:cNvSpPr/>
          <p:nvPr>
            <p:custDataLst>
              <p:tags r:id="rId56"/>
            </p:custDataLst>
          </p:nvPr>
        </p:nvSpPr>
        <p:spPr bwMode="auto">
          <a:xfrm>
            <a:off x="6529388" y="5629275"/>
            <a:ext cx="266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isė</a:t>
            </a:r>
            <a:endParaRPr lang="en-US" sz="1000" dirty="0">
              <a:solidFill>
                <a:schemeClr val="tx1"/>
              </a:solidFill>
              <a:latin typeface="Calibri"/>
              <a:sym typeface="Calibri"/>
            </a:endParaRPr>
          </a:p>
        </p:txBody>
      </p:sp>
      <p:sp>
        <p:nvSpPr>
          <p:cNvPr id="120" name="Rectangle 119"/>
          <p:cNvSpPr/>
          <p:nvPr>
            <p:custDataLst>
              <p:tags r:id="rId57"/>
            </p:custDataLst>
          </p:nvPr>
        </p:nvSpPr>
        <p:spPr bwMode="gray">
          <a:xfrm>
            <a:off x="7045325" y="56991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BF448F8-3F23-4FC4-A08C-64CC4F5C9C6B}" type="datetime'''4''2''''''''''''''%'''''''''''''''''''''''''''''''''''''">
              <a:rPr lang="en-US" sz="1000">
                <a:solidFill>
                  <a:schemeClr val="tx1"/>
                </a:solidFill>
                <a:sym typeface="+mn-lt"/>
              </a:rPr>
              <a:pPr>
                <a:spcBef>
                  <a:spcPct val="0"/>
                </a:spcBef>
                <a:spcAft>
                  <a:spcPct val="0"/>
                </a:spcAft>
              </a:pPr>
              <a:t>42%</a:t>
            </a:fld>
            <a:endParaRPr lang="en-US" sz="1000">
              <a:solidFill>
                <a:schemeClr val="tx1"/>
              </a:solidFill>
              <a:sym typeface="+mn-lt"/>
            </a:endParaRPr>
          </a:p>
        </p:txBody>
      </p:sp>
      <p:sp>
        <p:nvSpPr>
          <p:cNvPr id="119" name="Rectangle 118"/>
          <p:cNvSpPr/>
          <p:nvPr>
            <p:custDataLst>
              <p:tags r:id="rId58"/>
            </p:custDataLst>
          </p:nvPr>
        </p:nvSpPr>
        <p:spPr bwMode="gray">
          <a:xfrm>
            <a:off x="7083425" y="55864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A4BA75C-5591-47F9-85EC-FB187260A855}" type="datetime'5''8''''''''''''%'''">
              <a:rPr lang="en-US" sz="1000">
                <a:solidFill>
                  <a:schemeClr val="tx1"/>
                </a:solidFill>
                <a:sym typeface="+mn-lt"/>
              </a:rPr>
              <a:pPr>
                <a:spcBef>
                  <a:spcPct val="0"/>
                </a:spcBef>
                <a:spcAft>
                  <a:spcPct val="0"/>
                </a:spcAft>
              </a:pPr>
              <a:t>58%</a:t>
            </a:fld>
            <a:endParaRPr lang="en-US" sz="1000">
              <a:solidFill>
                <a:schemeClr val="tx1"/>
              </a:solidFill>
              <a:sym typeface="+mn-lt"/>
            </a:endParaRPr>
          </a:p>
        </p:txBody>
      </p:sp>
      <p:sp>
        <p:nvSpPr>
          <p:cNvPr id="49" name="Rectangle 48"/>
          <p:cNvSpPr/>
          <p:nvPr>
            <p:custDataLst>
              <p:tags r:id="rId59"/>
            </p:custDataLst>
          </p:nvPr>
        </p:nvSpPr>
        <p:spPr bwMode="auto">
          <a:xfrm>
            <a:off x="6311900" y="5391150"/>
            <a:ext cx="484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eologija</a:t>
            </a:r>
            <a:endParaRPr lang="en-US" sz="1000" dirty="0">
              <a:solidFill>
                <a:schemeClr val="tx1"/>
              </a:solidFill>
              <a:latin typeface="Calibri"/>
              <a:sym typeface="Calibri"/>
            </a:endParaRPr>
          </a:p>
        </p:txBody>
      </p:sp>
      <p:sp>
        <p:nvSpPr>
          <p:cNvPr id="118" name="Rectangle 117"/>
          <p:cNvSpPr/>
          <p:nvPr>
            <p:custDataLst>
              <p:tags r:id="rId60"/>
            </p:custDataLst>
          </p:nvPr>
        </p:nvSpPr>
        <p:spPr bwMode="gray">
          <a:xfrm>
            <a:off x="6997700" y="54673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DAB636C-48B0-4F79-B65B-B9266EFD179B}" type="datetime'''''''''''''''2''''''''''5''''''''%'''''''''">
              <a:rPr lang="en-US" sz="1000">
                <a:solidFill>
                  <a:schemeClr val="tx1"/>
                </a:solidFill>
                <a:sym typeface="+mn-lt"/>
              </a:rPr>
              <a:pPr>
                <a:spcBef>
                  <a:spcPct val="0"/>
                </a:spcBef>
                <a:spcAft>
                  <a:spcPct val="0"/>
                </a:spcAft>
              </a:pPr>
              <a:t>25%</a:t>
            </a:fld>
            <a:endParaRPr lang="en-US" sz="1000">
              <a:solidFill>
                <a:schemeClr val="tx1"/>
              </a:solidFill>
              <a:sym typeface="+mn-lt"/>
            </a:endParaRPr>
          </a:p>
        </p:txBody>
      </p:sp>
      <p:sp>
        <p:nvSpPr>
          <p:cNvPr id="117" name="Rectangle 116"/>
          <p:cNvSpPr/>
          <p:nvPr>
            <p:custDataLst>
              <p:tags r:id="rId61"/>
            </p:custDataLst>
          </p:nvPr>
        </p:nvSpPr>
        <p:spPr bwMode="gray">
          <a:xfrm>
            <a:off x="7131050" y="53482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F057889-8282-4AC8-8254-000CB3730888}" type="datetime'''''7''5''''''''''''''''''''''''%'''''">
              <a:rPr lang="en-US" sz="1000">
                <a:solidFill>
                  <a:schemeClr val="tx1"/>
                </a:solidFill>
                <a:sym typeface="+mn-lt"/>
              </a:rPr>
              <a:pPr>
                <a:spcBef>
                  <a:spcPct val="0"/>
                </a:spcBef>
                <a:spcAft>
                  <a:spcPct val="0"/>
                </a:spcAft>
              </a:pPr>
              <a:t>75%</a:t>
            </a:fld>
            <a:endParaRPr lang="en-US" sz="1000">
              <a:solidFill>
                <a:schemeClr val="tx1"/>
              </a:solidFill>
              <a:sym typeface="+mn-lt"/>
            </a:endParaRPr>
          </a:p>
        </p:txBody>
      </p:sp>
      <p:sp>
        <p:nvSpPr>
          <p:cNvPr id="48" name="Rectangle 47"/>
          <p:cNvSpPr/>
          <p:nvPr>
            <p:custDataLst>
              <p:tags r:id="rId62"/>
            </p:custDataLst>
          </p:nvPr>
        </p:nvSpPr>
        <p:spPr bwMode="auto">
          <a:xfrm>
            <a:off x="6165850" y="5157788"/>
            <a:ext cx="63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Astronomija</a:t>
            </a:r>
            <a:endParaRPr lang="en-US" sz="1000" dirty="0">
              <a:solidFill>
                <a:schemeClr val="tx1"/>
              </a:solidFill>
              <a:latin typeface="Calibri"/>
              <a:sym typeface="Calibri"/>
            </a:endParaRPr>
          </a:p>
        </p:txBody>
      </p:sp>
      <p:sp>
        <p:nvSpPr>
          <p:cNvPr id="116" name="Rectangle 115"/>
          <p:cNvSpPr/>
          <p:nvPr>
            <p:custDataLst>
              <p:tags r:id="rId63"/>
            </p:custDataLst>
          </p:nvPr>
        </p:nvSpPr>
        <p:spPr bwMode="gray">
          <a:xfrm>
            <a:off x="7131050" y="52339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8E3AC24-14AB-4F28-98F0-37E961467B1A}" type="datetime'''''''4''''5''''''''''''''''%'''''''''''''''''">
              <a:rPr lang="en-US" sz="1000">
                <a:solidFill>
                  <a:schemeClr val="tx1"/>
                </a:solidFill>
                <a:sym typeface="+mn-lt"/>
              </a:rPr>
              <a:pPr>
                <a:spcBef>
                  <a:spcPct val="0"/>
                </a:spcBef>
                <a:spcAft>
                  <a:spcPct val="0"/>
                </a:spcAft>
              </a:pPr>
              <a:t>45%</a:t>
            </a:fld>
            <a:endParaRPr lang="en-US" sz="1000">
              <a:solidFill>
                <a:schemeClr val="tx1"/>
              </a:solidFill>
              <a:sym typeface="+mn-lt"/>
            </a:endParaRPr>
          </a:p>
        </p:txBody>
      </p:sp>
      <p:sp>
        <p:nvSpPr>
          <p:cNvPr id="115" name="Rectangle 114"/>
          <p:cNvSpPr/>
          <p:nvPr>
            <p:custDataLst>
              <p:tags r:id="rId64"/>
            </p:custDataLst>
          </p:nvPr>
        </p:nvSpPr>
        <p:spPr bwMode="gray">
          <a:xfrm>
            <a:off x="7178675" y="5119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AA33455-31E6-4B29-B775-D25FEE8A5EA6}" type="datetime'55''''''''''''''''%'''''''''''''''''''''''''''''''''''''''''''">
              <a:rPr lang="en-US" sz="1000">
                <a:solidFill>
                  <a:schemeClr val="tx1"/>
                </a:solidFill>
                <a:sym typeface="+mn-lt"/>
              </a:rPr>
              <a:pPr>
                <a:spcBef>
                  <a:spcPct val="0"/>
                </a:spcBef>
                <a:spcAft>
                  <a:spcPct val="0"/>
                </a:spcAft>
              </a:pPr>
              <a:t>55%</a:t>
            </a:fld>
            <a:endParaRPr lang="en-US" sz="1000">
              <a:solidFill>
                <a:schemeClr val="tx1"/>
              </a:solidFill>
              <a:sym typeface="+mn-lt"/>
            </a:endParaRPr>
          </a:p>
        </p:txBody>
      </p:sp>
      <p:sp>
        <p:nvSpPr>
          <p:cNvPr id="43" name="Rectangle 42"/>
          <p:cNvSpPr/>
          <p:nvPr>
            <p:custDataLst>
              <p:tags r:id="rId65"/>
            </p:custDataLst>
          </p:nvPr>
        </p:nvSpPr>
        <p:spPr bwMode="auto">
          <a:xfrm>
            <a:off x="6383338" y="4924425"/>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Medijos</a:t>
            </a:r>
            <a:endParaRPr lang="en-US" sz="1000" dirty="0">
              <a:solidFill>
                <a:schemeClr val="tx1"/>
              </a:solidFill>
              <a:latin typeface="Calibri"/>
              <a:sym typeface="Calibri"/>
            </a:endParaRPr>
          </a:p>
        </p:txBody>
      </p:sp>
      <p:sp>
        <p:nvSpPr>
          <p:cNvPr id="114" name="Rectangle 113"/>
          <p:cNvSpPr/>
          <p:nvPr>
            <p:custDataLst>
              <p:tags r:id="rId66"/>
            </p:custDataLst>
          </p:nvPr>
        </p:nvSpPr>
        <p:spPr bwMode="gray">
          <a:xfrm>
            <a:off x="7045325" y="50006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82F2C75-5917-45D2-83A1-2325A76DCB97}" type="datetime'1''7''''''''''''''''''''''''%'''''''''''''''">
              <a:rPr lang="en-US" sz="1000">
                <a:solidFill>
                  <a:schemeClr val="tx1"/>
                </a:solidFill>
                <a:sym typeface="+mn-lt"/>
              </a:rPr>
              <a:pPr>
                <a:spcBef>
                  <a:spcPct val="0"/>
                </a:spcBef>
                <a:spcAft>
                  <a:spcPct val="0"/>
                </a:spcAft>
              </a:pPr>
              <a:t>17%</a:t>
            </a:fld>
            <a:endParaRPr lang="en-US" sz="1000">
              <a:solidFill>
                <a:schemeClr val="tx1"/>
              </a:solidFill>
              <a:sym typeface="+mn-lt"/>
            </a:endParaRPr>
          </a:p>
        </p:txBody>
      </p:sp>
      <p:sp>
        <p:nvSpPr>
          <p:cNvPr id="113" name="Rectangle 112"/>
          <p:cNvSpPr/>
          <p:nvPr>
            <p:custDataLst>
              <p:tags r:id="rId67"/>
            </p:custDataLst>
          </p:nvPr>
        </p:nvSpPr>
        <p:spPr bwMode="gray">
          <a:xfrm>
            <a:off x="7483475" y="48815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33D4F71-3671-4E83-86B6-669B8501B4E8}" type="datetime'8''''''''''3''''''''''''''''''''''''''''''''''''''''''''''''%'">
              <a:rPr lang="en-US" sz="1000">
                <a:solidFill>
                  <a:schemeClr val="tx1"/>
                </a:solidFill>
                <a:sym typeface="+mn-lt"/>
              </a:rPr>
              <a:pPr>
                <a:spcBef>
                  <a:spcPct val="0"/>
                </a:spcBef>
                <a:spcAft>
                  <a:spcPct val="0"/>
                </a:spcAft>
              </a:pPr>
              <a:t>83%</a:t>
            </a:fld>
            <a:endParaRPr lang="en-US" sz="1000">
              <a:solidFill>
                <a:schemeClr val="tx1"/>
              </a:solidFill>
              <a:sym typeface="+mn-lt"/>
            </a:endParaRPr>
          </a:p>
        </p:txBody>
      </p:sp>
      <p:sp>
        <p:nvSpPr>
          <p:cNvPr id="42" name="Rectangle 41"/>
          <p:cNvSpPr/>
          <p:nvPr>
            <p:custDataLst>
              <p:tags r:id="rId68"/>
            </p:custDataLst>
          </p:nvPr>
        </p:nvSpPr>
        <p:spPr bwMode="auto">
          <a:xfrm>
            <a:off x="5945188" y="4686300"/>
            <a:ext cx="850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Europos studijos</a:t>
            </a:r>
            <a:endParaRPr lang="en-US" sz="1000" dirty="0">
              <a:solidFill>
                <a:schemeClr val="tx1"/>
              </a:solidFill>
              <a:latin typeface="Calibri"/>
              <a:sym typeface="Calibri"/>
            </a:endParaRPr>
          </a:p>
        </p:txBody>
      </p:sp>
      <p:sp>
        <p:nvSpPr>
          <p:cNvPr id="112" name="Rectangle 111"/>
          <p:cNvSpPr/>
          <p:nvPr>
            <p:custDataLst>
              <p:tags r:id="rId69"/>
            </p:custDataLst>
          </p:nvPr>
        </p:nvSpPr>
        <p:spPr bwMode="gray">
          <a:xfrm>
            <a:off x="7150100" y="47625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6111890-898D-435C-BBE2-97D2AF1A5978}" type="datetime'''''''''''''''''''''''''''''3''3''''''''''%'''''''''''">
              <a:rPr lang="en-US" sz="1000">
                <a:solidFill>
                  <a:schemeClr val="tx1"/>
                </a:solidFill>
                <a:sym typeface="+mn-lt"/>
              </a:rPr>
              <a:pPr>
                <a:spcBef>
                  <a:spcPct val="0"/>
                </a:spcBef>
                <a:spcAft>
                  <a:spcPct val="0"/>
                </a:spcAft>
              </a:pPr>
              <a:t>33%</a:t>
            </a:fld>
            <a:endParaRPr lang="en-US" sz="1000">
              <a:solidFill>
                <a:schemeClr val="tx1"/>
              </a:solidFill>
              <a:sym typeface="+mn-lt"/>
            </a:endParaRPr>
          </a:p>
        </p:txBody>
      </p:sp>
      <p:sp>
        <p:nvSpPr>
          <p:cNvPr id="111" name="Rectangle 110"/>
          <p:cNvSpPr/>
          <p:nvPr>
            <p:custDataLst>
              <p:tags r:id="rId70"/>
            </p:custDataLst>
          </p:nvPr>
        </p:nvSpPr>
        <p:spPr bwMode="gray">
          <a:xfrm>
            <a:off x="7369175" y="46434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6C15B5E-5D64-417B-93CC-AA82669BC298}" type="datetime'''''''''''''''6''''''''7''''''''''%'''''''''''''''''''''">
              <a:rPr lang="en-US" sz="1000">
                <a:solidFill>
                  <a:schemeClr val="tx1"/>
                </a:solidFill>
                <a:sym typeface="+mn-lt"/>
              </a:rPr>
              <a:pPr>
                <a:spcBef>
                  <a:spcPct val="0"/>
                </a:spcBef>
                <a:spcAft>
                  <a:spcPct val="0"/>
                </a:spcAft>
              </a:pPr>
              <a:t>67%</a:t>
            </a:fld>
            <a:endParaRPr lang="en-US" sz="1000">
              <a:solidFill>
                <a:schemeClr val="tx1"/>
              </a:solidFill>
              <a:sym typeface="+mn-lt"/>
            </a:endParaRPr>
          </a:p>
        </p:txBody>
      </p:sp>
      <p:sp>
        <p:nvSpPr>
          <p:cNvPr id="41" name="Rectangle 40"/>
          <p:cNvSpPr/>
          <p:nvPr>
            <p:custDataLst>
              <p:tags r:id="rId71"/>
            </p:custDataLst>
          </p:nvPr>
        </p:nvSpPr>
        <p:spPr bwMode="auto">
          <a:xfrm>
            <a:off x="6464300" y="4448175"/>
            <a:ext cx="331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Tikyba</a:t>
            </a:r>
            <a:endParaRPr lang="en-US" sz="1000" dirty="0">
              <a:solidFill>
                <a:schemeClr val="tx1"/>
              </a:solidFill>
              <a:latin typeface="Calibri"/>
              <a:sym typeface="Calibri"/>
            </a:endParaRPr>
          </a:p>
        </p:txBody>
      </p:sp>
      <p:sp>
        <p:nvSpPr>
          <p:cNvPr id="110" name="Rectangle 109"/>
          <p:cNvSpPr/>
          <p:nvPr>
            <p:custDataLst>
              <p:tags r:id="rId72"/>
            </p:custDataLst>
          </p:nvPr>
        </p:nvSpPr>
        <p:spPr bwMode="gray">
          <a:xfrm>
            <a:off x="7150100" y="45243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C03AA98-C16C-4CE1-A973-81A42D5B1C76}" type="datetime'''''''''2''''''''''''''''''''''''''''8%'''''''''">
              <a:rPr lang="en-US" sz="1000">
                <a:solidFill>
                  <a:schemeClr val="tx1"/>
                </a:solidFill>
                <a:sym typeface="+mn-lt"/>
              </a:rPr>
              <a:pPr>
                <a:spcBef>
                  <a:spcPct val="0"/>
                </a:spcBef>
                <a:spcAft>
                  <a:spcPct val="0"/>
                </a:spcAft>
              </a:pPr>
              <a:t>28%</a:t>
            </a:fld>
            <a:endParaRPr lang="en-US" sz="1000">
              <a:solidFill>
                <a:schemeClr val="tx1"/>
              </a:solidFill>
              <a:sym typeface="+mn-lt"/>
            </a:endParaRPr>
          </a:p>
        </p:txBody>
      </p:sp>
      <p:sp>
        <p:nvSpPr>
          <p:cNvPr id="109" name="Rectangle 108"/>
          <p:cNvSpPr/>
          <p:nvPr>
            <p:custDataLst>
              <p:tags r:id="rId73"/>
            </p:custDataLst>
          </p:nvPr>
        </p:nvSpPr>
        <p:spPr bwMode="gray">
          <a:xfrm>
            <a:off x="7502525" y="44053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C280159-7268-4D7D-B47B-7DFACAC4FF37}" type="datetime'''''7''2''''''''''''''%'">
              <a:rPr lang="en-US" sz="1000">
                <a:solidFill>
                  <a:schemeClr val="tx1"/>
                </a:solidFill>
                <a:sym typeface="+mn-lt"/>
              </a:rPr>
              <a:pPr>
                <a:spcBef>
                  <a:spcPct val="0"/>
                </a:spcBef>
                <a:spcAft>
                  <a:spcPct val="0"/>
                </a:spcAft>
              </a:pPr>
              <a:t>72%</a:t>
            </a:fld>
            <a:endParaRPr lang="en-US" sz="1000">
              <a:solidFill>
                <a:schemeClr val="tx1"/>
              </a:solidFill>
              <a:sym typeface="+mn-lt"/>
            </a:endParaRPr>
          </a:p>
        </p:txBody>
      </p:sp>
      <p:sp>
        <p:nvSpPr>
          <p:cNvPr id="40" name="Rectangle 39"/>
          <p:cNvSpPr/>
          <p:nvPr>
            <p:custDataLst>
              <p:tags r:id="rId74"/>
            </p:custDataLst>
          </p:nvPr>
        </p:nvSpPr>
        <p:spPr bwMode="auto">
          <a:xfrm>
            <a:off x="6376988" y="4210050"/>
            <a:ext cx="419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Chemija</a:t>
            </a:r>
            <a:endParaRPr lang="en-US" sz="1000" dirty="0">
              <a:solidFill>
                <a:schemeClr val="tx1"/>
              </a:solidFill>
              <a:latin typeface="Calibri"/>
              <a:sym typeface="Calibri"/>
            </a:endParaRPr>
          </a:p>
        </p:txBody>
      </p:sp>
      <p:sp>
        <p:nvSpPr>
          <p:cNvPr id="108" name="Rectangle 107"/>
          <p:cNvSpPr/>
          <p:nvPr>
            <p:custDataLst>
              <p:tags r:id="rId75"/>
            </p:custDataLst>
          </p:nvPr>
        </p:nvSpPr>
        <p:spPr bwMode="gray">
          <a:xfrm>
            <a:off x="7112000" y="42862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5657453-104F-4C3C-A7F0-E550FED9E968}" type="datetime'''2''1''''''''''''''''''''''''%'''''''''">
              <a:rPr lang="en-US" sz="1000">
                <a:solidFill>
                  <a:schemeClr val="tx1"/>
                </a:solidFill>
                <a:sym typeface="+mn-lt"/>
              </a:rPr>
              <a:pPr>
                <a:spcBef>
                  <a:spcPct val="0"/>
                </a:spcBef>
                <a:spcAft>
                  <a:spcPct val="0"/>
                </a:spcAft>
              </a:pPr>
              <a:t>21%</a:t>
            </a:fld>
            <a:endParaRPr lang="en-US" sz="1000">
              <a:solidFill>
                <a:schemeClr val="tx1"/>
              </a:solidFill>
              <a:sym typeface="+mn-lt"/>
            </a:endParaRPr>
          </a:p>
        </p:txBody>
      </p:sp>
      <p:sp>
        <p:nvSpPr>
          <p:cNvPr id="107" name="Rectangle 106"/>
          <p:cNvSpPr/>
          <p:nvPr>
            <p:custDataLst>
              <p:tags r:id="rId76"/>
            </p:custDataLst>
          </p:nvPr>
        </p:nvSpPr>
        <p:spPr bwMode="gray">
          <a:xfrm>
            <a:off x="7597775" y="41671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83AE463-CBA9-4873-8BFE-601AED2F6E07}" type="datetime'''''7''9''''''''''''''''%'''''''''''''''''''''''''">
              <a:rPr lang="en-US" sz="1000">
                <a:solidFill>
                  <a:schemeClr val="tx1"/>
                </a:solidFill>
                <a:sym typeface="+mn-lt"/>
              </a:rPr>
              <a:pPr>
                <a:spcBef>
                  <a:spcPct val="0"/>
                </a:spcBef>
                <a:spcAft>
                  <a:spcPct val="0"/>
                </a:spcAft>
              </a:pPr>
              <a:t>79%</a:t>
            </a:fld>
            <a:endParaRPr lang="en-US" sz="1000">
              <a:solidFill>
                <a:schemeClr val="tx1"/>
              </a:solidFill>
              <a:sym typeface="+mn-lt"/>
            </a:endParaRPr>
          </a:p>
        </p:txBody>
      </p:sp>
      <p:sp>
        <p:nvSpPr>
          <p:cNvPr id="39" name="Rectangle 38"/>
          <p:cNvSpPr/>
          <p:nvPr>
            <p:custDataLst>
              <p:tags r:id="rId77"/>
            </p:custDataLst>
          </p:nvPr>
        </p:nvSpPr>
        <p:spPr bwMode="auto">
          <a:xfrm>
            <a:off x="5553075" y="3971925"/>
            <a:ext cx="1243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sym typeface="Calibri"/>
              </a:rPr>
              <a:t>Dizainas ir technologijos</a:t>
            </a:r>
            <a:endParaRPr lang="en-US" sz="1000" dirty="0">
              <a:solidFill>
                <a:schemeClr val="tx1"/>
              </a:solidFill>
              <a:latin typeface="Calibri"/>
              <a:sym typeface="Calibri"/>
            </a:endParaRPr>
          </a:p>
        </p:txBody>
      </p:sp>
      <p:sp>
        <p:nvSpPr>
          <p:cNvPr id="106" name="Rectangle 105"/>
          <p:cNvSpPr/>
          <p:nvPr>
            <p:custDataLst>
              <p:tags r:id="rId78"/>
            </p:custDataLst>
          </p:nvPr>
        </p:nvSpPr>
        <p:spPr bwMode="gray">
          <a:xfrm>
            <a:off x="7216775" y="40481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2EA4E1F-7DF9-4BFE-920D-13B9CF3F84C8}" type="datetime'''3''''2''''''''%'''''''''''''''''''''''''''''''">
              <a:rPr lang="en-US" sz="1000">
                <a:solidFill>
                  <a:schemeClr val="tx1"/>
                </a:solidFill>
                <a:sym typeface="+mn-lt"/>
              </a:rPr>
              <a:pPr>
                <a:spcBef>
                  <a:spcPct val="0"/>
                </a:spcBef>
                <a:spcAft>
                  <a:spcPct val="0"/>
                </a:spcAft>
              </a:pPr>
              <a:t>32%</a:t>
            </a:fld>
            <a:endParaRPr lang="en-US" sz="1000">
              <a:solidFill>
                <a:schemeClr val="tx1"/>
              </a:solidFill>
              <a:sym typeface="+mn-lt"/>
            </a:endParaRPr>
          </a:p>
        </p:txBody>
      </p:sp>
      <p:sp>
        <p:nvSpPr>
          <p:cNvPr id="105" name="Rectangle 104"/>
          <p:cNvSpPr/>
          <p:nvPr>
            <p:custDataLst>
              <p:tags r:id="rId79"/>
            </p:custDataLst>
          </p:nvPr>
        </p:nvSpPr>
        <p:spPr bwMode="gray">
          <a:xfrm>
            <a:off x="7550150" y="39290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6C39382-180F-4D59-A282-45F37F2FD926}" type="datetime'''''''''''''''''''6''''8''''''''''''''''''''''''''%'">
              <a:rPr lang="en-US" sz="1000">
                <a:solidFill>
                  <a:schemeClr val="tx1"/>
                </a:solidFill>
                <a:sym typeface="+mn-lt"/>
              </a:rPr>
              <a:pPr>
                <a:spcBef>
                  <a:spcPct val="0"/>
                </a:spcBef>
                <a:spcAft>
                  <a:spcPct val="0"/>
                </a:spcAft>
              </a:pPr>
              <a:t>68%</a:t>
            </a:fld>
            <a:endParaRPr lang="en-US" sz="1000">
              <a:solidFill>
                <a:schemeClr val="tx1"/>
              </a:solidFill>
              <a:sym typeface="+mn-lt"/>
            </a:endParaRPr>
          </a:p>
        </p:txBody>
      </p:sp>
      <p:sp>
        <p:nvSpPr>
          <p:cNvPr id="38" name="Rectangle 37"/>
          <p:cNvSpPr/>
          <p:nvPr>
            <p:custDataLst>
              <p:tags r:id="rId80"/>
            </p:custDataLst>
          </p:nvPr>
        </p:nvSpPr>
        <p:spPr bwMode="auto">
          <a:xfrm>
            <a:off x="6191250" y="3738563"/>
            <a:ext cx="604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sichologija</a:t>
            </a:r>
            <a:endParaRPr lang="en-US" sz="1000" dirty="0">
              <a:solidFill>
                <a:schemeClr val="tx1"/>
              </a:solidFill>
              <a:latin typeface="Calibri"/>
              <a:sym typeface="Calibri"/>
            </a:endParaRPr>
          </a:p>
        </p:txBody>
      </p:sp>
      <p:sp>
        <p:nvSpPr>
          <p:cNvPr id="104" name="Rectangle 103"/>
          <p:cNvSpPr/>
          <p:nvPr>
            <p:custDataLst>
              <p:tags r:id="rId81"/>
            </p:custDataLst>
          </p:nvPr>
        </p:nvSpPr>
        <p:spPr bwMode="gray">
          <a:xfrm>
            <a:off x="7435850" y="38147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1063EB-B76A-437D-86DF-91E8ACD7ACF0}" type="datetime'3''''''''''''''''''''''''''''''''8''''''''''''''''''%'">
              <a:rPr lang="en-US" sz="1000">
                <a:solidFill>
                  <a:schemeClr val="tx1"/>
                </a:solidFill>
                <a:sym typeface="+mn-lt"/>
              </a:rPr>
              <a:pPr>
                <a:spcBef>
                  <a:spcPct val="0"/>
                </a:spcBef>
                <a:spcAft>
                  <a:spcPct val="0"/>
                </a:spcAft>
              </a:pPr>
              <a:t>38%</a:t>
            </a:fld>
            <a:endParaRPr lang="en-US" sz="1000">
              <a:solidFill>
                <a:schemeClr val="tx1"/>
              </a:solidFill>
              <a:sym typeface="+mn-lt"/>
            </a:endParaRPr>
          </a:p>
        </p:txBody>
      </p:sp>
      <p:sp>
        <p:nvSpPr>
          <p:cNvPr id="103" name="Rectangle 102"/>
          <p:cNvSpPr/>
          <p:nvPr>
            <p:custDataLst>
              <p:tags r:id="rId82"/>
            </p:custDataLst>
          </p:nvPr>
        </p:nvSpPr>
        <p:spPr bwMode="gray">
          <a:xfrm>
            <a:off x="7797800" y="37004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F4D8CBA-8EDD-481F-9C9B-C2DD246E349C}" type="datetime'''''''6''''''''''''4''%'''''''''''''''">
              <a:rPr lang="en-US" sz="1000">
                <a:solidFill>
                  <a:schemeClr val="tx1"/>
                </a:solidFill>
                <a:sym typeface="+mn-lt"/>
              </a:rPr>
              <a:pPr>
                <a:spcBef>
                  <a:spcPct val="0"/>
                </a:spcBef>
                <a:spcAft>
                  <a:spcPct val="0"/>
                </a:spcAft>
              </a:pPr>
              <a:t>64%</a:t>
            </a:fld>
            <a:endParaRPr lang="en-US" sz="1000">
              <a:solidFill>
                <a:schemeClr val="tx1"/>
              </a:solidFill>
              <a:sym typeface="+mn-lt"/>
            </a:endParaRPr>
          </a:p>
        </p:txBody>
      </p:sp>
      <p:sp>
        <p:nvSpPr>
          <p:cNvPr id="37" name="Rectangle 36"/>
          <p:cNvSpPr/>
          <p:nvPr>
            <p:custDataLst>
              <p:tags r:id="rId83"/>
            </p:custDataLst>
          </p:nvPr>
        </p:nvSpPr>
        <p:spPr bwMode="auto">
          <a:xfrm>
            <a:off x="6229350" y="3505200"/>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Ekonomika</a:t>
            </a:r>
            <a:endParaRPr lang="en-US" sz="1000" dirty="0">
              <a:solidFill>
                <a:schemeClr val="tx1"/>
              </a:solidFill>
              <a:latin typeface="Calibri"/>
              <a:sym typeface="Calibri"/>
            </a:endParaRPr>
          </a:p>
        </p:txBody>
      </p:sp>
      <p:sp>
        <p:nvSpPr>
          <p:cNvPr id="102" name="Rectangle 101"/>
          <p:cNvSpPr/>
          <p:nvPr>
            <p:custDataLst>
              <p:tags r:id="rId84"/>
            </p:custDataLst>
          </p:nvPr>
        </p:nvSpPr>
        <p:spPr bwMode="gray">
          <a:xfrm>
            <a:off x="7283450" y="35814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5B9BB4F-83E8-419F-815B-27D63AA842D8}" type="datetime'2''''''''''6''''''%'''''''''''''''''''">
              <a:rPr lang="en-US" sz="1000">
                <a:solidFill>
                  <a:schemeClr val="tx1"/>
                </a:solidFill>
                <a:sym typeface="+mn-lt"/>
              </a:rPr>
              <a:pPr>
                <a:spcBef>
                  <a:spcPct val="0"/>
                </a:spcBef>
                <a:spcAft>
                  <a:spcPct val="0"/>
                </a:spcAft>
              </a:pPr>
              <a:t>26%</a:t>
            </a:fld>
            <a:endParaRPr lang="en-US" sz="1000">
              <a:solidFill>
                <a:schemeClr val="tx1"/>
              </a:solidFill>
              <a:sym typeface="+mn-lt"/>
            </a:endParaRPr>
          </a:p>
        </p:txBody>
      </p:sp>
      <p:sp>
        <p:nvSpPr>
          <p:cNvPr id="101" name="Rectangle 100"/>
          <p:cNvSpPr/>
          <p:nvPr>
            <p:custDataLst>
              <p:tags r:id="rId85"/>
            </p:custDataLst>
          </p:nvPr>
        </p:nvSpPr>
        <p:spPr bwMode="gray">
          <a:xfrm>
            <a:off x="7931150" y="34623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AE8D469-3ADE-4A92-9D31-28021C7BC0F9}" type="datetime'''''''''''''''7''''''''4''''''%'''''''">
              <a:rPr lang="en-US" sz="1000">
                <a:solidFill>
                  <a:schemeClr val="tx1"/>
                </a:solidFill>
                <a:sym typeface="+mn-lt"/>
              </a:rPr>
              <a:pPr>
                <a:spcBef>
                  <a:spcPct val="0"/>
                </a:spcBef>
                <a:spcAft>
                  <a:spcPct val="0"/>
                </a:spcAft>
              </a:pPr>
              <a:t>74%</a:t>
            </a:fld>
            <a:endParaRPr lang="en-US" sz="1000">
              <a:solidFill>
                <a:schemeClr val="tx1"/>
              </a:solidFill>
              <a:sym typeface="+mn-lt"/>
            </a:endParaRPr>
          </a:p>
        </p:txBody>
      </p:sp>
      <p:sp>
        <p:nvSpPr>
          <p:cNvPr id="36" name="Rectangle 35"/>
          <p:cNvSpPr/>
          <p:nvPr>
            <p:custDataLst>
              <p:tags r:id="rId86"/>
            </p:custDataLst>
          </p:nvPr>
        </p:nvSpPr>
        <p:spPr bwMode="auto">
          <a:xfrm>
            <a:off x="4651375" y="3267075"/>
            <a:ext cx="2144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Tarpdalykinis</a:t>
            </a:r>
            <a:r>
              <a:rPr lang="lt-LT" sz="1000" dirty="0" smtClean="0">
                <a:solidFill>
                  <a:schemeClr val="tx1"/>
                </a:solidFill>
              </a:rPr>
              <a:t> mokymas (</a:t>
            </a:r>
            <a:r>
              <a:rPr lang="lt-LT" sz="1000" dirty="0" err="1" smtClean="0">
                <a:solidFill>
                  <a:schemeClr val="tx1"/>
                </a:solidFill>
              </a:rPr>
              <a:t>Cross</a:t>
            </a:r>
            <a:r>
              <a:rPr lang="en-US" sz="1000" dirty="0" smtClean="0">
                <a:solidFill>
                  <a:schemeClr val="tx1"/>
                </a:solidFill>
              </a:rPr>
              <a:t> </a:t>
            </a:r>
            <a:r>
              <a:rPr lang="lt-LT" sz="1000" dirty="0" smtClean="0">
                <a:solidFill>
                  <a:schemeClr val="tx1"/>
                </a:solidFill>
              </a:rPr>
              <a:t> </a:t>
            </a:r>
            <a:r>
              <a:rPr lang="lt-LT" sz="1000" dirty="0" err="1" smtClean="0">
                <a:solidFill>
                  <a:schemeClr val="tx1"/>
                </a:solidFill>
              </a:rPr>
              <a:t>Curricular</a:t>
            </a:r>
            <a:r>
              <a:rPr lang="lt-LT" sz="1000" dirty="0" smtClean="0">
                <a:solidFill>
                  <a:schemeClr val="tx1"/>
                </a:solidFill>
              </a:rPr>
              <a:t>)</a:t>
            </a:r>
            <a:endParaRPr lang="en-US" sz="1000" dirty="0">
              <a:solidFill>
                <a:schemeClr val="tx1"/>
              </a:solidFill>
              <a:latin typeface="Calibri"/>
              <a:sym typeface="Calibri"/>
            </a:endParaRPr>
          </a:p>
        </p:txBody>
      </p:sp>
      <p:sp>
        <p:nvSpPr>
          <p:cNvPr id="100" name="Rectangle 99"/>
          <p:cNvSpPr/>
          <p:nvPr>
            <p:custDataLst>
              <p:tags r:id="rId87"/>
            </p:custDataLst>
          </p:nvPr>
        </p:nvSpPr>
        <p:spPr bwMode="gray">
          <a:xfrm>
            <a:off x="7502525" y="33432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78D7894-9441-480D-B450-7372060CBE08}" type="datetime'''''''4''2''''%'">
              <a:rPr lang="en-US" sz="1000">
                <a:solidFill>
                  <a:schemeClr val="tx1"/>
                </a:solidFill>
                <a:sym typeface="+mn-lt"/>
              </a:rPr>
              <a:pPr>
                <a:spcBef>
                  <a:spcPct val="0"/>
                </a:spcBef>
                <a:spcAft>
                  <a:spcPct val="0"/>
                </a:spcAft>
              </a:pPr>
              <a:t>42%</a:t>
            </a:fld>
            <a:endParaRPr lang="en-US" sz="1000">
              <a:solidFill>
                <a:schemeClr val="tx1"/>
              </a:solidFill>
              <a:sym typeface="+mn-lt"/>
            </a:endParaRPr>
          </a:p>
        </p:txBody>
      </p:sp>
      <p:sp>
        <p:nvSpPr>
          <p:cNvPr id="99" name="Rectangle 98"/>
          <p:cNvSpPr/>
          <p:nvPr>
            <p:custDataLst>
              <p:tags r:id="rId88"/>
            </p:custDataLst>
          </p:nvPr>
        </p:nvSpPr>
        <p:spPr bwMode="gray">
          <a:xfrm>
            <a:off x="7731125" y="32242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4197C8C-DF21-4C26-839A-7DF427771FB6}" type="datetime'5''8%'''''''''''''''''">
              <a:rPr lang="en-US" sz="1000">
                <a:solidFill>
                  <a:schemeClr val="tx1"/>
                </a:solidFill>
                <a:sym typeface="+mn-lt"/>
              </a:rPr>
              <a:pPr>
                <a:spcBef>
                  <a:spcPct val="0"/>
                </a:spcBef>
                <a:spcAft>
                  <a:spcPct val="0"/>
                </a:spcAft>
              </a:pPr>
              <a:t>58%</a:t>
            </a:fld>
            <a:endParaRPr lang="en-US" sz="1000">
              <a:solidFill>
                <a:schemeClr val="tx1"/>
              </a:solidFill>
              <a:sym typeface="+mn-lt"/>
            </a:endParaRPr>
          </a:p>
        </p:txBody>
      </p:sp>
      <p:sp>
        <p:nvSpPr>
          <p:cNvPr id="35" name="Rectangle 34"/>
          <p:cNvSpPr/>
          <p:nvPr>
            <p:custDataLst>
              <p:tags r:id="rId89"/>
            </p:custDataLst>
          </p:nvPr>
        </p:nvSpPr>
        <p:spPr bwMode="auto">
          <a:xfrm>
            <a:off x="5984875" y="3028950"/>
            <a:ext cx="811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Kultūros istorija</a:t>
            </a:r>
            <a:endParaRPr lang="en-US" sz="1000" dirty="0">
              <a:solidFill>
                <a:schemeClr val="tx1"/>
              </a:solidFill>
              <a:latin typeface="Calibri"/>
              <a:sym typeface="Calibri"/>
            </a:endParaRPr>
          </a:p>
        </p:txBody>
      </p:sp>
      <p:sp>
        <p:nvSpPr>
          <p:cNvPr id="98" name="Rectangle 97"/>
          <p:cNvSpPr/>
          <p:nvPr>
            <p:custDataLst>
              <p:tags r:id="rId90"/>
            </p:custDataLst>
          </p:nvPr>
        </p:nvSpPr>
        <p:spPr bwMode="gray">
          <a:xfrm>
            <a:off x="7416800" y="31051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A61E43A-ABFE-4942-B087-A710E8D8EAFF}" type="datetime'''''''''''''3''5''''''''''''''''''''''''''''''''''''''%'''">
              <a:rPr lang="en-US" sz="1000">
                <a:solidFill>
                  <a:schemeClr val="tx1"/>
                </a:solidFill>
                <a:sym typeface="+mn-lt"/>
              </a:rPr>
              <a:pPr>
                <a:spcBef>
                  <a:spcPct val="0"/>
                </a:spcBef>
                <a:spcAft>
                  <a:spcPct val="0"/>
                </a:spcAft>
              </a:pPr>
              <a:t>35%</a:t>
            </a:fld>
            <a:endParaRPr lang="en-US" sz="1000">
              <a:solidFill>
                <a:schemeClr val="tx1"/>
              </a:solidFill>
              <a:sym typeface="+mn-lt"/>
            </a:endParaRPr>
          </a:p>
        </p:txBody>
      </p:sp>
      <p:sp>
        <p:nvSpPr>
          <p:cNvPr id="97" name="Rectangle 96"/>
          <p:cNvSpPr/>
          <p:nvPr>
            <p:custDataLst>
              <p:tags r:id="rId91"/>
            </p:custDataLst>
          </p:nvPr>
        </p:nvSpPr>
        <p:spPr bwMode="gray">
          <a:xfrm>
            <a:off x="7835900" y="29860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8A71674-36E5-4450-A3AE-1A1C83971777}" type="datetime'''''''''''''''''''''''''''6''''''5''''%'''">
              <a:rPr lang="en-US" sz="1000">
                <a:solidFill>
                  <a:schemeClr val="tx1"/>
                </a:solidFill>
                <a:sym typeface="+mn-lt"/>
              </a:rPr>
              <a:pPr>
                <a:spcBef>
                  <a:spcPct val="0"/>
                </a:spcBef>
                <a:spcAft>
                  <a:spcPct val="0"/>
                </a:spcAft>
              </a:pPr>
              <a:t>65%</a:t>
            </a:fld>
            <a:endParaRPr lang="en-US" sz="1000">
              <a:solidFill>
                <a:schemeClr val="tx1"/>
              </a:solidFill>
              <a:sym typeface="+mn-lt"/>
            </a:endParaRPr>
          </a:p>
        </p:txBody>
      </p:sp>
      <p:sp>
        <p:nvSpPr>
          <p:cNvPr id="34" name="Rectangle 33"/>
          <p:cNvSpPr/>
          <p:nvPr>
            <p:custDataLst>
              <p:tags r:id="rId92"/>
            </p:custDataLst>
          </p:nvPr>
        </p:nvSpPr>
        <p:spPr bwMode="auto">
          <a:xfrm>
            <a:off x="6511925" y="2790825"/>
            <a:ext cx="284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Fizika</a:t>
            </a:r>
            <a:endParaRPr lang="en-US" sz="1000" dirty="0">
              <a:solidFill>
                <a:schemeClr val="tx1"/>
              </a:solidFill>
              <a:latin typeface="Calibri"/>
              <a:sym typeface="Calibri"/>
            </a:endParaRPr>
          </a:p>
        </p:txBody>
      </p:sp>
      <p:sp>
        <p:nvSpPr>
          <p:cNvPr id="96" name="Rectangle 95"/>
          <p:cNvSpPr/>
          <p:nvPr>
            <p:custDataLst>
              <p:tags r:id="rId93"/>
            </p:custDataLst>
          </p:nvPr>
        </p:nvSpPr>
        <p:spPr bwMode="gray">
          <a:xfrm>
            <a:off x="7369175" y="28670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67948EE-8300-48D3-94DC-A383EFCCA2B2}" type="datetime'''''''''3''''''''''''''0''%'''''''''''">
              <a:rPr lang="en-US" sz="1000">
                <a:solidFill>
                  <a:schemeClr val="tx1"/>
                </a:solidFill>
                <a:sym typeface="+mn-lt"/>
              </a:rPr>
              <a:pPr>
                <a:spcBef>
                  <a:spcPct val="0"/>
                </a:spcBef>
                <a:spcAft>
                  <a:spcPct val="0"/>
                </a:spcAft>
              </a:pPr>
              <a:t>30%</a:t>
            </a:fld>
            <a:endParaRPr lang="en-US" sz="1000">
              <a:solidFill>
                <a:schemeClr val="tx1"/>
              </a:solidFill>
              <a:sym typeface="+mn-lt"/>
            </a:endParaRPr>
          </a:p>
        </p:txBody>
      </p:sp>
      <p:sp>
        <p:nvSpPr>
          <p:cNvPr id="95" name="Rectangle 94"/>
          <p:cNvSpPr/>
          <p:nvPr>
            <p:custDataLst>
              <p:tags r:id="rId94"/>
            </p:custDataLst>
          </p:nvPr>
        </p:nvSpPr>
        <p:spPr bwMode="gray">
          <a:xfrm>
            <a:off x="7950200" y="27479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3A695B0-E43F-41B3-B6C1-51B0F12C66B1}" type="datetime'''''''''''''''''''''''''''''''''''''''''''''''''''70''''%'">
              <a:rPr lang="en-US" sz="1000">
                <a:solidFill>
                  <a:schemeClr val="tx1"/>
                </a:solidFill>
                <a:sym typeface="+mn-lt"/>
              </a:rPr>
              <a:pPr>
                <a:spcBef>
                  <a:spcPct val="0"/>
                </a:spcBef>
                <a:spcAft>
                  <a:spcPct val="0"/>
                </a:spcAft>
              </a:pPr>
              <a:t>70%</a:t>
            </a:fld>
            <a:endParaRPr lang="en-US" sz="1000">
              <a:solidFill>
                <a:schemeClr val="tx1"/>
              </a:solidFill>
              <a:sym typeface="+mn-lt"/>
            </a:endParaRPr>
          </a:p>
        </p:txBody>
      </p:sp>
      <p:sp>
        <p:nvSpPr>
          <p:cNvPr id="33" name="Rectangle 32"/>
          <p:cNvSpPr/>
          <p:nvPr>
            <p:custDataLst>
              <p:tags r:id="rId95"/>
            </p:custDataLst>
          </p:nvPr>
        </p:nvSpPr>
        <p:spPr bwMode="auto">
          <a:xfrm>
            <a:off x="6126163" y="2552700"/>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ilietiškumas</a:t>
            </a:r>
            <a:endParaRPr lang="en-US" sz="1000" dirty="0">
              <a:solidFill>
                <a:schemeClr val="tx1"/>
              </a:solidFill>
              <a:latin typeface="Calibri"/>
              <a:sym typeface="Calibri"/>
            </a:endParaRPr>
          </a:p>
        </p:txBody>
      </p:sp>
      <p:sp>
        <p:nvSpPr>
          <p:cNvPr id="94" name="Rectangle 93"/>
          <p:cNvSpPr/>
          <p:nvPr>
            <p:custDataLst>
              <p:tags r:id="rId96"/>
            </p:custDataLst>
          </p:nvPr>
        </p:nvSpPr>
        <p:spPr bwMode="gray">
          <a:xfrm>
            <a:off x="7550150" y="26289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EF05293-3921-4583-B7FC-8BF4EED84133}" type="datetime'''3''''''9''''''''''''''''''''''''%'''''''''''''''''''''''''''">
              <a:rPr lang="en-US" sz="1000">
                <a:solidFill>
                  <a:schemeClr val="tx1"/>
                </a:solidFill>
                <a:sym typeface="+mn-lt"/>
              </a:rPr>
              <a:pPr>
                <a:spcBef>
                  <a:spcPct val="0"/>
                </a:spcBef>
                <a:spcAft>
                  <a:spcPct val="0"/>
                </a:spcAft>
              </a:pPr>
              <a:t>39%</a:t>
            </a:fld>
            <a:endParaRPr lang="en-US" sz="1000">
              <a:solidFill>
                <a:schemeClr val="tx1"/>
              </a:solidFill>
              <a:sym typeface="+mn-lt"/>
            </a:endParaRPr>
          </a:p>
        </p:txBody>
      </p:sp>
      <p:sp>
        <p:nvSpPr>
          <p:cNvPr id="93" name="Rectangle 92"/>
          <p:cNvSpPr/>
          <p:nvPr>
            <p:custDataLst>
              <p:tags r:id="rId97"/>
            </p:custDataLst>
          </p:nvPr>
        </p:nvSpPr>
        <p:spPr bwMode="gray">
          <a:xfrm>
            <a:off x="7883525" y="25098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5A61CC2-799A-4AA0-B60B-5266800929E7}" type="datetime'''''''6''''''1''''''''''''''''''%'''''''''''''''''''''">
              <a:rPr lang="en-US" sz="1000">
                <a:solidFill>
                  <a:schemeClr val="tx1"/>
                </a:solidFill>
                <a:sym typeface="+mn-lt"/>
              </a:rPr>
              <a:pPr>
                <a:spcBef>
                  <a:spcPct val="0"/>
                </a:spcBef>
                <a:spcAft>
                  <a:spcPct val="0"/>
                </a:spcAft>
              </a:pPr>
              <a:t>61%</a:t>
            </a:fld>
            <a:endParaRPr lang="en-US" sz="1000">
              <a:solidFill>
                <a:schemeClr val="tx1"/>
              </a:solidFill>
              <a:sym typeface="+mn-lt"/>
            </a:endParaRPr>
          </a:p>
        </p:txBody>
      </p:sp>
      <p:sp>
        <p:nvSpPr>
          <p:cNvPr id="32" name="Rectangle 31"/>
          <p:cNvSpPr/>
          <p:nvPr>
            <p:custDataLst>
              <p:tags r:id="rId98"/>
            </p:custDataLst>
          </p:nvPr>
        </p:nvSpPr>
        <p:spPr bwMode="auto">
          <a:xfrm>
            <a:off x="6356350" y="2314575"/>
            <a:ext cx="439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Biologija</a:t>
            </a:r>
            <a:endParaRPr lang="en-US" sz="1000" dirty="0">
              <a:solidFill>
                <a:schemeClr val="tx1"/>
              </a:solidFill>
              <a:latin typeface="Calibri"/>
              <a:sym typeface="Calibri"/>
            </a:endParaRPr>
          </a:p>
        </p:txBody>
      </p:sp>
      <p:sp>
        <p:nvSpPr>
          <p:cNvPr id="92" name="Rectangle 91"/>
          <p:cNvSpPr/>
          <p:nvPr>
            <p:custDataLst>
              <p:tags r:id="rId99"/>
            </p:custDataLst>
          </p:nvPr>
        </p:nvSpPr>
        <p:spPr bwMode="gray">
          <a:xfrm>
            <a:off x="7331075" y="23907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441A7C8-22EC-4060-930D-2BA671F05E6B}" type="datetime'''''''''24''''''''''''''%'''''''''''''''''''''''''''''''''''">
              <a:rPr lang="en-US" sz="1000">
                <a:solidFill>
                  <a:schemeClr val="tx1"/>
                </a:solidFill>
                <a:sym typeface="+mn-lt"/>
              </a:rPr>
              <a:pPr>
                <a:spcBef>
                  <a:spcPct val="0"/>
                </a:spcBef>
                <a:spcAft>
                  <a:spcPct val="0"/>
                </a:spcAft>
              </a:pPr>
              <a:t>24%</a:t>
            </a:fld>
            <a:endParaRPr lang="en-US" sz="1000">
              <a:solidFill>
                <a:schemeClr val="tx1"/>
              </a:solidFill>
              <a:sym typeface="+mn-lt"/>
            </a:endParaRPr>
          </a:p>
        </p:txBody>
      </p:sp>
      <p:sp>
        <p:nvSpPr>
          <p:cNvPr id="91" name="Rectangle 90"/>
          <p:cNvSpPr/>
          <p:nvPr>
            <p:custDataLst>
              <p:tags r:id="rId100"/>
            </p:custDataLst>
          </p:nvPr>
        </p:nvSpPr>
        <p:spPr bwMode="gray">
          <a:xfrm>
            <a:off x="8169275" y="22717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0914035-175C-4D42-848F-6554B5F482AF}" type="datetime'''''''7''6''''''''''''''%'''">
              <a:rPr lang="en-US" sz="1000">
                <a:solidFill>
                  <a:schemeClr val="tx1"/>
                </a:solidFill>
                <a:sym typeface="+mn-lt"/>
              </a:rPr>
              <a:pPr>
                <a:spcBef>
                  <a:spcPct val="0"/>
                </a:spcBef>
                <a:spcAft>
                  <a:spcPct val="0"/>
                </a:spcAft>
              </a:pPr>
              <a:t>76%</a:t>
            </a:fld>
            <a:endParaRPr lang="en-US" sz="1000">
              <a:solidFill>
                <a:schemeClr val="tx1"/>
              </a:solidFill>
              <a:sym typeface="+mn-lt"/>
            </a:endParaRPr>
          </a:p>
        </p:txBody>
      </p:sp>
      <p:sp>
        <p:nvSpPr>
          <p:cNvPr id="31" name="Rectangle 30"/>
          <p:cNvSpPr/>
          <p:nvPr>
            <p:custDataLst>
              <p:tags r:id="rId101"/>
            </p:custDataLst>
          </p:nvPr>
        </p:nvSpPr>
        <p:spPr bwMode="auto">
          <a:xfrm>
            <a:off x="6264275" y="2081213"/>
            <a:ext cx="5318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Geografija</a:t>
            </a:r>
            <a:endParaRPr lang="en-US" sz="1000" dirty="0">
              <a:solidFill>
                <a:schemeClr val="tx1"/>
              </a:solidFill>
              <a:latin typeface="Calibri"/>
              <a:sym typeface="Calibri"/>
            </a:endParaRPr>
          </a:p>
        </p:txBody>
      </p:sp>
      <p:sp>
        <p:nvSpPr>
          <p:cNvPr id="90" name="Rectangle 89"/>
          <p:cNvSpPr/>
          <p:nvPr>
            <p:custDataLst>
              <p:tags r:id="rId102"/>
            </p:custDataLst>
          </p:nvPr>
        </p:nvSpPr>
        <p:spPr bwMode="gray">
          <a:xfrm>
            <a:off x="7369175" y="21574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F41CAEC-E69F-41A8-BDD1-DEA8D9713C88}" type="datetime'''2''''''''''''''4%'''''''''''''''''''''''">
              <a:rPr lang="en-US" sz="1000">
                <a:solidFill>
                  <a:schemeClr val="tx1"/>
                </a:solidFill>
                <a:sym typeface="+mn-lt"/>
              </a:rPr>
              <a:pPr>
                <a:spcBef>
                  <a:spcPct val="0"/>
                </a:spcBef>
                <a:spcAft>
                  <a:spcPct val="0"/>
                </a:spcAft>
              </a:pPr>
              <a:t>24%</a:t>
            </a:fld>
            <a:endParaRPr lang="en-US" sz="1000">
              <a:solidFill>
                <a:schemeClr val="tx1"/>
              </a:solidFill>
              <a:sym typeface="+mn-lt"/>
            </a:endParaRPr>
          </a:p>
        </p:txBody>
      </p:sp>
      <p:sp>
        <p:nvSpPr>
          <p:cNvPr id="89" name="Rectangle 88"/>
          <p:cNvSpPr/>
          <p:nvPr>
            <p:custDataLst>
              <p:tags r:id="rId103"/>
            </p:custDataLst>
          </p:nvPr>
        </p:nvSpPr>
        <p:spPr bwMode="gray">
          <a:xfrm>
            <a:off x="8350250" y="20431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1E85495-AFFA-412A-A13F-DF421F6D87FF}" type="datetime'''''''''7''''''''''''''''6''''''''''''''''''''''''''%'">
              <a:rPr lang="en-US" sz="1000">
                <a:solidFill>
                  <a:schemeClr val="tx1"/>
                </a:solidFill>
                <a:sym typeface="+mn-lt"/>
              </a:rPr>
              <a:pPr>
                <a:spcBef>
                  <a:spcPct val="0"/>
                </a:spcBef>
                <a:spcAft>
                  <a:spcPct val="0"/>
                </a:spcAft>
              </a:pPr>
              <a:t>76%</a:t>
            </a:fld>
            <a:endParaRPr lang="en-US" sz="1000">
              <a:solidFill>
                <a:schemeClr val="tx1"/>
              </a:solidFill>
              <a:sym typeface="+mn-lt"/>
            </a:endParaRPr>
          </a:p>
        </p:txBody>
      </p:sp>
      <p:sp>
        <p:nvSpPr>
          <p:cNvPr id="28" name="Rectangle 27"/>
          <p:cNvSpPr/>
          <p:nvPr>
            <p:custDataLst>
              <p:tags r:id="rId104"/>
            </p:custDataLst>
          </p:nvPr>
        </p:nvSpPr>
        <p:spPr bwMode="auto">
          <a:xfrm>
            <a:off x="6442075" y="1847850"/>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Istorija</a:t>
            </a:r>
            <a:endParaRPr lang="en-US" sz="1000" dirty="0">
              <a:solidFill>
                <a:schemeClr val="tx1"/>
              </a:solidFill>
              <a:sym typeface="+mn-lt"/>
            </a:endParaRPr>
          </a:p>
        </p:txBody>
      </p:sp>
      <p:sp>
        <p:nvSpPr>
          <p:cNvPr id="88" name="Rectangle 87"/>
          <p:cNvSpPr/>
          <p:nvPr>
            <p:custDataLst>
              <p:tags r:id="rId105"/>
            </p:custDataLst>
          </p:nvPr>
        </p:nvSpPr>
        <p:spPr bwMode="gray">
          <a:xfrm>
            <a:off x="7397750" y="19240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FF84F5E-3A83-424E-9735-D7BEC21D122E}" type="datetime'''2''''''''''''''''''''''''''''''''''''''4''''''%'''''''''''">
              <a:rPr lang="en-US" sz="1000">
                <a:solidFill>
                  <a:schemeClr val="tx1"/>
                </a:solidFill>
                <a:sym typeface="+mn-lt"/>
              </a:rPr>
              <a:pPr>
                <a:spcBef>
                  <a:spcPct val="0"/>
                </a:spcBef>
                <a:spcAft>
                  <a:spcPct val="0"/>
                </a:spcAft>
              </a:pPr>
              <a:t>24%</a:t>
            </a:fld>
            <a:endParaRPr lang="en-US" sz="1000">
              <a:solidFill>
                <a:schemeClr val="tx1"/>
              </a:solidFill>
              <a:sym typeface="+mn-lt"/>
            </a:endParaRPr>
          </a:p>
        </p:txBody>
      </p:sp>
      <p:sp>
        <p:nvSpPr>
          <p:cNvPr id="87" name="Rectangle 86"/>
          <p:cNvSpPr/>
          <p:nvPr>
            <p:custDataLst>
              <p:tags r:id="rId106"/>
            </p:custDataLst>
          </p:nvPr>
        </p:nvSpPr>
        <p:spPr bwMode="gray">
          <a:xfrm>
            <a:off x="8388350" y="18049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CA901D8-6948-4F6F-99D6-0EB7DD650D60}" type="datetime'''''''''''''76''''''%'''''''''''''''''''''''''''''''''''''">
              <a:rPr lang="en-US" sz="1000">
                <a:solidFill>
                  <a:schemeClr val="tx1"/>
                </a:solidFill>
                <a:sym typeface="+mn-lt"/>
              </a:rPr>
              <a:pPr>
                <a:spcBef>
                  <a:spcPct val="0"/>
                </a:spcBef>
                <a:spcAft>
                  <a:spcPct val="0"/>
                </a:spcAft>
              </a:pPr>
              <a:t>76%</a:t>
            </a:fld>
            <a:endParaRPr lang="en-US" sz="1000">
              <a:solidFill>
                <a:schemeClr val="tx1"/>
              </a:solidFill>
              <a:sym typeface="+mn-lt"/>
            </a:endParaRPr>
          </a:p>
        </p:txBody>
      </p:sp>
      <p:sp>
        <p:nvSpPr>
          <p:cNvPr id="29" name="Rectangle 28"/>
          <p:cNvSpPr/>
          <p:nvPr>
            <p:custDataLst>
              <p:tags r:id="rId107"/>
            </p:custDataLst>
          </p:nvPr>
        </p:nvSpPr>
        <p:spPr bwMode="auto">
          <a:xfrm>
            <a:off x="6451600" y="1609725"/>
            <a:ext cx="344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A652B5-DC05-4626-8BCD-FFC9EE45E03F}" type="datetime'''D''''''''''r''''''''''''''''''''''''''''''''''''a''m''a'''''">
              <a:rPr lang="en-US" sz="1000">
                <a:solidFill>
                  <a:schemeClr val="tx1"/>
                </a:solidFill>
              </a:rPr>
              <a:pPr/>
              <a:t>Drama</a:t>
            </a:fld>
            <a:endParaRPr lang="en-US" sz="1000" dirty="0">
              <a:solidFill>
                <a:schemeClr val="tx1"/>
              </a:solidFill>
              <a:sym typeface="+mn-lt"/>
            </a:endParaRPr>
          </a:p>
        </p:txBody>
      </p:sp>
      <p:sp>
        <p:nvSpPr>
          <p:cNvPr id="86" name="Rectangle 85"/>
          <p:cNvSpPr/>
          <p:nvPr>
            <p:custDataLst>
              <p:tags r:id="rId108"/>
            </p:custDataLst>
          </p:nvPr>
        </p:nvSpPr>
        <p:spPr bwMode="gray">
          <a:xfrm>
            <a:off x="7769225" y="16859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3451658-2890-4834-A637-A2AB0419AE32}" type="datetime'''''''''''''''''''''''''''4''''''2''''''%'''''''">
              <a:rPr lang="en-US" sz="1000">
                <a:solidFill>
                  <a:schemeClr val="tx1"/>
                </a:solidFill>
                <a:sym typeface="+mn-lt"/>
              </a:rPr>
              <a:pPr>
                <a:spcBef>
                  <a:spcPct val="0"/>
                </a:spcBef>
                <a:spcAft>
                  <a:spcPct val="0"/>
                </a:spcAft>
              </a:pPr>
              <a:t>42%</a:t>
            </a:fld>
            <a:endParaRPr lang="en-US" sz="1000">
              <a:solidFill>
                <a:schemeClr val="tx1"/>
              </a:solidFill>
              <a:sym typeface="+mn-lt"/>
            </a:endParaRPr>
          </a:p>
        </p:txBody>
      </p:sp>
      <p:sp>
        <p:nvSpPr>
          <p:cNvPr id="85" name="Rectangle 84"/>
          <p:cNvSpPr/>
          <p:nvPr>
            <p:custDataLst>
              <p:tags r:id="rId109"/>
            </p:custDataLst>
          </p:nvPr>
        </p:nvSpPr>
        <p:spPr bwMode="gray">
          <a:xfrm>
            <a:off x="8102600" y="15668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E0965E-2F2F-4E8A-A6AC-4AAA90AB9F7E}" type="datetime'''''''''''''''''''''''''''''''''5''''''''''''''''''''8%'''">
              <a:rPr lang="en-US" sz="1000">
                <a:solidFill>
                  <a:schemeClr val="tx1"/>
                </a:solidFill>
                <a:sym typeface="+mn-lt"/>
              </a:rPr>
              <a:pPr>
                <a:spcBef>
                  <a:spcPct val="0"/>
                </a:spcBef>
                <a:spcAft>
                  <a:spcPct val="0"/>
                </a:spcAft>
              </a:pPr>
              <a:t>58%</a:t>
            </a:fld>
            <a:endParaRPr lang="en-US" sz="1000">
              <a:solidFill>
                <a:schemeClr val="tx1"/>
              </a:solidFill>
              <a:sym typeface="+mn-lt"/>
            </a:endParaRPr>
          </a:p>
        </p:txBody>
      </p:sp>
      <p:sp>
        <p:nvSpPr>
          <p:cNvPr id="30" name="Rectangle 29"/>
          <p:cNvSpPr/>
          <p:nvPr>
            <p:custDataLst>
              <p:tags r:id="rId110"/>
            </p:custDataLst>
          </p:nvPr>
        </p:nvSpPr>
        <p:spPr bwMode="auto">
          <a:xfrm>
            <a:off x="6519863" y="1363663"/>
            <a:ext cx="2762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rPr>
              <a:t>Etika</a:t>
            </a:r>
            <a:endParaRPr lang="en-US" sz="1100" dirty="0">
              <a:solidFill>
                <a:schemeClr val="tx1"/>
              </a:solidFill>
              <a:sym typeface="+mn-lt"/>
            </a:endParaRPr>
          </a:p>
        </p:txBody>
      </p:sp>
      <p:sp>
        <p:nvSpPr>
          <p:cNvPr id="84" name="Rectangle 83"/>
          <p:cNvSpPr/>
          <p:nvPr>
            <p:custDataLst>
              <p:tags r:id="rId111"/>
            </p:custDataLst>
          </p:nvPr>
        </p:nvSpPr>
        <p:spPr bwMode="gray">
          <a:xfrm>
            <a:off x="7416800" y="14478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101CC09-1018-4881-88F6-6B70EB679038}" type="datetime'''''''''''''''''2''4''''''''''''''%'''''''''''''">
              <a:rPr lang="en-US" sz="1000">
                <a:solidFill>
                  <a:schemeClr val="tx1"/>
                </a:solidFill>
                <a:sym typeface="+mn-lt"/>
              </a:rPr>
              <a:pPr>
                <a:spcBef>
                  <a:spcPct val="0"/>
                </a:spcBef>
                <a:spcAft>
                  <a:spcPct val="0"/>
                </a:spcAft>
              </a:pPr>
              <a:t>24%</a:t>
            </a:fld>
            <a:endParaRPr lang="en-US" sz="1000">
              <a:solidFill>
                <a:schemeClr val="tx1"/>
              </a:solidFill>
              <a:sym typeface="+mn-lt"/>
            </a:endParaRPr>
          </a:p>
        </p:txBody>
      </p:sp>
      <p:sp>
        <p:nvSpPr>
          <p:cNvPr id="83" name="Rectangle 82"/>
          <p:cNvSpPr/>
          <p:nvPr>
            <p:custDataLst>
              <p:tags r:id="rId112"/>
            </p:custDataLst>
          </p:nvPr>
        </p:nvSpPr>
        <p:spPr bwMode="gray">
          <a:xfrm>
            <a:off x="8502650" y="13287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A92D4D5-077E-4D0C-8811-7BD799C4D55C}" type="datetime'''''''''''''''7''6''''''''%'''">
              <a:rPr lang="en-US" sz="1000">
                <a:solidFill>
                  <a:schemeClr val="tx1"/>
                </a:solidFill>
                <a:sym typeface="+mn-lt"/>
              </a:rPr>
              <a:pPr>
                <a:spcBef>
                  <a:spcPct val="0"/>
                </a:spcBef>
                <a:spcAft>
                  <a:spcPct val="0"/>
                </a:spcAft>
              </a:pPr>
              <a:t>76%</a:t>
            </a:fld>
            <a:endParaRPr lang="en-US" sz="1000">
              <a:solidFill>
                <a:schemeClr val="tx1"/>
              </a:solidFill>
              <a:sym typeface="+mn-lt"/>
            </a:endParaRPr>
          </a:p>
        </p:txBody>
      </p:sp>
      <p:sp>
        <p:nvSpPr>
          <p:cNvPr id="45" name="Rectangle 44"/>
          <p:cNvSpPr/>
          <p:nvPr>
            <p:custDataLst>
              <p:tags r:id="rId113"/>
            </p:custDataLst>
          </p:nvPr>
        </p:nvSpPr>
        <p:spPr bwMode="auto">
          <a:xfrm>
            <a:off x="4932363" y="5884863"/>
            <a:ext cx="196850" cy="1476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4" name="Rectangle 43"/>
          <p:cNvSpPr/>
          <p:nvPr>
            <p:custDataLst>
              <p:tags r:id="rId114"/>
            </p:custDataLst>
          </p:nvPr>
        </p:nvSpPr>
        <p:spPr bwMode="auto">
          <a:xfrm>
            <a:off x="4010025" y="5884863"/>
            <a:ext cx="196850" cy="1476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7" name="Rectangle 46"/>
          <p:cNvSpPr/>
          <p:nvPr>
            <p:custDataLst>
              <p:tags r:id="rId115"/>
            </p:custDataLst>
          </p:nvPr>
        </p:nvSpPr>
        <p:spPr bwMode="auto">
          <a:xfrm>
            <a:off x="5180013" y="5880100"/>
            <a:ext cx="43021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6618816-52E2-4736-B4F9-61628CF28E7F}" type="datetime'''''''''''''''''ak''t''''''''y''''''''vu''''''''s'''''''''''''">
              <a:rPr lang="en-US" sz="1100">
                <a:solidFill>
                  <a:schemeClr val="tx1"/>
                </a:solidFill>
              </a:rPr>
              <a:pPr>
                <a:spcBef>
                  <a:spcPct val="0"/>
                </a:spcBef>
                <a:spcAft>
                  <a:spcPct val="0"/>
                </a:spcAft>
              </a:pPr>
              <a:t>aktyvus</a:t>
            </a:fld>
            <a:endParaRPr lang="en-US" sz="1100" dirty="0">
              <a:solidFill>
                <a:schemeClr val="tx1"/>
              </a:solidFill>
              <a:sym typeface="+mn-lt"/>
            </a:endParaRPr>
          </a:p>
        </p:txBody>
      </p:sp>
      <p:sp>
        <p:nvSpPr>
          <p:cNvPr id="46" name="Rectangle 45"/>
          <p:cNvSpPr/>
          <p:nvPr>
            <p:custDataLst>
              <p:tags r:id="rId116"/>
            </p:custDataLst>
          </p:nvPr>
        </p:nvSpPr>
        <p:spPr bwMode="auto">
          <a:xfrm>
            <a:off x="4257675" y="5880100"/>
            <a:ext cx="573088"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96836B2-B56D-4499-9A8E-782564E118A4}" type="datetime'''''''n''''''''''e''''''a''''k''''tyv''''''''''''''''''''u''s'">
              <a:rPr lang="en-US" sz="1100">
                <a:solidFill>
                  <a:schemeClr val="tx1"/>
                </a:solidFill>
              </a:rPr>
              <a:pPr>
                <a:spcBef>
                  <a:spcPct val="0"/>
                </a:spcBef>
                <a:spcAft>
                  <a:spcPct val="0"/>
                </a:spcAft>
              </a:pPr>
              <a:t>neaktyvus</a:t>
            </a:fld>
            <a:endParaRPr lang="en-US" sz="1100" dirty="0">
              <a:solidFill>
                <a:schemeClr val="tx1"/>
              </a:solidFill>
              <a:sym typeface="+mn-lt"/>
            </a:endParaRPr>
          </a:p>
        </p:txBody>
      </p:sp>
      <p:sp>
        <p:nvSpPr>
          <p:cNvPr id="52" name="Rectangle 51"/>
          <p:cNvSpPr/>
          <p:nvPr/>
        </p:nvSpPr>
        <p:spPr>
          <a:xfrm>
            <a:off x="251520" y="1044124"/>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dėstomą dalyką ir aktyvumą programoje eTwinning, proc.</a:t>
            </a:r>
            <a:endParaRPr lang="lt-LT" sz="1200" dirty="0">
              <a:solidFill>
                <a:schemeClr val="bg1"/>
              </a:solidFill>
              <a:cs typeface="Cambria"/>
            </a:endParaRPr>
          </a:p>
        </p:txBody>
      </p:sp>
      <p:sp>
        <p:nvSpPr>
          <p:cNvPr id="53" name="Rectangle 52"/>
          <p:cNvSpPr/>
          <p:nvPr/>
        </p:nvSpPr>
        <p:spPr>
          <a:xfrm>
            <a:off x="251520" y="1332121"/>
            <a:ext cx="8640960" cy="497719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21190487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170670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4"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220953" y="205334"/>
            <a:ext cx="8758817" cy="487362"/>
          </a:xfrm>
        </p:spPr>
        <p:txBody>
          <a:bodyPr>
            <a:noAutofit/>
          </a:bodyPr>
          <a:lstStyle/>
          <a:p>
            <a:r>
              <a:rPr lang="lt-LT" sz="2000" b="1" dirty="0">
                <a:solidFill>
                  <a:schemeClr val="tx2">
                    <a:lumMod val="75000"/>
                  </a:schemeClr>
                </a:solidFill>
              </a:rPr>
              <a:t>Didžiausia dalis užsiregistravusių vartotojų dirba su jaunesnių klasių moksleiviais (7-15 m.), tuo tarpų didžiausia dalis aktyvių vartotojų yra tarp dirbančių su pradinėse klasėse (7-11 m.) besimokančiais moksleiviais</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431390987"/>
              </p:ext>
            </p:extLst>
          </p:nvPr>
        </p:nvGraphicFramePr>
        <p:xfrm>
          <a:off x="266700" y="1219199"/>
          <a:ext cx="5953006" cy="1057330"/>
        </p:xfrm>
        <a:graphic>
          <a:graphicData uri="http://schemas.openxmlformats.org/presentationml/2006/ole">
            <mc:AlternateContent xmlns:mc="http://schemas.openxmlformats.org/markup-compatibility/2006">
              <mc:Choice xmlns:v="urn:schemas-microsoft-com:vml" Requires="v">
                <p:oleObj spid="_x0000_s17455" name="Chart" r:id="rId40" imgW="5953253" imgH="1057138" progId="MSGraph.Chart.8">
                  <p:embed followColorScheme="full"/>
                </p:oleObj>
              </mc:Choice>
              <mc:Fallback>
                <p:oleObj name="Chart" r:id="rId40" imgW="5953253" imgH="1057138" progId="MSGraph.Chart.8">
                  <p:embed followColorScheme="full"/>
                  <p:pic>
                    <p:nvPicPr>
                      <p:cNvPr id="0" name=""/>
                      <p:cNvPicPr/>
                      <p:nvPr/>
                    </p:nvPicPr>
                    <p:blipFill>
                      <a:blip r:embed="rId41"/>
                      <a:stretch>
                        <a:fillRect/>
                      </a:stretch>
                    </p:blipFill>
                    <p:spPr>
                      <a:xfrm>
                        <a:off x="266700" y="1219199"/>
                        <a:ext cx="5953006" cy="1057330"/>
                      </a:xfrm>
                      <a:prstGeom prst="rect">
                        <a:avLst/>
                      </a:prstGeom>
                    </p:spPr>
                  </p:pic>
                </p:oleObj>
              </mc:Fallback>
            </mc:AlternateContent>
          </a:graphicData>
        </a:graphic>
      </p:graphicFrame>
      <p:sp>
        <p:nvSpPr>
          <p:cNvPr id="161" name="Rectangle 160"/>
          <p:cNvSpPr/>
          <p:nvPr>
            <p:custDataLst>
              <p:tags r:id="rId5"/>
            </p:custDataLst>
          </p:nvPr>
        </p:nvSpPr>
        <p:spPr bwMode="auto">
          <a:xfrm>
            <a:off x="547688" y="227965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7B5E6831-4A5A-42A2-93F2-A2C8C4110916}" type="datetime'''''''''3'''' i''r'''' ''''j''a''''u''''''n''''e''sni'">
              <a:rPr lang="en-US" sz="1000">
                <a:solidFill>
                  <a:schemeClr val="tx1"/>
                </a:solidFill>
                <a:sym typeface="+mn-lt"/>
              </a:rPr>
              <a:pPr/>
              <a:t>3 ir jaunesni</a:t>
            </a:fld>
            <a:endParaRPr lang="en-US" sz="1000">
              <a:solidFill>
                <a:schemeClr val="tx1"/>
              </a:solidFill>
              <a:sym typeface="+mn-lt"/>
            </a:endParaRPr>
          </a:p>
        </p:txBody>
      </p:sp>
      <p:sp>
        <p:nvSpPr>
          <p:cNvPr id="419" name="Rectangle 418"/>
          <p:cNvSpPr/>
          <p:nvPr>
            <p:custDataLst>
              <p:tags r:id="rId6"/>
            </p:custDataLst>
          </p:nvPr>
        </p:nvSpPr>
        <p:spPr bwMode="auto">
          <a:xfrm>
            <a:off x="2392363" y="2279650"/>
            <a:ext cx="769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873C1EC3-FC1D-481E-82C1-47088F4D4FD5}" type="datetime'''nuo'''''' 7 i''k''i'''''' ''''''''1''1 ''m''''''''''''''''.'">
              <a:rPr lang="en-US" sz="1000">
                <a:solidFill>
                  <a:schemeClr val="tx1"/>
                </a:solidFill>
              </a:rPr>
              <a:pPr/>
              <a:t>nuo 7 iki 11 m.</a:t>
            </a:fld>
            <a:endParaRPr lang="en-US" sz="1000">
              <a:solidFill>
                <a:schemeClr val="tx1"/>
              </a:solidFill>
              <a:latin typeface="Calibri"/>
              <a:sym typeface="Calibri"/>
            </a:endParaRPr>
          </a:p>
        </p:txBody>
      </p:sp>
      <p:sp>
        <p:nvSpPr>
          <p:cNvPr id="162" name="Rectangle 161"/>
          <p:cNvSpPr/>
          <p:nvPr>
            <p:custDataLst>
              <p:tags r:id="rId7"/>
            </p:custDataLst>
          </p:nvPr>
        </p:nvSpPr>
        <p:spPr bwMode="auto">
          <a:xfrm>
            <a:off x="1466850" y="2279650"/>
            <a:ext cx="704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857159A-294D-485D-B33E-83B376D6F285}" type="datetime'nuo 4'''''''''''''''''''''''''''' i''''''''''''''ki ''6'' m.'">
              <a:rPr lang="en-US" sz="1000">
                <a:solidFill>
                  <a:schemeClr val="tx1"/>
                </a:solidFill>
              </a:rPr>
              <a:pPr/>
              <a:t>nuo 4 iki 6 m.</a:t>
            </a:fld>
            <a:endParaRPr lang="en-US" sz="1000">
              <a:solidFill>
                <a:schemeClr val="tx1"/>
              </a:solidFill>
              <a:sym typeface="+mn-lt"/>
            </a:endParaRPr>
          </a:p>
        </p:txBody>
      </p:sp>
      <p:sp>
        <p:nvSpPr>
          <p:cNvPr id="12" name="Rectangle 11"/>
          <p:cNvSpPr/>
          <p:nvPr>
            <p:custDataLst>
              <p:tags r:id="rId8"/>
            </p:custDataLst>
          </p:nvPr>
        </p:nvSpPr>
        <p:spPr bwMode="auto">
          <a:xfrm>
            <a:off x="5319713" y="227965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84329DA-2B65-4BB5-8D48-20E2E52F9A28}" type="datetime'''''''20'' ''i''''''''r'' ''v''''yr''''''''''es''''n''''i'''''">
              <a:rPr lang="en-US" sz="1000">
                <a:solidFill>
                  <a:schemeClr val="tx1"/>
                </a:solidFill>
                <a:sym typeface="+mn-lt"/>
              </a:rPr>
              <a:pPr/>
              <a:t>20 ir vyresni</a:t>
            </a:fld>
            <a:endParaRPr lang="en-US" sz="1000">
              <a:solidFill>
                <a:schemeClr val="tx1"/>
              </a:solidFill>
              <a:sym typeface="+mn-lt"/>
            </a:endParaRPr>
          </a:p>
        </p:txBody>
      </p:sp>
      <p:sp>
        <p:nvSpPr>
          <p:cNvPr id="164" name="Rectangle 163"/>
          <p:cNvSpPr/>
          <p:nvPr>
            <p:custDataLst>
              <p:tags r:id="rId9"/>
            </p:custDataLst>
          </p:nvPr>
        </p:nvSpPr>
        <p:spPr bwMode="auto">
          <a:xfrm>
            <a:off x="4268788" y="227965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B43FFA6-9D95-4020-A2EC-617ED22842F6}" type="datetime'nu''''o ''1''6 ''''i''''''k''i 1''''''''9'''''''''' m.'''">
              <a:rPr lang="en-US" sz="1000">
                <a:solidFill>
                  <a:schemeClr val="tx1"/>
                </a:solidFill>
                <a:sym typeface="+mn-lt"/>
              </a:rPr>
              <a:pPr/>
              <a:t>nuo 16 iki 19 m.</a:t>
            </a:fld>
            <a:endParaRPr lang="en-US" sz="1000">
              <a:solidFill>
                <a:schemeClr val="tx1"/>
              </a:solidFill>
              <a:sym typeface="+mn-lt"/>
            </a:endParaRPr>
          </a:p>
        </p:txBody>
      </p:sp>
      <p:sp>
        <p:nvSpPr>
          <p:cNvPr id="163" name="Rectangle 162"/>
          <p:cNvSpPr/>
          <p:nvPr>
            <p:custDataLst>
              <p:tags r:id="rId10"/>
            </p:custDataLst>
          </p:nvPr>
        </p:nvSpPr>
        <p:spPr bwMode="auto">
          <a:xfrm>
            <a:off x="3330575" y="2279650"/>
            <a:ext cx="806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FBF0257A-5391-4924-A03C-0CA94CD35AA1}" type="datetime'nu''''''o''''1''2'' i''''''''k''''''i ''15 ''m''''''''.'''''">
              <a:rPr lang="en-US" sz="1000">
                <a:solidFill>
                  <a:schemeClr val="tx1"/>
                </a:solidFill>
                <a:sym typeface="+mn-lt"/>
              </a:rPr>
              <a:pPr/>
              <a:t>nuo12 iki 15 m.</a:t>
            </a:fld>
            <a:endParaRPr lang="en-US" sz="1000">
              <a:solidFill>
                <a:schemeClr val="tx1"/>
              </a:solidFill>
              <a:sym typeface="+mn-lt"/>
            </a:endParaRPr>
          </a:p>
        </p:txBody>
      </p:sp>
      <p:sp>
        <p:nvSpPr>
          <p:cNvPr id="189" name="Rectangle 188"/>
          <p:cNvSpPr/>
          <p:nvPr/>
        </p:nvSpPr>
        <p:spPr>
          <a:xfrm>
            <a:off x="251519" y="944563"/>
            <a:ext cx="873538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skaičiaus pasiskirstymas pagal vaikų ir jaunimo su kuriuo dirba amžių, vnt.</a:t>
            </a:r>
            <a:endParaRPr lang="lt-LT" sz="1200" dirty="0">
              <a:solidFill>
                <a:schemeClr val="bg1"/>
              </a:solidFill>
              <a:cs typeface="Cambria"/>
            </a:endParaRPr>
          </a:p>
        </p:txBody>
      </p:sp>
      <p:sp>
        <p:nvSpPr>
          <p:cNvPr id="190" name="Rectangle 189"/>
          <p:cNvSpPr/>
          <p:nvPr/>
        </p:nvSpPr>
        <p:spPr>
          <a:xfrm>
            <a:off x="251519" y="1231900"/>
            <a:ext cx="8735380" cy="136900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91" name="Object 190"/>
          <p:cNvGraphicFramePr>
            <a:graphicFrameLocks/>
          </p:cNvGraphicFramePr>
          <p:nvPr>
            <p:custDataLst>
              <p:tags r:id="rId11"/>
            </p:custDataLst>
            <p:extLst>
              <p:ext uri="{D42A27DB-BD31-4B8C-83A1-F6EECF244321}">
                <p14:modId xmlns:p14="http://schemas.microsoft.com/office/powerpoint/2010/main" val="1500478503"/>
              </p:ext>
            </p:extLst>
          </p:nvPr>
        </p:nvGraphicFramePr>
        <p:xfrm>
          <a:off x="419100" y="3390900"/>
          <a:ext cx="5791311" cy="914535"/>
        </p:xfrm>
        <a:graphic>
          <a:graphicData uri="http://schemas.openxmlformats.org/presentationml/2006/ole">
            <mc:AlternateContent xmlns:mc="http://schemas.openxmlformats.org/markup-compatibility/2006">
              <mc:Choice xmlns:v="urn:schemas-microsoft-com:vml" Requires="v">
                <p:oleObj spid="_x0000_s17456" name="Chart" r:id="rId42" imgW="5791083" imgH="914244" progId="MSGraph.Chart.8">
                  <p:embed followColorScheme="full"/>
                </p:oleObj>
              </mc:Choice>
              <mc:Fallback>
                <p:oleObj name="Chart" r:id="rId42" imgW="5791083" imgH="914244" progId="MSGraph.Chart.8">
                  <p:embed followColorScheme="full"/>
                  <p:pic>
                    <p:nvPicPr>
                      <p:cNvPr id="0" name=""/>
                      <p:cNvPicPr/>
                      <p:nvPr/>
                    </p:nvPicPr>
                    <p:blipFill>
                      <a:blip r:embed="rId43"/>
                      <a:stretch>
                        <a:fillRect/>
                      </a:stretch>
                    </p:blipFill>
                    <p:spPr>
                      <a:xfrm>
                        <a:off x="419100" y="3390900"/>
                        <a:ext cx="5791311" cy="914535"/>
                      </a:xfrm>
                      <a:prstGeom prst="rect">
                        <a:avLst/>
                      </a:prstGeom>
                    </p:spPr>
                  </p:pic>
                </p:oleObj>
              </mc:Fallback>
            </mc:AlternateContent>
          </a:graphicData>
        </a:graphic>
      </p:graphicFrame>
      <p:sp>
        <p:nvSpPr>
          <p:cNvPr id="421" name="Rectangle 420"/>
          <p:cNvSpPr/>
          <p:nvPr>
            <p:custDataLst>
              <p:tags r:id="rId12"/>
            </p:custDataLst>
          </p:nvPr>
        </p:nvSpPr>
        <p:spPr bwMode="gray">
          <a:xfrm>
            <a:off x="1771650" y="35750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91A3735-73A9-4673-8B7B-FE43F6678F72}" type="datetime'6''''''''''''3''''''''''''''''''''''''%'''''''''''''">
              <a:rPr lang="en-US" sz="1000">
                <a:solidFill>
                  <a:schemeClr val="tx1"/>
                </a:solidFill>
              </a:rPr>
              <a:pPr/>
              <a:t>63%</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5A10B5B0-54D4-4EBA-80F1-C1C6AD7121E7}" type="datetime'''''8''''''''29'''''''''''''">
              <a:rPr lang="en-US" sz="1000" smtClean="0">
                <a:solidFill>
                  <a:schemeClr val="tx1"/>
                </a:solidFill>
                <a:latin typeface="Calibri"/>
                <a:sym typeface="Calibri"/>
              </a:rPr>
              <a:pPr algn="ctr">
                <a:spcBef>
                  <a:spcPct val="0"/>
                </a:spcBef>
                <a:spcAft>
                  <a:spcPct val="0"/>
                </a:spcAft>
              </a:pPr>
              <a:t>82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2" name="Rectangle 421"/>
          <p:cNvSpPr/>
          <p:nvPr>
            <p:custDataLst>
              <p:tags r:id="rId13"/>
            </p:custDataLst>
          </p:nvPr>
        </p:nvSpPr>
        <p:spPr bwMode="gray">
          <a:xfrm>
            <a:off x="2651125" y="327977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337D1B4-680C-45BE-9B2F-35552C2D0A40}" type="datetime'''''''''''''''''''''''6''''''''''7''''''''''''%'''''''">
              <a:rPr lang="en-US" sz="1000">
                <a:solidFill>
                  <a:schemeClr val="tx1"/>
                </a:solidFill>
              </a:rPr>
              <a:pPr/>
              <a:t>67%</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2A1F14DA-23D1-4603-9DDC-3BB12A055728}" type="datetime'''''''''''''''2''''''''''''''''''''''''''''.''''''''8''''28'">
              <a:rPr lang="en-US" sz="1000" smtClean="0">
                <a:solidFill>
                  <a:schemeClr val="tx1"/>
                </a:solidFill>
                <a:latin typeface="Calibri"/>
                <a:sym typeface="Calibri"/>
              </a:rPr>
              <a:pPr algn="ctr">
                <a:spcBef>
                  <a:spcPct val="0"/>
                </a:spcBef>
                <a:spcAft>
                  <a:spcPct val="0"/>
                </a:spcAft>
              </a:pPr>
              <a:t>2.82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0" name="Rectangle 419"/>
          <p:cNvSpPr/>
          <p:nvPr>
            <p:custDataLst>
              <p:tags r:id="rId14"/>
            </p:custDataLst>
          </p:nvPr>
        </p:nvSpPr>
        <p:spPr bwMode="auto">
          <a:xfrm>
            <a:off x="2468563" y="4146550"/>
            <a:ext cx="769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2DA52D5-EEA0-4955-A350-1EB948D87405}" type="datetime'n''''''''''''''u''''''o'''' 7'''' i''''k''''i ''''1''1 m''.'">
              <a:rPr lang="en-US" sz="1000">
                <a:solidFill>
                  <a:schemeClr val="tx1"/>
                </a:solidFill>
              </a:rPr>
              <a:pPr/>
              <a:t>nuo 7 iki 11 m.</a:t>
            </a:fld>
            <a:endParaRPr lang="en-US" sz="1000">
              <a:solidFill>
                <a:schemeClr val="tx1"/>
              </a:solidFill>
              <a:latin typeface="Calibri"/>
              <a:sym typeface="Calibri"/>
            </a:endParaRPr>
          </a:p>
        </p:txBody>
      </p:sp>
      <p:sp>
        <p:nvSpPr>
          <p:cNvPr id="207" name="Rectangle 206"/>
          <p:cNvSpPr/>
          <p:nvPr>
            <p:custDataLst>
              <p:tags r:id="rId15"/>
            </p:custDataLst>
          </p:nvPr>
        </p:nvSpPr>
        <p:spPr bwMode="auto">
          <a:xfrm>
            <a:off x="5319713" y="414655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FC4CBB9-416B-4EA4-8633-89E3F8E75B27}" type="datetime'''''''2''''''0 ir'''''''' vy''res''''''''''''''''''n''i'">
              <a:rPr lang="en-US" sz="1000">
                <a:solidFill>
                  <a:schemeClr val="tx1"/>
                </a:solidFill>
              </a:rPr>
              <a:pPr/>
              <a:t>20 ir vyresni</a:t>
            </a:fld>
            <a:endParaRPr lang="en-US" sz="1000">
              <a:solidFill>
                <a:schemeClr val="tx1"/>
              </a:solidFill>
              <a:sym typeface="+mn-lt"/>
            </a:endParaRPr>
          </a:p>
        </p:txBody>
      </p:sp>
      <p:sp>
        <p:nvSpPr>
          <p:cNvPr id="222" name="Rectangle 221"/>
          <p:cNvSpPr/>
          <p:nvPr>
            <p:custDataLst>
              <p:tags r:id="rId16"/>
            </p:custDataLst>
          </p:nvPr>
        </p:nvSpPr>
        <p:spPr bwMode="gray">
          <a:xfrm>
            <a:off x="5486400" y="36703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821C69C-59E4-4616-A0B7-9144DA7D484D}" type="datetime'''''''''''''''''''''''''82''''''''''%'''''''''''">
              <a:rPr lang="en-US" sz="1000" smtClean="0">
                <a:solidFill>
                  <a:schemeClr val="tx1"/>
                </a:solidFill>
              </a:rPr>
              <a:pPr/>
              <a:t>82%</a:t>
            </a:fld>
            <a:r>
              <a:rPr lang="en-US" sz="1000" smtClean="0">
                <a:solidFill>
                  <a:schemeClr val="tx1"/>
                </a:solidFill>
              </a:rPr>
              <a:t/>
            </a:r>
            <a:br>
              <a:rPr lang="en-US" sz="1000" smtClean="0">
                <a:solidFill>
                  <a:schemeClr val="tx1"/>
                </a:solidFill>
              </a:rPr>
            </a:br>
            <a:r>
              <a:rPr lang="en-US" sz="1000" smtClean="0">
                <a:solidFill>
                  <a:schemeClr val="tx1"/>
                </a:solidFill>
              </a:rPr>
              <a:t>(</a:t>
            </a:r>
            <a:fld id="{DC8984B3-9A58-44E6-83FD-8BEB911F5EEE}" type="datetime'''''''''''''''''''''''''1''''''''''7''''''''''''''8'">
              <a:rPr lang="en-US" sz="1000" smtClean="0">
                <a:solidFill>
                  <a:schemeClr val="tx1"/>
                </a:solidFill>
              </a:rPr>
              <a:pPr/>
              <a:t>178</a:t>
            </a:fld>
            <a:r>
              <a:rPr lang="en-US" sz="1000" smtClean="0">
                <a:solidFill>
                  <a:schemeClr val="tx1"/>
                </a:solidFill>
              </a:rPr>
              <a:t>)</a:t>
            </a:r>
            <a:endParaRPr lang="en-US" sz="1000">
              <a:solidFill>
                <a:schemeClr val="tx1"/>
              </a:solidFill>
              <a:sym typeface="+mn-lt"/>
            </a:endParaRPr>
          </a:p>
        </p:txBody>
      </p:sp>
      <p:sp>
        <p:nvSpPr>
          <p:cNvPr id="208" name="Rectangle 207"/>
          <p:cNvSpPr/>
          <p:nvPr>
            <p:custDataLst>
              <p:tags r:id="rId17"/>
            </p:custDataLst>
          </p:nvPr>
        </p:nvSpPr>
        <p:spPr bwMode="auto">
          <a:xfrm>
            <a:off x="4292600" y="414655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47B8128-6C99-48C0-AD99-1F8ABD7C6208}" type="datetime'nu''''o'' ''''1''6'''' ''''''''i''k''''''i 1''9'' ''m.'''">
              <a:rPr lang="en-US" sz="1000">
                <a:solidFill>
                  <a:schemeClr val="tx1"/>
                </a:solidFill>
              </a:rPr>
              <a:pPr/>
              <a:t>nuo 16 iki 19 m.</a:t>
            </a:fld>
            <a:endParaRPr lang="en-US" sz="1000">
              <a:solidFill>
                <a:schemeClr val="tx1"/>
              </a:solidFill>
              <a:sym typeface="+mn-lt"/>
            </a:endParaRPr>
          </a:p>
        </p:txBody>
      </p:sp>
      <p:sp>
        <p:nvSpPr>
          <p:cNvPr id="221" name="Rectangle 220"/>
          <p:cNvSpPr/>
          <p:nvPr>
            <p:custDataLst>
              <p:tags r:id="rId18"/>
            </p:custDataLst>
          </p:nvPr>
        </p:nvSpPr>
        <p:spPr bwMode="gray">
          <a:xfrm>
            <a:off x="4508500" y="331787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BEB246B-ADBA-49D2-A822-A06F43BFA8E3}" type="datetime'''''''7''''''''1''''''%'''">
              <a:rPr lang="en-US" sz="1000" smtClean="0">
                <a:solidFill>
                  <a:schemeClr val="tx1"/>
                </a:solidFill>
              </a:rPr>
              <a:pPr/>
              <a:t>71%</a:t>
            </a:fld>
            <a:r>
              <a:rPr lang="en-US" sz="1000" smtClean="0">
                <a:solidFill>
                  <a:schemeClr val="tx1"/>
                </a:solidFill>
              </a:rPr>
              <a:t/>
            </a:r>
            <a:br>
              <a:rPr lang="en-US" sz="1000" smtClean="0">
                <a:solidFill>
                  <a:schemeClr val="tx1"/>
                </a:solidFill>
              </a:rPr>
            </a:br>
            <a:r>
              <a:rPr lang="en-US" sz="1000" smtClean="0">
                <a:solidFill>
                  <a:schemeClr val="tx1"/>
                </a:solidFill>
              </a:rPr>
              <a:t>(</a:t>
            </a:r>
            <a:fld id="{25F36A6A-46C5-48ED-9968-0182B1A96830}" type="datetime'''2''.6''''''2''''0'''''''''''">
              <a:rPr lang="en-US" sz="1000" smtClean="0">
                <a:solidFill>
                  <a:schemeClr val="tx1"/>
                </a:solidFill>
              </a:rPr>
              <a:pPr/>
              <a:t>2.620</a:t>
            </a:fld>
            <a:r>
              <a:rPr lang="en-US" sz="1000" smtClean="0">
                <a:solidFill>
                  <a:schemeClr val="tx1"/>
                </a:solidFill>
              </a:rPr>
              <a:t>)</a:t>
            </a:r>
            <a:endParaRPr lang="en-US" sz="1000">
              <a:solidFill>
                <a:schemeClr val="tx1"/>
              </a:solidFill>
              <a:sym typeface="+mn-lt"/>
            </a:endParaRPr>
          </a:p>
        </p:txBody>
      </p:sp>
      <p:sp>
        <p:nvSpPr>
          <p:cNvPr id="209" name="Rectangle 208"/>
          <p:cNvSpPr/>
          <p:nvPr>
            <p:custDataLst>
              <p:tags r:id="rId19"/>
            </p:custDataLst>
          </p:nvPr>
        </p:nvSpPr>
        <p:spPr bwMode="auto">
          <a:xfrm>
            <a:off x="3378200" y="4146550"/>
            <a:ext cx="806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17DD0C-46FD-4A68-8950-7C30600C4722}" type="datetime'''''''''''''''nu''''''o12 i''k''i 1''''''''5 ''''''''''''''m.'">
              <a:rPr lang="en-US" sz="1000">
                <a:solidFill>
                  <a:schemeClr val="tx1"/>
                </a:solidFill>
              </a:rPr>
              <a:pPr/>
              <a:t>nuo12 iki 15 m.</a:t>
            </a:fld>
            <a:endParaRPr lang="en-US" sz="1000">
              <a:solidFill>
                <a:schemeClr val="tx1"/>
              </a:solidFill>
              <a:sym typeface="+mn-lt"/>
            </a:endParaRPr>
          </a:p>
        </p:txBody>
      </p:sp>
      <p:sp>
        <p:nvSpPr>
          <p:cNvPr id="220" name="Rectangle 219"/>
          <p:cNvSpPr/>
          <p:nvPr>
            <p:custDataLst>
              <p:tags r:id="rId20"/>
            </p:custDataLst>
          </p:nvPr>
        </p:nvSpPr>
        <p:spPr bwMode="gray">
          <a:xfrm>
            <a:off x="3579813" y="31940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7DF970A-9B9B-47DD-B4BA-58D7C099A1EF}" type="datetime'''''''''69''''''%'''''''''''''''''''''''">
              <a:rPr lang="en-US" sz="1000" smtClean="0">
                <a:solidFill>
                  <a:schemeClr val="tx1"/>
                </a:solidFill>
              </a:rPr>
              <a:pPr/>
              <a:t>69%</a:t>
            </a:fld>
            <a:r>
              <a:rPr lang="en-US" sz="1000" smtClean="0">
                <a:solidFill>
                  <a:schemeClr val="tx1"/>
                </a:solidFill>
              </a:rPr>
              <a:t/>
            </a:r>
            <a:br>
              <a:rPr lang="en-US" sz="1000" smtClean="0">
                <a:solidFill>
                  <a:schemeClr val="tx1"/>
                </a:solidFill>
              </a:rPr>
            </a:br>
            <a:r>
              <a:rPr lang="en-US" sz="1000" smtClean="0">
                <a:solidFill>
                  <a:schemeClr val="tx1"/>
                </a:solidFill>
              </a:rPr>
              <a:t>(</a:t>
            </a:r>
            <a:fld id="{38A3A138-21CA-43E8-9B24-9BFA00ED823F}" type="datetime'3''''''''''''''''''.''''''4''3''''2'''">
              <a:rPr lang="en-US" sz="1000" smtClean="0">
                <a:solidFill>
                  <a:schemeClr val="tx1"/>
                </a:solidFill>
              </a:rPr>
              <a:pPr/>
              <a:t>3.432</a:t>
            </a:fld>
            <a:r>
              <a:rPr lang="en-US" sz="1000" smtClean="0">
                <a:solidFill>
                  <a:schemeClr val="tx1"/>
                </a:solidFill>
              </a:rPr>
              <a:t>)</a:t>
            </a:r>
            <a:endParaRPr lang="en-US" sz="1000">
              <a:solidFill>
                <a:schemeClr val="tx1"/>
              </a:solidFill>
              <a:sym typeface="+mn-lt"/>
            </a:endParaRPr>
          </a:p>
        </p:txBody>
      </p:sp>
      <p:sp>
        <p:nvSpPr>
          <p:cNvPr id="210" name="Rectangle 209"/>
          <p:cNvSpPr/>
          <p:nvPr>
            <p:custDataLst>
              <p:tags r:id="rId21"/>
            </p:custDataLst>
          </p:nvPr>
        </p:nvSpPr>
        <p:spPr bwMode="auto">
          <a:xfrm>
            <a:off x="1571625" y="4146550"/>
            <a:ext cx="704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6E45786-18AA-4298-9531-71FD9931DE10}" type="datetime'''''nu''o'''' ''''''4'' i''k''''i'' 6 ''''''''''''m.'''''">
              <a:rPr lang="en-US" sz="1000">
                <a:solidFill>
                  <a:schemeClr val="tx1"/>
                </a:solidFill>
              </a:rPr>
              <a:pPr/>
              <a:t>nuo 4 iki 6 m.</a:t>
            </a:fld>
            <a:endParaRPr lang="en-US" sz="1000">
              <a:solidFill>
                <a:schemeClr val="tx1"/>
              </a:solidFill>
              <a:sym typeface="+mn-lt"/>
            </a:endParaRPr>
          </a:p>
        </p:txBody>
      </p:sp>
      <p:sp>
        <p:nvSpPr>
          <p:cNvPr id="211" name="Rectangle 210"/>
          <p:cNvSpPr/>
          <p:nvPr>
            <p:custDataLst>
              <p:tags r:id="rId22"/>
            </p:custDataLst>
          </p:nvPr>
        </p:nvSpPr>
        <p:spPr bwMode="auto">
          <a:xfrm>
            <a:off x="676275" y="414655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1F16370-9EAC-45A9-9479-2BDE5FD68EFC}" type="datetime'3 i''''''''r'''' ja''''''u''n''''e''''''''''''s''n''''''''''i'">
              <a:rPr lang="en-US" sz="1000">
                <a:solidFill>
                  <a:schemeClr val="tx1"/>
                </a:solidFill>
              </a:rPr>
              <a:pPr/>
              <a:t>3 ir jaunesni</a:t>
            </a:fld>
            <a:endParaRPr lang="en-US" sz="1000">
              <a:solidFill>
                <a:schemeClr val="tx1"/>
              </a:solidFill>
              <a:sym typeface="+mn-lt"/>
            </a:endParaRPr>
          </a:p>
        </p:txBody>
      </p:sp>
      <p:sp>
        <p:nvSpPr>
          <p:cNvPr id="218" name="Rectangle 217"/>
          <p:cNvSpPr/>
          <p:nvPr>
            <p:custDataLst>
              <p:tags r:id="rId23"/>
            </p:custDataLst>
          </p:nvPr>
        </p:nvSpPr>
        <p:spPr bwMode="gray">
          <a:xfrm>
            <a:off x="842963" y="36512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2370AFF-21A0-43BD-A606-2AA029FE547E}" type="datetime'''''''''7''''''''''''2''''''''''''''''''''''''''''''''%'''''''">
              <a:rPr lang="en-US" sz="1000" smtClean="0">
                <a:solidFill>
                  <a:schemeClr val="tx1"/>
                </a:solidFill>
              </a:rPr>
              <a:pPr/>
              <a:t>72%</a:t>
            </a:fld>
            <a:r>
              <a:rPr lang="en-US" sz="1000" smtClean="0">
                <a:solidFill>
                  <a:schemeClr val="tx1"/>
                </a:solidFill>
              </a:rPr>
              <a:t/>
            </a:r>
            <a:br>
              <a:rPr lang="en-US" sz="1000" smtClean="0">
                <a:solidFill>
                  <a:schemeClr val="tx1"/>
                </a:solidFill>
              </a:rPr>
            </a:br>
            <a:r>
              <a:rPr lang="en-US" sz="1000" smtClean="0">
                <a:solidFill>
                  <a:schemeClr val="tx1"/>
                </a:solidFill>
              </a:rPr>
              <a:t>(</a:t>
            </a:r>
            <a:fld id="{E43E6007-A601-441B-AADD-C306BE8D12CF}" type="datetime'''''''''''''''''''''''''''''3''''''''''2''''''''''8'''''''''">
              <a:rPr lang="en-US" sz="1000" smtClean="0">
                <a:solidFill>
                  <a:schemeClr val="tx1"/>
                </a:solidFill>
              </a:rPr>
              <a:pPr/>
              <a:t>328</a:t>
            </a:fld>
            <a:r>
              <a:rPr lang="en-US" sz="1000" smtClean="0">
                <a:solidFill>
                  <a:schemeClr val="tx1"/>
                </a:solidFill>
              </a:rPr>
              <a:t>)</a:t>
            </a:r>
            <a:endParaRPr lang="en-US" sz="1000" dirty="0">
              <a:solidFill>
                <a:schemeClr val="tx1"/>
              </a:solidFill>
              <a:latin typeface="Calibri"/>
              <a:sym typeface="Calibri"/>
            </a:endParaRPr>
          </a:p>
        </p:txBody>
      </p:sp>
      <p:sp>
        <p:nvSpPr>
          <p:cNvPr id="215" name="Rectangle 214"/>
          <p:cNvSpPr/>
          <p:nvPr/>
        </p:nvSpPr>
        <p:spPr>
          <a:xfrm>
            <a:off x="265112" y="2744788"/>
            <a:ext cx="873538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eaktyvių vartotojų skaičiaus pasiskirstymas pagal vaikų ir jaunimo su kuriuo dirba amžių, vnt.</a:t>
            </a:r>
            <a:endParaRPr lang="lt-LT" sz="1200" dirty="0">
              <a:solidFill>
                <a:schemeClr val="bg1"/>
              </a:solidFill>
              <a:cs typeface="Cambria"/>
            </a:endParaRPr>
          </a:p>
        </p:txBody>
      </p:sp>
      <p:sp>
        <p:nvSpPr>
          <p:cNvPr id="216" name="Rectangle 215"/>
          <p:cNvSpPr/>
          <p:nvPr/>
        </p:nvSpPr>
        <p:spPr>
          <a:xfrm>
            <a:off x="265112" y="3032125"/>
            <a:ext cx="8735380" cy="131260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40" name="Object 239"/>
          <p:cNvGraphicFramePr>
            <a:graphicFrameLocks/>
          </p:cNvGraphicFramePr>
          <p:nvPr>
            <p:custDataLst>
              <p:tags r:id="rId24"/>
            </p:custDataLst>
            <p:extLst>
              <p:ext uri="{D42A27DB-BD31-4B8C-83A1-F6EECF244321}">
                <p14:modId xmlns:p14="http://schemas.microsoft.com/office/powerpoint/2010/main" val="794531746"/>
              </p:ext>
            </p:extLst>
          </p:nvPr>
        </p:nvGraphicFramePr>
        <p:xfrm>
          <a:off x="419101" y="5067300"/>
          <a:ext cx="5619629" cy="914535"/>
        </p:xfrm>
        <a:graphic>
          <a:graphicData uri="http://schemas.openxmlformats.org/presentationml/2006/ole">
            <mc:AlternateContent xmlns:mc="http://schemas.openxmlformats.org/markup-compatibility/2006">
              <mc:Choice xmlns:v="urn:schemas-microsoft-com:vml" Requires="v">
                <p:oleObj spid="_x0000_s17457" name="Chart" r:id="rId44" imgW="5619787" imgH="914244" progId="MSGraph.Chart.8">
                  <p:embed followColorScheme="full"/>
                </p:oleObj>
              </mc:Choice>
              <mc:Fallback>
                <p:oleObj name="Chart" r:id="rId44" imgW="5619787" imgH="914244" progId="MSGraph.Chart.8">
                  <p:embed followColorScheme="full"/>
                  <p:pic>
                    <p:nvPicPr>
                      <p:cNvPr id="0" name=""/>
                      <p:cNvPicPr/>
                      <p:nvPr/>
                    </p:nvPicPr>
                    <p:blipFill>
                      <a:blip r:embed="rId45"/>
                      <a:stretch>
                        <a:fillRect/>
                      </a:stretch>
                    </p:blipFill>
                    <p:spPr>
                      <a:xfrm>
                        <a:off x="419101" y="5067300"/>
                        <a:ext cx="5619629" cy="914535"/>
                      </a:xfrm>
                      <a:prstGeom prst="rect">
                        <a:avLst/>
                      </a:prstGeom>
                    </p:spPr>
                  </p:pic>
                </p:oleObj>
              </mc:Fallback>
            </mc:AlternateContent>
          </a:graphicData>
        </a:graphic>
      </p:graphicFrame>
      <p:sp>
        <p:nvSpPr>
          <p:cNvPr id="283" name="Rectangle 282"/>
          <p:cNvSpPr/>
          <p:nvPr>
            <p:custDataLst>
              <p:tags r:id="rId25"/>
            </p:custDataLst>
          </p:nvPr>
        </p:nvSpPr>
        <p:spPr bwMode="auto">
          <a:xfrm>
            <a:off x="666750" y="588010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33C1CA8-60CE-4321-A54B-92BA58D97D2C}" type="datetime'''''''''3 i''r'''''''' ''''j''a''''''''''''un''''es''''n''i'''">
              <a:rPr lang="en-US" sz="1000">
                <a:solidFill>
                  <a:schemeClr val="tx1"/>
                </a:solidFill>
              </a:rPr>
              <a:pPr/>
              <a:t>3 ir jaunesni</a:t>
            </a:fld>
            <a:endParaRPr lang="en-US" sz="1000">
              <a:solidFill>
                <a:schemeClr val="tx1"/>
              </a:solidFill>
              <a:sym typeface="+mn-lt"/>
            </a:endParaRPr>
          </a:p>
        </p:txBody>
      </p:sp>
      <p:sp>
        <p:nvSpPr>
          <p:cNvPr id="284" name="Rectangle 283"/>
          <p:cNvSpPr/>
          <p:nvPr>
            <p:custDataLst>
              <p:tags r:id="rId26"/>
            </p:custDataLst>
          </p:nvPr>
        </p:nvSpPr>
        <p:spPr bwMode="gray">
          <a:xfrm>
            <a:off x="833438" y="53848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CC06DAE-5BC4-48E2-AD44-4D2AA8EF9FB7}" type="datetime'''''''''''2''''8''''''''''''''''''''''''''''''''''''''''%'">
              <a:rPr lang="en-US" sz="1000" smtClean="0">
                <a:solidFill>
                  <a:schemeClr val="tx1"/>
                </a:solidFill>
              </a:rPr>
              <a:pPr/>
              <a:t>28%</a:t>
            </a:fld>
            <a:r>
              <a:rPr lang="en-US" sz="1000" smtClean="0">
                <a:solidFill>
                  <a:schemeClr val="tx1"/>
                </a:solidFill>
              </a:rPr>
              <a:t/>
            </a:r>
            <a:br>
              <a:rPr lang="en-US" sz="1000" smtClean="0">
                <a:solidFill>
                  <a:schemeClr val="tx1"/>
                </a:solidFill>
              </a:rPr>
            </a:br>
            <a:r>
              <a:rPr lang="en-US" sz="1000" smtClean="0">
                <a:solidFill>
                  <a:schemeClr val="tx1"/>
                </a:solidFill>
              </a:rPr>
              <a:t>(</a:t>
            </a:r>
            <a:fld id="{188918AF-0092-4319-A9B9-E64FC6021C19}" type="datetime'''12''''''''''''''''''''''''''''8'''''''''''''">
              <a:rPr lang="en-US" sz="1000" smtClean="0">
                <a:solidFill>
                  <a:schemeClr val="tx1"/>
                </a:solidFill>
              </a:rPr>
              <a:pPr/>
              <a:t>128</a:t>
            </a:fld>
            <a:r>
              <a:rPr lang="en-US" sz="1000" smtClean="0">
                <a:solidFill>
                  <a:schemeClr val="tx1"/>
                </a:solidFill>
              </a:rPr>
              <a:t>)</a:t>
            </a:r>
            <a:endParaRPr lang="en-US" sz="1000" dirty="0">
              <a:solidFill>
                <a:schemeClr val="tx1"/>
              </a:solidFill>
              <a:latin typeface="Calibri"/>
              <a:sym typeface="Calibri"/>
            </a:endParaRPr>
          </a:p>
        </p:txBody>
      </p:sp>
      <p:sp>
        <p:nvSpPr>
          <p:cNvPr id="281" name="Rectangle 280"/>
          <p:cNvSpPr/>
          <p:nvPr>
            <p:custDataLst>
              <p:tags r:id="rId27"/>
            </p:custDataLst>
          </p:nvPr>
        </p:nvSpPr>
        <p:spPr bwMode="auto">
          <a:xfrm>
            <a:off x="1533525" y="5880100"/>
            <a:ext cx="704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2D2C3E3-92DB-46D5-B732-91E4BC5E1998}" type="datetime'n''''u''''''''''''''''''o 4'' i''k''''''''''''i'''' ''6 ''m.'">
              <a:rPr lang="en-US" sz="1000">
                <a:solidFill>
                  <a:schemeClr val="tx1"/>
                </a:solidFill>
              </a:rPr>
              <a:pPr/>
              <a:t>nuo 4 iki 6 m.</a:t>
            </a:fld>
            <a:endParaRPr lang="en-US" sz="1000">
              <a:solidFill>
                <a:schemeClr val="tx1"/>
              </a:solidFill>
              <a:sym typeface="+mn-lt"/>
            </a:endParaRPr>
          </a:p>
        </p:txBody>
      </p:sp>
      <p:sp>
        <p:nvSpPr>
          <p:cNvPr id="280" name="Rectangle 279"/>
          <p:cNvSpPr/>
          <p:nvPr>
            <p:custDataLst>
              <p:tags r:id="rId28"/>
            </p:custDataLst>
          </p:nvPr>
        </p:nvSpPr>
        <p:spPr bwMode="gray">
          <a:xfrm>
            <a:off x="3489325" y="48704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A5BE702-5969-4EFD-AAD0-02A557AF241C}" type="datetime'''''''''''''''''''3''1''''%'''''''''''''''''''">
              <a:rPr lang="en-US" sz="1000" smtClean="0">
                <a:solidFill>
                  <a:schemeClr val="tx1"/>
                </a:solidFill>
              </a:rPr>
              <a:pPr/>
              <a:t>31%</a:t>
            </a:fld>
            <a:r>
              <a:rPr lang="en-US" sz="1000" smtClean="0">
                <a:solidFill>
                  <a:schemeClr val="tx1"/>
                </a:solidFill>
              </a:rPr>
              <a:t/>
            </a:r>
            <a:br>
              <a:rPr lang="en-US" sz="1000" smtClean="0">
                <a:solidFill>
                  <a:schemeClr val="tx1"/>
                </a:solidFill>
              </a:rPr>
            </a:br>
            <a:r>
              <a:rPr lang="en-US" sz="1000" smtClean="0">
                <a:solidFill>
                  <a:schemeClr val="tx1"/>
                </a:solidFill>
              </a:rPr>
              <a:t>(</a:t>
            </a:r>
            <a:fld id="{3E6B7248-9E74-4F9B-96D8-A3F0DE4EB8F6}" type="datetime'''''1''''''''''.''''''''''''''''''''''5''''''''''19'''''''">
              <a:rPr lang="en-US" sz="1000" smtClean="0">
                <a:solidFill>
                  <a:schemeClr val="tx1"/>
                </a:solidFill>
              </a:rPr>
              <a:pPr/>
              <a:t>1.519</a:t>
            </a:fld>
            <a:r>
              <a:rPr lang="en-US" sz="1000" smtClean="0">
                <a:solidFill>
                  <a:schemeClr val="tx1"/>
                </a:solidFill>
              </a:rPr>
              <a:t>)</a:t>
            </a:r>
            <a:endParaRPr lang="en-US" sz="1000">
              <a:solidFill>
                <a:schemeClr val="tx1"/>
              </a:solidFill>
              <a:sym typeface="+mn-lt"/>
            </a:endParaRPr>
          </a:p>
        </p:txBody>
      </p:sp>
      <p:sp>
        <p:nvSpPr>
          <p:cNvPr id="279" name="Rectangle 278"/>
          <p:cNvSpPr/>
          <p:nvPr>
            <p:custDataLst>
              <p:tags r:id="rId29"/>
            </p:custDataLst>
          </p:nvPr>
        </p:nvSpPr>
        <p:spPr bwMode="auto">
          <a:xfrm>
            <a:off x="3287713" y="5880100"/>
            <a:ext cx="806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E052B06-3E75-4856-ABD2-A1FCC470702E}" type="datetime'''n''''''uo12'''''''''''''' ik''''i ''1''''''''5 m''''.'">
              <a:rPr lang="en-US" sz="1000">
                <a:solidFill>
                  <a:schemeClr val="tx1"/>
                </a:solidFill>
              </a:rPr>
              <a:pPr/>
              <a:t>nuo12 iki 15 m.</a:t>
            </a:fld>
            <a:endParaRPr lang="en-US" sz="1000">
              <a:solidFill>
                <a:schemeClr val="tx1"/>
              </a:solidFill>
              <a:sym typeface="+mn-lt"/>
            </a:endParaRPr>
          </a:p>
        </p:txBody>
      </p:sp>
      <p:sp>
        <p:nvSpPr>
          <p:cNvPr id="278" name="Rectangle 277"/>
          <p:cNvSpPr/>
          <p:nvPr>
            <p:custDataLst>
              <p:tags r:id="rId30"/>
            </p:custDataLst>
          </p:nvPr>
        </p:nvSpPr>
        <p:spPr bwMode="gray">
          <a:xfrm>
            <a:off x="4389438" y="504190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6EEDEBD-FD5F-4366-B1BF-61A24D0621CB}" type="datetime'''''''''''''''''''''''''''''2''''9''''%'''''">
              <a:rPr lang="en-US" sz="1000" smtClean="0">
                <a:solidFill>
                  <a:schemeClr val="tx1"/>
                </a:solidFill>
              </a:rPr>
              <a:pPr/>
              <a:t>29%</a:t>
            </a:fld>
            <a:r>
              <a:rPr lang="en-US" sz="1000" smtClean="0">
                <a:solidFill>
                  <a:schemeClr val="tx1"/>
                </a:solidFill>
              </a:rPr>
              <a:t/>
            </a:r>
            <a:br>
              <a:rPr lang="en-US" sz="1000" smtClean="0">
                <a:solidFill>
                  <a:schemeClr val="tx1"/>
                </a:solidFill>
              </a:rPr>
            </a:br>
            <a:r>
              <a:rPr lang="en-US" sz="1000" smtClean="0">
                <a:solidFill>
                  <a:schemeClr val="tx1"/>
                </a:solidFill>
              </a:rPr>
              <a:t>(</a:t>
            </a:r>
            <a:fld id="{F041B024-EE61-40CE-9966-20DA0ADE1EB8}" type="datetime'''''''''''''''''''''1''''''''''.''''''''''''''''''0''46'''''">
              <a:rPr lang="en-US" sz="1000" smtClean="0">
                <a:solidFill>
                  <a:schemeClr val="tx1"/>
                </a:solidFill>
              </a:rPr>
              <a:pPr/>
              <a:t>1.046</a:t>
            </a:fld>
            <a:r>
              <a:rPr lang="en-US" sz="1000" smtClean="0">
                <a:solidFill>
                  <a:schemeClr val="tx1"/>
                </a:solidFill>
              </a:rPr>
              <a:t>)</a:t>
            </a:r>
            <a:endParaRPr lang="en-US" sz="1000" dirty="0">
              <a:solidFill>
                <a:schemeClr val="tx1"/>
              </a:solidFill>
              <a:sym typeface="+mn-lt"/>
            </a:endParaRPr>
          </a:p>
        </p:txBody>
      </p:sp>
      <p:sp>
        <p:nvSpPr>
          <p:cNvPr id="277" name="Rectangle 276"/>
          <p:cNvSpPr/>
          <p:nvPr>
            <p:custDataLst>
              <p:tags r:id="rId31"/>
            </p:custDataLst>
          </p:nvPr>
        </p:nvSpPr>
        <p:spPr bwMode="auto">
          <a:xfrm>
            <a:off x="4173538" y="588010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AE7E3B-0613-4A99-AB72-5741F3160BF0}" type="datetime'''''nu''''''''''''''o ''''1''6'' ik''''''''''''i'' 19 m''''.'">
              <a:rPr lang="en-US" sz="1000">
                <a:solidFill>
                  <a:schemeClr val="tx1"/>
                </a:solidFill>
              </a:rPr>
              <a:pPr/>
              <a:t>nuo 16 iki 19 m.</a:t>
            </a:fld>
            <a:endParaRPr lang="en-US" sz="1000">
              <a:solidFill>
                <a:schemeClr val="tx1"/>
              </a:solidFill>
              <a:sym typeface="+mn-lt"/>
            </a:endParaRPr>
          </a:p>
        </p:txBody>
      </p:sp>
      <p:sp>
        <p:nvSpPr>
          <p:cNvPr id="276" name="Rectangle 275"/>
          <p:cNvSpPr/>
          <p:nvPr>
            <p:custDataLst>
              <p:tags r:id="rId32"/>
            </p:custDataLst>
          </p:nvPr>
        </p:nvSpPr>
        <p:spPr bwMode="gray">
          <a:xfrm>
            <a:off x="5364163" y="541337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4B8F0DE-AEBD-445E-87AC-87E70F95D6DE}" type="datetime'''1''8''''''''''%'''''''''''''''''''''">
              <a:rPr lang="en-US" sz="1000" smtClean="0">
                <a:solidFill>
                  <a:schemeClr val="tx1"/>
                </a:solidFill>
              </a:rPr>
              <a:pPr/>
              <a:t>18%</a:t>
            </a:fld>
            <a:r>
              <a:rPr lang="en-US" sz="1000" smtClean="0">
                <a:solidFill>
                  <a:schemeClr val="tx1"/>
                </a:solidFill>
              </a:rPr>
              <a:t/>
            </a:r>
            <a:br>
              <a:rPr lang="en-US" sz="1000" smtClean="0">
                <a:solidFill>
                  <a:schemeClr val="tx1"/>
                </a:solidFill>
              </a:rPr>
            </a:br>
            <a:r>
              <a:rPr lang="en-US" sz="1000" smtClean="0">
                <a:solidFill>
                  <a:schemeClr val="tx1"/>
                </a:solidFill>
              </a:rPr>
              <a:t>(</a:t>
            </a:r>
            <a:fld id="{19D7C175-FDC0-491C-BF4E-F555D5CD8316}" type="datetime'4''''''''0'''''''''''''''''''''''''''''''''''''">
              <a:rPr lang="en-US" sz="1000" smtClean="0">
                <a:solidFill>
                  <a:schemeClr val="tx1"/>
                </a:solidFill>
              </a:rPr>
              <a:pPr/>
              <a:t>40</a:t>
            </a:fld>
            <a:r>
              <a:rPr lang="en-US" sz="1000" smtClean="0">
                <a:solidFill>
                  <a:schemeClr val="tx1"/>
                </a:solidFill>
              </a:rPr>
              <a:t>)</a:t>
            </a:r>
            <a:endParaRPr lang="en-US" sz="1000" dirty="0">
              <a:solidFill>
                <a:schemeClr val="tx1"/>
              </a:solidFill>
              <a:sym typeface="+mn-lt"/>
            </a:endParaRPr>
          </a:p>
        </p:txBody>
      </p:sp>
      <p:sp>
        <p:nvSpPr>
          <p:cNvPr id="275" name="Rectangle 274"/>
          <p:cNvSpPr/>
          <p:nvPr>
            <p:custDataLst>
              <p:tags r:id="rId33"/>
            </p:custDataLst>
          </p:nvPr>
        </p:nvSpPr>
        <p:spPr bwMode="auto">
          <a:xfrm>
            <a:off x="5172075" y="588010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20D8671-1DED-4368-B5E1-7A767BC80975}" type="datetime'''''''''''''20 ''ir'''''''''' ''v''''yre''''s''n''''''i'''''''">
              <a:rPr lang="en-US" sz="1000">
                <a:solidFill>
                  <a:schemeClr val="tx1"/>
                </a:solidFill>
              </a:rPr>
              <a:pPr/>
              <a:t>20 ir vyresni</a:t>
            </a:fld>
            <a:endParaRPr lang="en-US" sz="1000">
              <a:solidFill>
                <a:schemeClr val="tx1"/>
              </a:solidFill>
              <a:sym typeface="+mn-lt"/>
            </a:endParaRPr>
          </a:p>
        </p:txBody>
      </p:sp>
      <p:sp>
        <p:nvSpPr>
          <p:cNvPr id="423" name="Rectangle 422"/>
          <p:cNvSpPr/>
          <p:nvPr>
            <p:custDataLst>
              <p:tags r:id="rId34"/>
            </p:custDataLst>
          </p:nvPr>
        </p:nvSpPr>
        <p:spPr bwMode="auto">
          <a:xfrm>
            <a:off x="2401888" y="5880100"/>
            <a:ext cx="769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02EADA9-70BE-4AE1-A04A-ED24B65E7E21}" type="datetime'nuo ''7'''''''''''''' i''''k''i'''''' 1''''''''1'''' ''m.'''">
              <a:rPr lang="en-US" sz="1000">
                <a:solidFill>
                  <a:schemeClr val="tx1"/>
                </a:solidFill>
              </a:rPr>
              <a:pPr/>
              <a:t>nuo 7 iki 11 m.</a:t>
            </a:fld>
            <a:endParaRPr lang="en-US" sz="1000">
              <a:solidFill>
                <a:schemeClr val="tx1"/>
              </a:solidFill>
              <a:latin typeface="Calibri"/>
              <a:sym typeface="Calibri"/>
            </a:endParaRPr>
          </a:p>
        </p:txBody>
      </p:sp>
      <p:sp>
        <p:nvSpPr>
          <p:cNvPr id="424" name="Rectangle 423"/>
          <p:cNvSpPr/>
          <p:nvPr>
            <p:custDataLst>
              <p:tags r:id="rId35"/>
            </p:custDataLst>
          </p:nvPr>
        </p:nvSpPr>
        <p:spPr bwMode="gray">
          <a:xfrm>
            <a:off x="1733550" y="52514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0734C78-2326-4E09-9953-D609B958F837}" type="datetime'''3''''''''''''''7''''''''''''''''''''''''''''''''''''''''%'''">
              <a:rPr lang="en-US" sz="1000">
                <a:solidFill>
                  <a:schemeClr val="tx1"/>
                </a:solidFill>
                <a:latin typeface="Calibri"/>
                <a:sym typeface="Calibri"/>
              </a:rPr>
              <a:pPr algn="ctr">
                <a:spcBef>
                  <a:spcPct val="0"/>
                </a:spcBef>
                <a:spcAft>
                  <a:spcPct val="0"/>
                </a:spcAft>
              </a:pPr>
              <a:t>37%</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552B719E-1CBE-44CD-922A-41C7E6156DE8}" type="datetime'''''''''4''''8''9'''''''''">
              <a:rPr lang="en-US" sz="1000" smtClean="0">
                <a:solidFill>
                  <a:schemeClr val="tx1"/>
                </a:solidFill>
                <a:latin typeface="Calibri"/>
                <a:sym typeface="Calibri"/>
              </a:rPr>
              <a:pPr algn="ctr">
                <a:spcBef>
                  <a:spcPct val="0"/>
                </a:spcBef>
                <a:spcAft>
                  <a:spcPct val="0"/>
                </a:spcAft>
              </a:pPr>
              <a:t>48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5" name="Rectangle 424"/>
          <p:cNvSpPr/>
          <p:nvPr>
            <p:custDataLst>
              <p:tags r:id="rId36"/>
            </p:custDataLst>
          </p:nvPr>
        </p:nvSpPr>
        <p:spPr bwMode="gray">
          <a:xfrm>
            <a:off x="2584450" y="492760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2684D20-1CD1-4CDC-B5D2-3BBDDBF9CF33}" type="datetime'''''''''''''''''3''3''''''''''''''''''''''''''''''''''%'''''''">
              <a:rPr lang="en-US" sz="1000">
                <a:solidFill>
                  <a:schemeClr val="tx1"/>
                </a:solidFill>
                <a:latin typeface="Calibri"/>
                <a:sym typeface="Calibri"/>
              </a:rPr>
              <a:pPr algn="ctr">
                <a:spcBef>
                  <a:spcPct val="0"/>
                </a:spcBef>
                <a:spcAft>
                  <a:spcPct val="0"/>
                </a:spcAft>
              </a:pPr>
              <a:t>33%</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1046FF08-CF27-4A39-985E-AD1328DF46CD}" type="datetime'1''''''''''.''''3''''6''''4'''''''''">
              <a:rPr lang="en-US" sz="1000" smtClean="0">
                <a:solidFill>
                  <a:schemeClr val="tx1"/>
                </a:solidFill>
                <a:latin typeface="Calibri"/>
                <a:sym typeface="Calibri"/>
              </a:rPr>
              <a:pPr algn="ctr">
                <a:spcBef>
                  <a:spcPct val="0"/>
                </a:spcBef>
                <a:spcAft>
                  <a:spcPct val="0"/>
                </a:spcAft>
              </a:pPr>
              <a:t>1.36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85" name="Rectangle 284"/>
          <p:cNvSpPr/>
          <p:nvPr/>
        </p:nvSpPr>
        <p:spPr>
          <a:xfrm>
            <a:off x="280987" y="4437063"/>
            <a:ext cx="8715471" cy="287339"/>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eaktyvių vartotojų skaičiaus pasiskirstymas pagal vaikų ir jaunimo su kuriuo dirba amžių, vnt.</a:t>
            </a:r>
            <a:endParaRPr lang="lt-LT" sz="1200" dirty="0">
              <a:solidFill>
                <a:schemeClr val="bg1"/>
              </a:solidFill>
              <a:cs typeface="Cambria"/>
            </a:endParaRPr>
          </a:p>
        </p:txBody>
      </p:sp>
      <p:sp>
        <p:nvSpPr>
          <p:cNvPr id="286" name="Rectangle 285"/>
          <p:cNvSpPr/>
          <p:nvPr/>
        </p:nvSpPr>
        <p:spPr>
          <a:xfrm>
            <a:off x="280987" y="4724400"/>
            <a:ext cx="8715471" cy="131260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09" name="Rectangle 408"/>
          <p:cNvSpPr/>
          <p:nvPr/>
        </p:nvSpPr>
        <p:spPr>
          <a:xfrm>
            <a:off x="6696236" y="1332121"/>
            <a:ext cx="2304255" cy="123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Dauguma užsiregistravusių vartotojų dirba su </a:t>
            </a:r>
            <a:r>
              <a:rPr lang="lt-LT" sz="1100" i="1" dirty="0" smtClean="0">
                <a:solidFill>
                  <a:prstClr val="black"/>
                </a:solidFill>
              </a:rPr>
              <a:t>„</a:t>
            </a:r>
            <a:r>
              <a:rPr lang="en-US" sz="1100" i="1" dirty="0" err="1" smtClean="0">
                <a:solidFill>
                  <a:prstClr val="black"/>
                </a:solidFill>
              </a:rPr>
              <a:t>mokyklinio</a:t>
            </a:r>
            <a:r>
              <a:rPr lang="en-US" sz="1100" i="1" dirty="0" smtClean="0">
                <a:solidFill>
                  <a:prstClr val="black"/>
                </a:solidFill>
              </a:rPr>
              <a:t> am</a:t>
            </a:r>
            <a:r>
              <a:rPr lang="lt-LT" sz="1100" i="1" dirty="0" smtClean="0">
                <a:solidFill>
                  <a:prstClr val="black"/>
                </a:solidFill>
              </a:rPr>
              <a:t>ž</a:t>
            </a:r>
            <a:r>
              <a:rPr lang="en-US" sz="1100" i="1" dirty="0" err="1" smtClean="0">
                <a:solidFill>
                  <a:prstClr val="black"/>
                </a:solidFill>
              </a:rPr>
              <a:t>iaus</a:t>
            </a:r>
            <a:r>
              <a:rPr lang="lt-LT" sz="1100" i="1" dirty="0" smtClean="0">
                <a:solidFill>
                  <a:prstClr val="black"/>
                </a:solidFill>
              </a:rPr>
              <a:t>“</a:t>
            </a:r>
            <a:r>
              <a:rPr lang="en-US" sz="1100" dirty="0" smtClean="0">
                <a:solidFill>
                  <a:prstClr val="black"/>
                </a:solidFill>
              </a:rPr>
              <a:t> </a:t>
            </a:r>
            <a:r>
              <a:rPr lang="lt-LT" sz="1100" dirty="0" smtClean="0">
                <a:solidFill>
                  <a:prstClr val="black"/>
                </a:solidFill>
              </a:rPr>
              <a:t>vaikais ir jaunimu nuo </a:t>
            </a:r>
            <a:r>
              <a:rPr lang="en-US" sz="1100" dirty="0" smtClean="0">
                <a:solidFill>
                  <a:prstClr val="black"/>
                </a:solidFill>
              </a:rPr>
              <a:t>7</a:t>
            </a:r>
            <a:r>
              <a:rPr lang="lt-LT" sz="1100" dirty="0" smtClean="0">
                <a:solidFill>
                  <a:prstClr val="black"/>
                </a:solidFill>
              </a:rPr>
              <a:t> iki 19 m. amžiaus;</a:t>
            </a:r>
          </a:p>
          <a:p>
            <a:pPr marL="279450" lvl="0" indent="-171450" algn="just">
              <a:buFont typeface="Arial" panose="020B0604020202020204" pitchFamily="34" charset="0"/>
              <a:buChar char="•"/>
            </a:pPr>
            <a:r>
              <a:rPr lang="lt-LT" sz="1100" dirty="0" smtClean="0">
                <a:solidFill>
                  <a:prstClr val="black"/>
                </a:solidFill>
              </a:rPr>
              <a:t>Didžiausia dalis vartotojų dirba su </a:t>
            </a:r>
            <a:r>
              <a:rPr lang="en-US" sz="1100" dirty="0" err="1" smtClean="0">
                <a:solidFill>
                  <a:prstClr val="black"/>
                </a:solidFill>
              </a:rPr>
              <a:t>jaunesni</a:t>
            </a:r>
            <a:r>
              <a:rPr lang="lt-LT" sz="1100" dirty="0" smtClean="0">
                <a:solidFill>
                  <a:prstClr val="black"/>
                </a:solidFill>
              </a:rPr>
              <a:t>ų</a:t>
            </a:r>
            <a:r>
              <a:rPr lang="en-US" sz="1100" dirty="0" smtClean="0">
                <a:solidFill>
                  <a:prstClr val="black"/>
                </a:solidFill>
              </a:rPr>
              <a:t> </a:t>
            </a:r>
            <a:r>
              <a:rPr lang="en-US" sz="1100" dirty="0" err="1" smtClean="0">
                <a:solidFill>
                  <a:prstClr val="black"/>
                </a:solidFill>
              </a:rPr>
              <a:t>klasi</a:t>
            </a:r>
            <a:r>
              <a:rPr lang="lt-LT" sz="1100" dirty="0" smtClean="0">
                <a:solidFill>
                  <a:prstClr val="black"/>
                </a:solidFill>
              </a:rPr>
              <a:t>ų (</a:t>
            </a:r>
            <a:r>
              <a:rPr lang="en-US" sz="1100" dirty="0" smtClean="0">
                <a:solidFill>
                  <a:prstClr val="black"/>
                </a:solidFill>
              </a:rPr>
              <a:t>12</a:t>
            </a:r>
            <a:r>
              <a:rPr lang="lt-LT" sz="1100" dirty="0" smtClean="0">
                <a:solidFill>
                  <a:prstClr val="black"/>
                </a:solidFill>
              </a:rPr>
              <a:t>– 1</a:t>
            </a:r>
            <a:r>
              <a:rPr lang="en-US" sz="1100" dirty="0" smtClean="0">
                <a:solidFill>
                  <a:prstClr val="black"/>
                </a:solidFill>
              </a:rPr>
              <a:t>5</a:t>
            </a:r>
            <a:r>
              <a:rPr lang="lt-LT" sz="1100" dirty="0" smtClean="0">
                <a:solidFill>
                  <a:prstClr val="black"/>
                </a:solidFill>
              </a:rPr>
              <a:t> m.) moksleiviais. </a:t>
            </a:r>
            <a:endParaRPr lang="lt-LT" sz="1100" dirty="0">
              <a:solidFill>
                <a:prstClr val="black"/>
              </a:solidFill>
            </a:endParaRPr>
          </a:p>
        </p:txBody>
      </p:sp>
      <p:sp>
        <p:nvSpPr>
          <p:cNvPr id="416" name="Rectangle 415"/>
          <p:cNvSpPr/>
          <p:nvPr/>
        </p:nvSpPr>
        <p:spPr>
          <a:xfrm>
            <a:off x="0" y="6054095"/>
            <a:ext cx="9133187" cy="261610"/>
          </a:xfrm>
          <a:prstGeom prst="rect">
            <a:avLst/>
          </a:prstGeom>
        </p:spPr>
        <p:txBody>
          <a:bodyPr wrap="square">
            <a:spAutoFit/>
          </a:bodyPr>
          <a:lstStyle/>
          <a:p>
            <a:r>
              <a:rPr lang="lt-LT" sz="1100" dirty="0" smtClean="0">
                <a:solidFill>
                  <a:schemeClr val="bg1">
                    <a:lumMod val="50000"/>
                  </a:schemeClr>
                </a:solidFill>
              </a:rPr>
              <a:t>*Tas pats vartotojas gali dirbti su keliomis amžiaus grupėmis todėl šiuose rodikliuos pateiktas bendras vartotojų skaičius viršija realų bendrą vartotojų skaičių</a:t>
            </a:r>
            <a:endParaRPr lang="en-US" sz="1100" dirty="0">
              <a:solidFill>
                <a:schemeClr val="bg1">
                  <a:lumMod val="50000"/>
                </a:schemeClr>
              </a:solidFill>
            </a:endParaRPr>
          </a:p>
        </p:txBody>
      </p:sp>
      <p:sp>
        <p:nvSpPr>
          <p:cNvPr id="417" name="Rectangle 416"/>
          <p:cNvSpPr/>
          <p:nvPr/>
        </p:nvSpPr>
        <p:spPr>
          <a:xfrm>
            <a:off x="6588223" y="3111947"/>
            <a:ext cx="2398675" cy="123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Didžiausia dalis neaktyvių  vartotojų yra tarp vartotojų dirbančių su 16-19 m. amžiaus jaunimu;</a:t>
            </a:r>
          </a:p>
          <a:p>
            <a:pPr marL="279450" lvl="0" indent="-171450" algn="just">
              <a:buFont typeface="Arial" panose="020B0604020202020204" pitchFamily="34" charset="0"/>
              <a:buChar char="•"/>
            </a:pPr>
            <a:r>
              <a:rPr lang="lt-LT" sz="1100" dirty="0" smtClean="0">
                <a:solidFill>
                  <a:prstClr val="black"/>
                </a:solidFill>
              </a:rPr>
              <a:t>Tuo tarpu didžiausias skaičius tokių vartotojų yra tarp dirbančių su </a:t>
            </a:r>
            <a:r>
              <a:rPr lang="en-US" sz="1100" dirty="0" smtClean="0">
                <a:solidFill>
                  <a:prstClr val="black"/>
                </a:solidFill>
              </a:rPr>
              <a:t>12</a:t>
            </a:r>
            <a:r>
              <a:rPr lang="lt-LT" sz="1100" dirty="0" smtClean="0">
                <a:solidFill>
                  <a:prstClr val="black"/>
                </a:solidFill>
              </a:rPr>
              <a:t>-1</a:t>
            </a:r>
            <a:r>
              <a:rPr lang="en-US" sz="1100" dirty="0" smtClean="0">
                <a:solidFill>
                  <a:prstClr val="black"/>
                </a:solidFill>
              </a:rPr>
              <a:t>5</a:t>
            </a:r>
            <a:r>
              <a:rPr lang="lt-LT" sz="1100" dirty="0" smtClean="0">
                <a:solidFill>
                  <a:prstClr val="black"/>
                </a:solidFill>
              </a:rPr>
              <a:t> m. amžiaus vaikais.</a:t>
            </a:r>
            <a:endParaRPr lang="lt-LT" sz="1100" dirty="0">
              <a:solidFill>
                <a:prstClr val="black"/>
              </a:solidFill>
            </a:endParaRPr>
          </a:p>
        </p:txBody>
      </p:sp>
      <p:sp>
        <p:nvSpPr>
          <p:cNvPr id="418" name="Rectangle 417"/>
          <p:cNvSpPr/>
          <p:nvPr/>
        </p:nvSpPr>
        <p:spPr>
          <a:xfrm>
            <a:off x="5959476" y="4824509"/>
            <a:ext cx="3020295" cy="123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Didžiausia dalis aktyvių vartotojų yra tarp dirbančių su </a:t>
            </a:r>
            <a:r>
              <a:rPr lang="en-US" sz="1100" dirty="0" smtClean="0">
                <a:solidFill>
                  <a:prstClr val="black"/>
                </a:solidFill>
              </a:rPr>
              <a:t>7</a:t>
            </a:r>
            <a:r>
              <a:rPr lang="lt-LT" sz="1100" dirty="0" smtClean="0">
                <a:solidFill>
                  <a:prstClr val="black"/>
                </a:solidFill>
              </a:rPr>
              <a:t>-11 m. amžiaus moksleiviais;</a:t>
            </a:r>
            <a:endParaRPr lang="en-US" sz="1100" dirty="0" smtClean="0">
              <a:solidFill>
                <a:prstClr val="black"/>
              </a:solidFill>
            </a:endParaRPr>
          </a:p>
          <a:p>
            <a:pPr marL="279450" lvl="0" indent="-171450" algn="just">
              <a:buFont typeface="Arial" panose="020B0604020202020204" pitchFamily="34" charset="0"/>
              <a:buChar char="•"/>
            </a:pPr>
            <a:r>
              <a:rPr lang="lt-LT" sz="1100" dirty="0">
                <a:solidFill>
                  <a:prstClr val="black"/>
                </a:solidFill>
              </a:rPr>
              <a:t>D</a:t>
            </a:r>
            <a:r>
              <a:rPr lang="en-US" sz="1100" dirty="0" smtClean="0">
                <a:solidFill>
                  <a:prstClr val="black"/>
                </a:solidFill>
              </a:rPr>
              <a:t>id</a:t>
            </a:r>
            <a:r>
              <a:rPr lang="lt-LT" sz="1100" dirty="0" err="1" smtClean="0">
                <a:solidFill>
                  <a:prstClr val="black"/>
                </a:solidFill>
              </a:rPr>
              <a:t>žiausias</a:t>
            </a:r>
            <a:r>
              <a:rPr lang="lt-LT" sz="1100" dirty="0" smtClean="0">
                <a:solidFill>
                  <a:prstClr val="black"/>
                </a:solidFill>
              </a:rPr>
              <a:t> skaičius – tarp dirbančių su 12-15 m. amžiaus moksleiviais;</a:t>
            </a:r>
          </a:p>
          <a:p>
            <a:pPr marL="279450" lvl="0" indent="-171450" algn="just">
              <a:buFont typeface="Arial" panose="020B0604020202020204" pitchFamily="34" charset="0"/>
              <a:buChar char="•"/>
            </a:pPr>
            <a:r>
              <a:rPr lang="lt-LT" sz="1100" dirty="0" smtClean="0">
                <a:solidFill>
                  <a:prstClr val="black"/>
                </a:solidFill>
              </a:rPr>
              <a:t>Tai rodo, kad aktyviausi yra vartotojai dirbantys su  pradinių klasių moksleiviais. </a:t>
            </a:r>
            <a:endParaRPr lang="lt-LT" sz="1100" dirty="0">
              <a:solidFill>
                <a:prstClr val="black"/>
              </a:solidFill>
            </a:endParaRPr>
          </a:p>
        </p:txBody>
      </p:sp>
    </p:spTree>
    <p:extLst>
      <p:ext uri="{BB962C8B-B14F-4D97-AF65-F5344CB8AC3E}">
        <p14:creationId xmlns:p14="http://schemas.microsoft.com/office/powerpoint/2010/main" val="4467017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2983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00" name="think-cell Slide" r:id="rId100" imgW="270" imgH="270" progId="TCLayout.ActiveDocument.1">
                  <p:embed/>
                </p:oleObj>
              </mc:Choice>
              <mc:Fallback>
                <p:oleObj name="think-cell Slide" r:id="rId100" imgW="270" imgH="270" progId="TCLayout.ActiveDocument.1">
                  <p:embed/>
                  <p:pic>
                    <p:nvPicPr>
                      <p:cNvPr id="0" name=""/>
                      <p:cNvPicPr/>
                      <p:nvPr/>
                    </p:nvPicPr>
                    <p:blipFill>
                      <a:blip r:embed="rId10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251519" y="260648"/>
            <a:ext cx="8841395" cy="487362"/>
          </a:xfrm>
        </p:spPr>
        <p:txBody>
          <a:bodyPr>
            <a:noAutofit/>
          </a:bodyPr>
          <a:lstStyle/>
          <a:p>
            <a:r>
              <a:rPr lang="lt-LT" sz="2000" b="1" dirty="0">
                <a:solidFill>
                  <a:schemeClr val="tx2">
                    <a:lumMod val="75000"/>
                  </a:schemeClr>
                </a:solidFill>
              </a:rPr>
              <a:t>Didžioji dalis vartotojų nurodė vieną arba dvi kalbas, kuriosmis gali vykdyti projektus; dažniausiai tai buvo anglų ir lietuvių; kitos populiarios kalbos – vokiečių, rusių, lenkų</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907917993"/>
              </p:ext>
            </p:extLst>
          </p:nvPr>
        </p:nvGraphicFramePr>
        <p:xfrm>
          <a:off x="304800" y="1562101"/>
          <a:ext cx="3019559" cy="1409593"/>
        </p:xfrm>
        <a:graphic>
          <a:graphicData uri="http://schemas.openxmlformats.org/presentationml/2006/ole">
            <mc:AlternateContent xmlns:mc="http://schemas.openxmlformats.org/markup-compatibility/2006">
              <mc:Choice xmlns:v="urn:schemas-microsoft-com:vml" Requires="v">
                <p:oleObj spid="_x0000_s18501" name="Chart" r:id="rId102" imgW="3019451" imgH="1409635" progId="MSGraph.Chart.8">
                  <p:embed followColorScheme="full"/>
                </p:oleObj>
              </mc:Choice>
              <mc:Fallback>
                <p:oleObj name="Chart" r:id="rId102" imgW="3019451" imgH="1409635" progId="MSGraph.Chart.8">
                  <p:embed followColorScheme="full"/>
                  <p:pic>
                    <p:nvPicPr>
                      <p:cNvPr id="0" name=""/>
                      <p:cNvPicPr/>
                      <p:nvPr/>
                    </p:nvPicPr>
                    <p:blipFill>
                      <a:blip r:embed="rId103"/>
                      <a:stretch>
                        <a:fillRect/>
                      </a:stretch>
                    </p:blipFill>
                    <p:spPr>
                      <a:xfrm>
                        <a:off x="304800" y="1562101"/>
                        <a:ext cx="3019559" cy="1409593"/>
                      </a:xfrm>
                      <a:prstGeom prst="rect">
                        <a:avLst/>
                      </a:prstGeom>
                    </p:spPr>
                  </p:pic>
                </p:oleObj>
              </mc:Fallback>
            </mc:AlternateContent>
          </a:graphicData>
        </a:graphic>
      </p:graphicFrame>
      <p:sp>
        <p:nvSpPr>
          <p:cNvPr id="175" name="Rectangle 174"/>
          <p:cNvSpPr/>
          <p:nvPr>
            <p:custDataLst>
              <p:tags r:id="rId5"/>
            </p:custDataLst>
          </p:nvPr>
        </p:nvSpPr>
        <p:spPr bwMode="auto">
          <a:xfrm flipV="1">
            <a:off x="3000375" y="2984500"/>
            <a:ext cx="152400" cy="396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5C1C7B0-BF67-44FA-96B2-F030C70FA8BF}" type="datetime'''B''''u''lgar''''''''''''''''ų'''''''''''''''''''''''">
              <a:rPr lang="en-US" sz="1000">
                <a:solidFill>
                  <a:schemeClr val="tx1"/>
                </a:solidFill>
                <a:sym typeface="+mn-lt"/>
              </a:rPr>
              <a:pPr algn="r">
                <a:spcBef>
                  <a:spcPct val="0"/>
                </a:spcBef>
                <a:spcAft>
                  <a:spcPct val="0"/>
                </a:spcAft>
              </a:pPr>
              <a:t>Bulgarų</a:t>
            </a:fld>
            <a:endParaRPr lang="en-US" sz="1000">
              <a:solidFill>
                <a:schemeClr val="tx1"/>
              </a:solidFill>
              <a:sym typeface="+mn-lt"/>
            </a:endParaRPr>
          </a:p>
        </p:txBody>
      </p:sp>
      <p:sp>
        <p:nvSpPr>
          <p:cNvPr id="28" name="Rectangle 27"/>
          <p:cNvSpPr/>
          <p:nvPr>
            <p:custDataLst>
              <p:tags r:id="rId6"/>
            </p:custDataLst>
          </p:nvPr>
        </p:nvSpPr>
        <p:spPr bwMode="gray">
          <a:xfrm>
            <a:off x="2955925"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623FE9F-4F72-4F14-932F-7C51D511DAE3}"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EEC571D-3395-44BA-A799-C40433D35A92}" type="datetime'''''''''''''''''''''1''''''''''''''''''''''''''''''''4'''">
              <a:rPr lang="en-US" sz="1000" smtClean="0">
                <a:solidFill>
                  <a:schemeClr val="tx1"/>
                </a:solidFill>
                <a:sym typeface="+mn-lt"/>
              </a:rPr>
              <a:pPr algn="ctr">
                <a:spcBef>
                  <a:spcPct val="0"/>
                </a:spcBef>
                <a:spcAft>
                  <a:spcPct val="0"/>
                </a:spcAft>
              </a:pPr>
              <a:t>14</a:t>
            </a:fld>
            <a:r>
              <a:rPr lang="en-US" sz="1000" smtClean="0">
                <a:solidFill>
                  <a:schemeClr val="tx1"/>
                </a:solidFill>
                <a:sym typeface="+mn-lt"/>
              </a:rPr>
              <a:t>)</a:t>
            </a:r>
            <a:endParaRPr lang="en-US" sz="1000">
              <a:solidFill>
                <a:schemeClr val="tx1"/>
              </a:solidFill>
              <a:sym typeface="+mn-lt"/>
            </a:endParaRPr>
          </a:p>
        </p:txBody>
      </p:sp>
      <p:sp>
        <p:nvSpPr>
          <p:cNvPr id="174" name="Rectangle 173"/>
          <p:cNvSpPr/>
          <p:nvPr>
            <p:custDataLst>
              <p:tags r:id="rId7"/>
            </p:custDataLst>
          </p:nvPr>
        </p:nvSpPr>
        <p:spPr bwMode="auto">
          <a:xfrm flipV="1">
            <a:off x="2719388" y="2984500"/>
            <a:ext cx="152400" cy="2301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A964180-3FD1-44DC-9EAB-64599F9A396D}" type="datetime'''''''''''''''''I''''''''''''''''''''''''''''t''''''a''lų'">
              <a:rPr lang="en-US" sz="1000">
                <a:solidFill>
                  <a:schemeClr val="tx1"/>
                </a:solidFill>
                <a:sym typeface="+mn-lt"/>
              </a:rPr>
              <a:pPr algn="r">
                <a:spcBef>
                  <a:spcPct val="0"/>
                </a:spcBef>
                <a:spcAft>
                  <a:spcPct val="0"/>
                </a:spcAft>
              </a:pPr>
              <a:t>Italų</a:t>
            </a:fld>
            <a:endParaRPr lang="en-US" sz="1000">
              <a:solidFill>
                <a:schemeClr val="tx1"/>
              </a:solidFill>
              <a:sym typeface="+mn-lt"/>
            </a:endParaRPr>
          </a:p>
        </p:txBody>
      </p:sp>
      <p:sp>
        <p:nvSpPr>
          <p:cNvPr id="27" name="Rectangle 26"/>
          <p:cNvSpPr/>
          <p:nvPr>
            <p:custDataLst>
              <p:tags r:id="rId8"/>
            </p:custDataLst>
          </p:nvPr>
        </p:nvSpPr>
        <p:spPr bwMode="gray">
          <a:xfrm>
            <a:off x="2674938"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7732DD-0226-48DB-A8D9-E3F5F5E8F7AC}"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3E02108E-122E-44F0-B964-C4301D673A4A}" type="datetime'''''''''''''''''''''''''''1''''''''7'''''">
              <a:rPr lang="en-US" sz="1000" smtClean="0">
                <a:solidFill>
                  <a:schemeClr val="tx1"/>
                </a:solidFill>
                <a:sym typeface="+mn-lt"/>
              </a:rPr>
              <a:pPr algn="ct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173" name="Rectangle 172"/>
          <p:cNvSpPr/>
          <p:nvPr>
            <p:custDataLst>
              <p:tags r:id="rId9"/>
            </p:custDataLst>
          </p:nvPr>
        </p:nvSpPr>
        <p:spPr bwMode="auto">
          <a:xfrm flipV="1">
            <a:off x="2438400" y="2984500"/>
            <a:ext cx="152400" cy="341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65AAEC2-1A75-4A8C-AE8D-E1E0A9CDE299}" type="datetime'''I''s''''''p''a''n''''''''''''''ų'''''''''''''''''''">
              <a:rPr lang="en-US" sz="1000">
                <a:solidFill>
                  <a:schemeClr val="tx1"/>
                </a:solidFill>
                <a:sym typeface="+mn-lt"/>
              </a:rPr>
              <a:pPr algn="r">
                <a:spcBef>
                  <a:spcPct val="0"/>
                </a:spcBef>
                <a:spcAft>
                  <a:spcPct val="0"/>
                </a:spcAft>
              </a:pPr>
              <a:t>Ispanų</a:t>
            </a:fld>
            <a:endParaRPr lang="en-US" sz="1000">
              <a:solidFill>
                <a:schemeClr val="tx1"/>
              </a:solidFill>
              <a:sym typeface="+mn-lt"/>
            </a:endParaRPr>
          </a:p>
        </p:txBody>
      </p:sp>
      <p:sp>
        <p:nvSpPr>
          <p:cNvPr id="26" name="Rectangle 25"/>
          <p:cNvSpPr/>
          <p:nvPr>
            <p:custDataLst>
              <p:tags r:id="rId10"/>
            </p:custDataLst>
          </p:nvPr>
        </p:nvSpPr>
        <p:spPr bwMode="gray">
          <a:xfrm>
            <a:off x="2393950"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4860644-08B4-485B-B36D-850B49035A87}"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6A3242F-69BA-410E-8EED-F70F4C7A3F9F}" type="datetime'2''''''''''''''''''''''2'''''''''''''''''''''''">
              <a:rPr lang="en-US" sz="1000" smtClean="0">
                <a:solidFill>
                  <a:schemeClr val="tx1"/>
                </a:solidFill>
                <a:sym typeface="+mn-lt"/>
              </a:rPr>
              <a:pPr algn="ctr">
                <a:spcBef>
                  <a:spcPct val="0"/>
                </a:spcBef>
                <a:spcAft>
                  <a:spcPct val="0"/>
                </a:spcAft>
              </a:pPr>
              <a:t>22</a:t>
            </a:fld>
            <a:r>
              <a:rPr lang="en-US" sz="1000" smtClean="0">
                <a:solidFill>
                  <a:schemeClr val="tx1"/>
                </a:solidFill>
                <a:sym typeface="+mn-lt"/>
              </a:rPr>
              <a:t>)</a:t>
            </a:r>
            <a:endParaRPr lang="en-US" sz="1000">
              <a:solidFill>
                <a:schemeClr val="tx1"/>
              </a:solidFill>
              <a:sym typeface="+mn-lt"/>
            </a:endParaRPr>
          </a:p>
        </p:txBody>
      </p:sp>
      <p:sp>
        <p:nvSpPr>
          <p:cNvPr id="172" name="Rectangle 171"/>
          <p:cNvSpPr/>
          <p:nvPr>
            <p:custDataLst>
              <p:tags r:id="rId11"/>
            </p:custDataLst>
          </p:nvPr>
        </p:nvSpPr>
        <p:spPr bwMode="auto">
          <a:xfrm flipV="1">
            <a:off x="2162175" y="2984500"/>
            <a:ext cx="152400" cy="309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26D37C2-94E9-4510-97FE-B0120E7BCA47}" type="datetime'''''''''''''Lat''v''''''''''''ių'''''''''''''''''''''''''''''">
              <a:rPr lang="en-US" sz="1000">
                <a:solidFill>
                  <a:schemeClr val="tx1"/>
                </a:solidFill>
                <a:sym typeface="+mn-lt"/>
              </a:rPr>
              <a:pPr algn="r">
                <a:spcBef>
                  <a:spcPct val="0"/>
                </a:spcBef>
                <a:spcAft>
                  <a:spcPct val="0"/>
                </a:spcAft>
              </a:pPr>
              <a:t>Latvių</a:t>
            </a:fld>
            <a:endParaRPr lang="en-US" sz="1000">
              <a:solidFill>
                <a:schemeClr val="tx1"/>
              </a:solidFill>
              <a:sym typeface="+mn-lt"/>
            </a:endParaRPr>
          </a:p>
        </p:txBody>
      </p:sp>
      <p:sp>
        <p:nvSpPr>
          <p:cNvPr id="25" name="Rectangle 24"/>
          <p:cNvSpPr/>
          <p:nvPr>
            <p:custDataLst>
              <p:tags r:id="rId12"/>
            </p:custDataLst>
          </p:nvPr>
        </p:nvSpPr>
        <p:spPr bwMode="gray">
          <a:xfrm>
            <a:off x="2117725" y="251777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087A530-F369-474C-A048-01F85875789C}"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1331254-3306-418D-A1AC-4818DB638A37}" type="datetime'''''''''''''''''''''''''''''''''2''''5'''''''''''">
              <a:rPr lang="en-US" sz="1000" smtClean="0">
                <a:solidFill>
                  <a:schemeClr val="tx1"/>
                </a:solidFill>
                <a:sym typeface="+mn-lt"/>
              </a:rPr>
              <a:pPr algn="ctr">
                <a:spcBef>
                  <a:spcPct val="0"/>
                </a:spcBef>
                <a:spcAft>
                  <a:spcPct val="0"/>
                </a:spcAft>
              </a:pPr>
              <a:t>25</a:t>
            </a:fld>
            <a:r>
              <a:rPr lang="en-US" sz="1000" smtClean="0">
                <a:solidFill>
                  <a:schemeClr val="tx1"/>
                </a:solidFill>
                <a:sym typeface="+mn-lt"/>
              </a:rPr>
              <a:t>)</a:t>
            </a:r>
            <a:endParaRPr lang="en-US" sz="1000">
              <a:solidFill>
                <a:schemeClr val="tx1"/>
              </a:solidFill>
              <a:sym typeface="+mn-lt"/>
            </a:endParaRPr>
          </a:p>
        </p:txBody>
      </p:sp>
      <p:sp>
        <p:nvSpPr>
          <p:cNvPr id="171" name="Rectangle 170"/>
          <p:cNvSpPr/>
          <p:nvPr>
            <p:custDataLst>
              <p:tags r:id="rId13"/>
            </p:custDataLst>
          </p:nvPr>
        </p:nvSpPr>
        <p:spPr bwMode="auto">
          <a:xfrm flipV="1">
            <a:off x="1885950" y="2984500"/>
            <a:ext cx="152400" cy="47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010C9E6-F506-4AD5-A5C5-EAB1B72C4E76}" type="datetime'''''P''''''''''''r''''a''n''''''c''ū''''z''''''ų'''''''''''''">
              <a:rPr lang="en-US" sz="1000">
                <a:solidFill>
                  <a:schemeClr val="tx1"/>
                </a:solidFill>
                <a:sym typeface="+mn-lt"/>
              </a:rPr>
              <a:pPr algn="r">
                <a:spcBef>
                  <a:spcPct val="0"/>
                </a:spcBef>
                <a:spcAft>
                  <a:spcPct val="0"/>
                </a:spcAft>
              </a:pPr>
              <a:t>Prancūzų</a:t>
            </a:fld>
            <a:endParaRPr lang="en-US" sz="1000" dirty="0">
              <a:solidFill>
                <a:schemeClr val="tx1"/>
              </a:solidFill>
              <a:sym typeface="+mn-lt"/>
            </a:endParaRPr>
          </a:p>
        </p:txBody>
      </p:sp>
      <p:sp>
        <p:nvSpPr>
          <p:cNvPr id="23" name="Rectangle 22"/>
          <p:cNvSpPr/>
          <p:nvPr>
            <p:custDataLst>
              <p:tags r:id="rId14"/>
            </p:custDataLst>
          </p:nvPr>
        </p:nvSpPr>
        <p:spPr bwMode="gray">
          <a:xfrm>
            <a:off x="1809750" y="24606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253BC6F-DCB2-4A4E-A0D1-DB81C1BADD30}" type="datetime'''''''''''''''''''''''''''''''''''''''''''5''''''%'''">
              <a:rPr lang="en-US" sz="1000">
                <a:solidFill>
                  <a:schemeClr val="tx1"/>
                </a:solidFill>
                <a:sym typeface="+mn-lt"/>
              </a:rPr>
              <a:pPr algn="ctr">
                <a:spcBef>
                  <a:spcPct val="0"/>
                </a:spcBef>
                <a:spcAft>
                  <a:spcPct val="0"/>
                </a:spcAft>
              </a:pPr>
              <a:t>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79EA03B-F255-4908-8EC9-32CB8A925561}" type="datetime'''''''''''''''''''1''''''''2''''''''3'">
              <a:rPr lang="en-US" sz="1000" smtClean="0">
                <a:solidFill>
                  <a:schemeClr val="tx1"/>
                </a:solidFill>
                <a:sym typeface="+mn-lt"/>
              </a:rPr>
              <a:pPr algn="ctr">
                <a:spcBef>
                  <a:spcPct val="0"/>
                </a:spcBef>
                <a:spcAft>
                  <a:spcPct val="0"/>
                </a:spcAft>
              </a:pPr>
              <a:t>123</a:t>
            </a:fld>
            <a:r>
              <a:rPr lang="en-US" sz="1000" smtClean="0">
                <a:solidFill>
                  <a:schemeClr val="tx1"/>
                </a:solidFill>
                <a:sym typeface="+mn-lt"/>
              </a:rPr>
              <a:t>)</a:t>
            </a:r>
            <a:endParaRPr lang="en-US" sz="1000">
              <a:solidFill>
                <a:schemeClr val="tx1"/>
              </a:solidFill>
              <a:sym typeface="+mn-lt"/>
            </a:endParaRPr>
          </a:p>
        </p:txBody>
      </p:sp>
      <p:sp>
        <p:nvSpPr>
          <p:cNvPr id="170" name="Rectangle 169"/>
          <p:cNvSpPr/>
          <p:nvPr>
            <p:custDataLst>
              <p:tags r:id="rId15"/>
            </p:custDataLst>
          </p:nvPr>
        </p:nvSpPr>
        <p:spPr bwMode="auto">
          <a:xfrm flipV="1">
            <a:off x="1604963" y="2984500"/>
            <a:ext cx="152400" cy="307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CB460B1-76F1-4E73-B76E-38F82441AF3A}" type="datetime'''''''''''''''Le''n''''kų'''''''''''''''''''''''''''">
              <a:rPr lang="en-US" sz="1000">
                <a:solidFill>
                  <a:schemeClr val="tx1"/>
                </a:solidFill>
                <a:sym typeface="+mn-lt"/>
              </a:rPr>
              <a:pPr algn="r">
                <a:spcBef>
                  <a:spcPct val="0"/>
                </a:spcBef>
                <a:spcAft>
                  <a:spcPct val="0"/>
                </a:spcAft>
              </a:pPr>
              <a:t>Lenkų</a:t>
            </a:fld>
            <a:endParaRPr lang="en-US" sz="1000">
              <a:solidFill>
                <a:schemeClr val="tx1"/>
              </a:solidFill>
              <a:sym typeface="+mn-lt"/>
            </a:endParaRPr>
          </a:p>
        </p:txBody>
      </p:sp>
      <p:sp>
        <p:nvSpPr>
          <p:cNvPr id="22" name="Rectangle 21"/>
          <p:cNvSpPr/>
          <p:nvPr>
            <p:custDataLst>
              <p:tags r:id="rId16"/>
            </p:custDataLst>
          </p:nvPr>
        </p:nvSpPr>
        <p:spPr bwMode="gray">
          <a:xfrm>
            <a:off x="1493838" y="24225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2EC88C5-28C2-46D2-BE12-25C152B1AF5E}" type="datetime'''''''''''''''''''8''''''''''%'''''''''''''''''">
              <a:rPr lang="en-US" sz="1000">
                <a:solidFill>
                  <a:schemeClr val="tx1"/>
                </a:solidFill>
                <a:sym typeface="+mn-lt"/>
              </a:rPr>
              <a:pPr algn="ctr">
                <a:spcBef>
                  <a:spcPct val="0"/>
                </a:spcBef>
                <a:spcAft>
                  <a:spcPct val="0"/>
                </a:spcAft>
              </a:pPr>
              <a:t>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E4F704C-98BB-4E52-A35B-DF55FA538892}" type="datetime'''''''''''''2''''0''''''''''''''''''''1'''''''''''">
              <a:rPr lang="en-US" sz="1000" smtClean="0">
                <a:solidFill>
                  <a:schemeClr val="tx1"/>
                </a:solidFill>
                <a:sym typeface="+mn-lt"/>
              </a:rPr>
              <a:pPr algn="ctr">
                <a:spcBef>
                  <a:spcPct val="0"/>
                </a:spcBef>
                <a:spcAft>
                  <a:spcPct val="0"/>
                </a:spcAft>
              </a:pPr>
              <a:t>201</a:t>
            </a:fld>
            <a:r>
              <a:rPr lang="en-US" sz="1000" smtClean="0">
                <a:solidFill>
                  <a:schemeClr val="tx1"/>
                </a:solidFill>
                <a:sym typeface="+mn-lt"/>
              </a:rPr>
              <a:t>)</a:t>
            </a:r>
            <a:endParaRPr lang="en-US" sz="1000">
              <a:solidFill>
                <a:schemeClr val="tx1"/>
              </a:solidFill>
              <a:sym typeface="+mn-lt"/>
            </a:endParaRPr>
          </a:p>
        </p:txBody>
      </p:sp>
      <p:sp>
        <p:nvSpPr>
          <p:cNvPr id="169" name="Rectangle 168"/>
          <p:cNvSpPr/>
          <p:nvPr>
            <p:custDataLst>
              <p:tags r:id="rId17"/>
            </p:custDataLst>
          </p:nvPr>
        </p:nvSpPr>
        <p:spPr bwMode="auto">
          <a:xfrm flipV="1">
            <a:off x="1323975" y="2984500"/>
            <a:ext cx="152400" cy="250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19B167F-64F8-437A-9654-85DD96530581}" type="datetime'''''''''''''''''''''''''''''R''''''''''''''u''s''''ų'">
              <a:rPr lang="en-US" sz="1000">
                <a:solidFill>
                  <a:schemeClr val="tx1"/>
                </a:solidFill>
                <a:sym typeface="+mn-lt"/>
              </a:rPr>
              <a:pPr algn="r">
                <a:spcBef>
                  <a:spcPct val="0"/>
                </a:spcBef>
                <a:spcAft>
                  <a:spcPct val="0"/>
                </a:spcAft>
              </a:pPr>
              <a:t>Rusų</a:t>
            </a:fld>
            <a:endParaRPr lang="en-US" sz="1000">
              <a:solidFill>
                <a:schemeClr val="tx1"/>
              </a:solidFill>
              <a:sym typeface="+mn-lt"/>
            </a:endParaRPr>
          </a:p>
        </p:txBody>
      </p:sp>
      <p:sp>
        <p:nvSpPr>
          <p:cNvPr id="21" name="Rectangle 20"/>
          <p:cNvSpPr/>
          <p:nvPr>
            <p:custDataLst>
              <p:tags r:id="rId18"/>
            </p:custDataLst>
          </p:nvPr>
        </p:nvSpPr>
        <p:spPr bwMode="gray">
          <a:xfrm>
            <a:off x="1193800" y="23558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199975C-9D73-4328-B073-66B6155CEBDC}" type="datetime'''''''''''''''''''''''''''''''''''''''''12''%'''''''''">
              <a:rPr lang="en-US" sz="1000">
                <a:solidFill>
                  <a:schemeClr val="tx1"/>
                </a:solidFill>
                <a:sym typeface="+mn-lt"/>
              </a:rPr>
              <a:pPr algn="ctr">
                <a:spcBef>
                  <a:spcPct val="0"/>
                </a:spcBef>
                <a:spcAft>
                  <a:spcPct val="0"/>
                </a:spcAft>
              </a:pPr>
              <a:t>1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E7CBDFD-C08D-4F11-B4D4-6D4938AF4272}" type="datetime'''''''''''3''''''''''''''''''''1''''''''''1'''''">
              <a:rPr lang="en-US" sz="1000" smtClean="0">
                <a:solidFill>
                  <a:schemeClr val="tx1"/>
                </a:solidFill>
                <a:sym typeface="+mn-lt"/>
              </a:rPr>
              <a:pPr algn="ctr">
                <a:spcBef>
                  <a:spcPct val="0"/>
                </a:spcBef>
                <a:spcAft>
                  <a:spcPct val="0"/>
                </a:spcAft>
              </a:pPr>
              <a:t>311</a:t>
            </a:fld>
            <a:r>
              <a:rPr lang="en-US" sz="1000" smtClean="0">
                <a:solidFill>
                  <a:schemeClr val="tx1"/>
                </a:solidFill>
                <a:sym typeface="+mn-lt"/>
              </a:rPr>
              <a:t>)</a:t>
            </a:r>
            <a:endParaRPr lang="en-US" sz="1000">
              <a:solidFill>
                <a:schemeClr val="tx1"/>
              </a:solidFill>
              <a:sym typeface="+mn-lt"/>
            </a:endParaRPr>
          </a:p>
        </p:txBody>
      </p:sp>
      <p:sp>
        <p:nvSpPr>
          <p:cNvPr id="168" name="Rectangle 167"/>
          <p:cNvSpPr/>
          <p:nvPr>
            <p:custDataLst>
              <p:tags r:id="rId19"/>
            </p:custDataLst>
          </p:nvPr>
        </p:nvSpPr>
        <p:spPr bwMode="auto">
          <a:xfrm flipV="1">
            <a:off x="1047750" y="298450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FEB183B-E48C-412B-B095-718CC1B92345}" type="datetime'''''''''''V''''''''o''k''ie''''č''''''''''i''ų'">
              <a:rPr lang="en-US" sz="1000">
                <a:solidFill>
                  <a:schemeClr val="tx1"/>
                </a:solidFill>
                <a:sym typeface="+mn-lt"/>
              </a:rPr>
              <a:pPr algn="r">
                <a:spcBef>
                  <a:spcPct val="0"/>
                </a:spcBef>
                <a:spcAft>
                  <a:spcPct val="0"/>
                </a:spcAft>
              </a:pPr>
              <a:t>Vokiečių</a:t>
            </a:fld>
            <a:endParaRPr lang="en-US" sz="1000">
              <a:solidFill>
                <a:schemeClr val="tx1"/>
              </a:solidFill>
              <a:sym typeface="+mn-lt"/>
            </a:endParaRPr>
          </a:p>
        </p:txBody>
      </p:sp>
      <p:sp useBgFill="1">
        <p:nvSpPr>
          <p:cNvPr id="20" name="Rectangle 19"/>
          <p:cNvSpPr/>
          <p:nvPr>
            <p:custDataLst>
              <p:tags r:id="rId20"/>
            </p:custDataLst>
          </p:nvPr>
        </p:nvSpPr>
        <p:spPr bwMode="gray">
          <a:xfrm>
            <a:off x="860425" y="2327275"/>
            <a:ext cx="306388" cy="304800"/>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CC92B88-C3E8-4B6B-9893-A77AF6F39319}" type="datetime'''''''''''''''14''''''%'''''''''''''''">
              <a:rPr lang="en-US" sz="1000">
                <a:solidFill>
                  <a:schemeClr val="tx1"/>
                </a:solidFill>
                <a:sym typeface="+mn-lt"/>
              </a:rPr>
              <a:pPr algn="ctr">
                <a:spcBef>
                  <a:spcPct val="0"/>
                </a:spcBef>
                <a:spcAft>
                  <a:spcPct val="0"/>
                </a:spcAft>
              </a:pPr>
              <a:t>1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5DCD9742-E8B9-4F4E-A7F9-96CE97C8661F}" type="datetime'''''''''''3''''''5''''''''''''''''''''''''''''''''''3'''''''">
              <a:rPr lang="en-US" sz="1000" smtClean="0">
                <a:solidFill>
                  <a:schemeClr val="tx1"/>
                </a:solidFill>
                <a:sym typeface="+mn-lt"/>
              </a:rPr>
              <a:pPr algn="ctr">
                <a:spcBef>
                  <a:spcPct val="0"/>
                </a:spcBef>
                <a:spcAft>
                  <a:spcPct val="0"/>
                </a:spcAft>
              </a:pPr>
              <a:t>353</a:t>
            </a:fld>
            <a:r>
              <a:rPr lang="en-US" sz="1000" smtClean="0">
                <a:solidFill>
                  <a:schemeClr val="tx1"/>
                </a:solidFill>
                <a:sym typeface="+mn-lt"/>
              </a:rPr>
              <a:t>)</a:t>
            </a:r>
            <a:endParaRPr lang="en-US" sz="1000">
              <a:solidFill>
                <a:schemeClr val="tx1"/>
              </a:solidFill>
              <a:sym typeface="+mn-lt"/>
            </a:endParaRPr>
          </a:p>
        </p:txBody>
      </p:sp>
      <p:sp>
        <p:nvSpPr>
          <p:cNvPr id="167" name="Rectangle 166"/>
          <p:cNvSpPr/>
          <p:nvPr>
            <p:custDataLst>
              <p:tags r:id="rId21"/>
            </p:custDataLst>
          </p:nvPr>
        </p:nvSpPr>
        <p:spPr bwMode="auto">
          <a:xfrm flipV="1">
            <a:off x="766763" y="298450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2E70A8F-834A-426E-B1C1-7D5461672307}" type="datetime'''''''''''''''''L''''''ie''''''tu''v''''''''''''ių'">
              <a:rPr lang="en-US" sz="1000">
                <a:solidFill>
                  <a:schemeClr val="tx1"/>
                </a:solidFill>
                <a:sym typeface="+mn-lt"/>
              </a:rPr>
              <a:pPr algn="r">
                <a:spcBef>
                  <a:spcPct val="0"/>
                </a:spcBef>
                <a:spcAft>
                  <a:spcPct val="0"/>
                </a:spcAft>
              </a:pPr>
              <a:t>Lietuvių</a:t>
            </a:fld>
            <a:endParaRPr lang="en-US" sz="1000">
              <a:solidFill>
                <a:schemeClr val="tx1"/>
              </a:solidFill>
              <a:sym typeface="+mn-lt"/>
            </a:endParaRPr>
          </a:p>
        </p:txBody>
      </p:sp>
      <p:sp>
        <p:nvSpPr>
          <p:cNvPr id="19" name="Rectangle 18"/>
          <p:cNvSpPr/>
          <p:nvPr>
            <p:custDataLst>
              <p:tags r:id="rId22"/>
            </p:custDataLst>
          </p:nvPr>
        </p:nvSpPr>
        <p:spPr bwMode="gray">
          <a:xfrm>
            <a:off x="641350" y="15176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3D7B966-3E68-4BBC-A88F-19AFB1C8E74D}" type="datetime'''''''''''''''''''''''''''''''''68''''''''%'''''''''''">
              <a:rPr lang="en-US" sz="1000">
                <a:solidFill>
                  <a:schemeClr val="tx1"/>
                </a:solidFill>
                <a:sym typeface="+mn-lt"/>
              </a:rPr>
              <a:pPr algn="ctr">
                <a:spcBef>
                  <a:spcPct val="0"/>
                </a:spcBef>
                <a:spcAft>
                  <a:spcPct val="0"/>
                </a:spcAft>
              </a:pPr>
              <a:t>6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7B08AD2-5306-43F3-8D70-A16FA5667C5E}" type="datetime'1''''''''''.''''''''''''''''''7''''''2''3'''''''''">
              <a:rPr lang="en-US" sz="1000" smtClean="0">
                <a:solidFill>
                  <a:schemeClr val="tx1"/>
                </a:solidFill>
                <a:sym typeface="+mn-lt"/>
              </a:rPr>
              <a:pPr algn="ctr">
                <a:spcBef>
                  <a:spcPct val="0"/>
                </a:spcBef>
                <a:spcAft>
                  <a:spcPct val="0"/>
                </a:spcAft>
              </a:pPr>
              <a:t>1.723</a:t>
            </a:fld>
            <a:r>
              <a:rPr lang="en-US" sz="1000" smtClean="0">
                <a:solidFill>
                  <a:schemeClr val="tx1"/>
                </a:solidFill>
                <a:sym typeface="+mn-lt"/>
              </a:rPr>
              <a:t>)</a:t>
            </a:r>
            <a:endParaRPr lang="en-US" sz="1000">
              <a:solidFill>
                <a:schemeClr val="tx1"/>
              </a:solidFill>
              <a:sym typeface="+mn-lt"/>
            </a:endParaRPr>
          </a:p>
        </p:txBody>
      </p:sp>
      <p:sp>
        <p:nvSpPr>
          <p:cNvPr id="166" name="Rectangle 165"/>
          <p:cNvSpPr/>
          <p:nvPr>
            <p:custDataLst>
              <p:tags r:id="rId23"/>
            </p:custDataLst>
          </p:nvPr>
        </p:nvSpPr>
        <p:spPr bwMode="auto">
          <a:xfrm flipV="1">
            <a:off x="485775" y="2984500"/>
            <a:ext cx="152400" cy="295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004BEE3-D033-43ED-88B2-39C567D37587}" type="datetime'''''''An''''g''''''''l''''''''''''''''''''''''''''ų'''''''">
              <a:rPr lang="en-US" sz="1000">
                <a:solidFill>
                  <a:schemeClr val="tx1"/>
                </a:solidFill>
                <a:sym typeface="+mn-lt"/>
              </a:rPr>
              <a:pPr algn="r">
                <a:spcBef>
                  <a:spcPct val="0"/>
                </a:spcBef>
                <a:spcAft>
                  <a:spcPct val="0"/>
                </a:spcAft>
              </a:pPr>
              <a:t>Anglų</a:t>
            </a:fld>
            <a:endParaRPr lang="en-US" sz="1000" dirty="0">
              <a:solidFill>
                <a:schemeClr val="tx1"/>
              </a:solidFill>
              <a:sym typeface="+mn-lt"/>
            </a:endParaRPr>
          </a:p>
        </p:txBody>
      </p:sp>
      <p:sp>
        <p:nvSpPr>
          <p:cNvPr id="18" name="Rectangle 17"/>
          <p:cNvSpPr/>
          <p:nvPr>
            <p:custDataLst>
              <p:tags r:id="rId24"/>
            </p:custDataLst>
          </p:nvPr>
        </p:nvSpPr>
        <p:spPr bwMode="gray">
          <a:xfrm>
            <a:off x="228600" y="13557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B0817B9-DD44-4F18-B170-3F6514E17F4D}" type="datetime'''''''''7''''''''''''''''''''''''''''''''9%'">
              <a:rPr lang="en-US" sz="1000">
                <a:solidFill>
                  <a:schemeClr val="tx1"/>
                </a:solidFill>
                <a:latin typeface="Calibri"/>
                <a:sym typeface="Calibri"/>
              </a:rPr>
              <a:pPr algn="ctr">
                <a:spcBef>
                  <a:spcPct val="0"/>
                </a:spcBef>
                <a:spcAft>
                  <a:spcPct val="0"/>
                </a:spcAft>
              </a:pPr>
              <a:t>7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000E1B2-6464-4D81-A95C-A2CA82AAE375}" type="datetime'2''''''''''''.''''''0''''0''''''''''''''''''''''''1'''''''">
              <a:rPr lang="en-US" sz="1000" smtClean="0">
                <a:solidFill>
                  <a:schemeClr val="tx1"/>
                </a:solidFill>
                <a:latin typeface="Calibri"/>
                <a:sym typeface="Calibri"/>
              </a:rPr>
              <a:pPr algn="ctr">
                <a:spcBef>
                  <a:spcPct val="0"/>
                </a:spcBef>
                <a:spcAft>
                  <a:spcPct val="0"/>
                </a:spcAft>
              </a:pPr>
              <a:t>2.00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89" name="Rectangle 188"/>
          <p:cNvSpPr/>
          <p:nvPr/>
        </p:nvSpPr>
        <p:spPr>
          <a:xfrm>
            <a:off x="171833" y="1016000"/>
            <a:ext cx="4109655"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skaičiaus pasiskirstymas kalbą, proc.</a:t>
            </a:r>
            <a:endParaRPr lang="lt-LT" sz="1200" dirty="0">
              <a:solidFill>
                <a:schemeClr val="bg1"/>
              </a:solidFill>
              <a:cs typeface="Cambria"/>
            </a:endParaRPr>
          </a:p>
        </p:txBody>
      </p:sp>
      <p:sp>
        <p:nvSpPr>
          <p:cNvPr id="190" name="Rectangle 189"/>
          <p:cNvSpPr/>
          <p:nvPr/>
        </p:nvSpPr>
        <p:spPr>
          <a:xfrm>
            <a:off x="171833" y="1303338"/>
            <a:ext cx="4109655" cy="238421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16" name="Rectangle 215"/>
          <p:cNvSpPr/>
          <p:nvPr/>
        </p:nvSpPr>
        <p:spPr>
          <a:xfrm>
            <a:off x="4427538" y="1304925"/>
            <a:ext cx="4500946" cy="238263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60" name="TextBox 259"/>
          <p:cNvSpPr txBox="1"/>
          <p:nvPr/>
        </p:nvSpPr>
        <p:spPr>
          <a:xfrm>
            <a:off x="3311525" y="1296988"/>
            <a:ext cx="944563" cy="2400657"/>
          </a:xfrm>
          <a:prstGeom prst="rect">
            <a:avLst/>
          </a:prstGeom>
          <a:noFill/>
        </p:spPr>
        <p:txBody>
          <a:bodyPr wrap="square" rtlCol="0">
            <a:spAutoFit/>
          </a:bodyPr>
          <a:lstStyle/>
          <a:p>
            <a:r>
              <a:rPr lang="lt-LT" sz="1000" dirty="0" smtClean="0">
                <a:solidFill>
                  <a:schemeClr val="accent2">
                    <a:lumMod val="50000"/>
                  </a:schemeClr>
                </a:solidFill>
              </a:rPr>
              <a:t>Slovakų (9)</a:t>
            </a:r>
          </a:p>
          <a:p>
            <a:r>
              <a:rPr lang="lt-LT" sz="1000" b="1" dirty="0" smtClean="0"/>
              <a:t>Švedų</a:t>
            </a:r>
            <a:r>
              <a:rPr lang="lt-LT" sz="1000" b="1" dirty="0"/>
              <a:t> (9)</a:t>
            </a:r>
            <a:endParaRPr lang="lt-LT" sz="1000" b="1" dirty="0" smtClean="0"/>
          </a:p>
          <a:p>
            <a:r>
              <a:rPr lang="lt-LT" sz="1000" b="1" dirty="0" smtClean="0"/>
              <a:t>Danų</a:t>
            </a:r>
            <a:r>
              <a:rPr lang="lt-LT" sz="1000" b="1" dirty="0"/>
              <a:t> (6) </a:t>
            </a:r>
            <a:endParaRPr lang="lt-LT" sz="1000" b="1" dirty="0" smtClean="0"/>
          </a:p>
          <a:p>
            <a:r>
              <a:rPr lang="lt-LT" sz="1000" b="1" dirty="0" smtClean="0"/>
              <a:t>Norvegų (6)</a:t>
            </a:r>
          </a:p>
          <a:p>
            <a:r>
              <a:rPr lang="lt-LT" sz="1000" b="1" dirty="0" smtClean="0"/>
              <a:t>Portugalų</a:t>
            </a:r>
            <a:r>
              <a:rPr lang="lt-LT" sz="1000" b="1" dirty="0"/>
              <a:t> (6)</a:t>
            </a:r>
            <a:endParaRPr lang="lt-LT" sz="1000" b="1" dirty="0" smtClean="0"/>
          </a:p>
          <a:p>
            <a:r>
              <a:rPr lang="lt-LT" sz="1000" dirty="0" smtClean="0">
                <a:solidFill>
                  <a:schemeClr val="accent2">
                    <a:lumMod val="50000"/>
                  </a:schemeClr>
                </a:solidFill>
              </a:rPr>
              <a:t>Maltiečių</a:t>
            </a:r>
            <a:r>
              <a:rPr lang="lt-LT" sz="1000" dirty="0">
                <a:solidFill>
                  <a:schemeClr val="accent2">
                    <a:lumMod val="50000"/>
                  </a:schemeClr>
                </a:solidFill>
              </a:rPr>
              <a:t> </a:t>
            </a:r>
            <a:r>
              <a:rPr lang="lt-LT" sz="1000" dirty="0" smtClean="0">
                <a:solidFill>
                  <a:schemeClr val="accent2">
                    <a:lumMod val="50000"/>
                  </a:schemeClr>
                </a:solidFill>
              </a:rPr>
              <a:t>(3)</a:t>
            </a:r>
          </a:p>
          <a:p>
            <a:r>
              <a:rPr lang="lt-LT" sz="1000" dirty="0" smtClean="0">
                <a:solidFill>
                  <a:schemeClr val="accent2">
                    <a:lumMod val="50000"/>
                  </a:schemeClr>
                </a:solidFill>
              </a:rPr>
              <a:t>Rumun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b="1" dirty="0" smtClean="0"/>
              <a:t>Slovėnų </a:t>
            </a:r>
            <a:r>
              <a:rPr lang="lt-LT" sz="1000" b="1" dirty="0"/>
              <a:t>(3)</a:t>
            </a:r>
            <a:endParaRPr lang="lt-LT" sz="1000" b="1" dirty="0" smtClean="0"/>
          </a:p>
          <a:p>
            <a:r>
              <a:rPr lang="lt-LT" sz="1000" dirty="0" smtClean="0">
                <a:solidFill>
                  <a:schemeClr val="accent2">
                    <a:lumMod val="50000"/>
                  </a:schemeClr>
                </a:solidFill>
              </a:rPr>
              <a:t>Turk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dirty="0" smtClean="0">
                <a:solidFill>
                  <a:schemeClr val="accent2">
                    <a:lumMod val="50000"/>
                  </a:schemeClr>
                </a:solidFill>
              </a:rPr>
              <a:t>Suomi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dirty="0" smtClean="0">
                <a:solidFill>
                  <a:schemeClr val="accent2">
                    <a:lumMod val="50000"/>
                  </a:schemeClr>
                </a:solidFill>
              </a:rPr>
              <a:t>Čekų</a:t>
            </a:r>
            <a:r>
              <a:rPr lang="lt-LT" sz="1000" dirty="0">
                <a:solidFill>
                  <a:schemeClr val="accent2">
                    <a:lumMod val="50000"/>
                  </a:schemeClr>
                </a:solidFill>
              </a:rPr>
              <a:t> </a:t>
            </a:r>
            <a:r>
              <a:rPr lang="lt-LT" sz="1000" dirty="0" smtClean="0">
                <a:solidFill>
                  <a:schemeClr val="accent2">
                    <a:lumMod val="50000"/>
                  </a:schemeClr>
                </a:solidFill>
              </a:rPr>
              <a:t>(2)</a:t>
            </a:r>
          </a:p>
          <a:p>
            <a:r>
              <a:rPr lang="lt-LT" sz="1000" dirty="0" smtClean="0">
                <a:solidFill>
                  <a:schemeClr val="accent2">
                    <a:lumMod val="50000"/>
                  </a:schemeClr>
                </a:solidFill>
              </a:rPr>
              <a:t>Vengrų</a:t>
            </a:r>
            <a:r>
              <a:rPr lang="lt-LT" sz="1000" dirty="0">
                <a:solidFill>
                  <a:schemeClr val="accent2">
                    <a:lumMod val="50000"/>
                  </a:schemeClr>
                </a:solidFill>
              </a:rPr>
              <a:t> (2)</a:t>
            </a:r>
            <a:endParaRPr lang="lt-LT" sz="1000" dirty="0" smtClean="0">
              <a:solidFill>
                <a:schemeClr val="accent2">
                  <a:lumMod val="50000"/>
                </a:schemeClr>
              </a:solidFill>
            </a:endParaRPr>
          </a:p>
          <a:p>
            <a:r>
              <a:rPr lang="lt-LT" sz="1000" dirty="0" smtClean="0">
                <a:solidFill>
                  <a:schemeClr val="accent2">
                    <a:lumMod val="50000"/>
                  </a:schemeClr>
                </a:solidFill>
              </a:rPr>
              <a:t>Estų (1)</a:t>
            </a:r>
          </a:p>
          <a:p>
            <a:r>
              <a:rPr lang="lt-LT" sz="1000" dirty="0" smtClean="0">
                <a:solidFill>
                  <a:schemeClr val="accent2">
                    <a:lumMod val="50000"/>
                  </a:schemeClr>
                </a:solidFill>
              </a:rPr>
              <a:t>Graikų</a:t>
            </a:r>
            <a:r>
              <a:rPr lang="lt-LT" sz="1000" dirty="0">
                <a:solidFill>
                  <a:schemeClr val="accent2">
                    <a:lumMod val="50000"/>
                  </a:schemeClr>
                </a:solidFill>
              </a:rPr>
              <a:t> (1)</a:t>
            </a:r>
            <a:endParaRPr lang="lt-LT" sz="1000" dirty="0" smtClean="0">
              <a:solidFill>
                <a:schemeClr val="accent2">
                  <a:lumMod val="50000"/>
                </a:schemeClr>
              </a:solidFill>
            </a:endParaRPr>
          </a:p>
          <a:p>
            <a:r>
              <a:rPr lang="lt-LT" sz="1000" dirty="0" smtClean="0">
                <a:solidFill>
                  <a:schemeClr val="accent2">
                    <a:lumMod val="50000"/>
                  </a:schemeClr>
                </a:solidFill>
              </a:rPr>
              <a:t>Olandų</a:t>
            </a:r>
            <a:r>
              <a:rPr lang="lt-LT" sz="1000" dirty="0">
                <a:solidFill>
                  <a:schemeClr val="accent2">
                    <a:lumMod val="50000"/>
                  </a:schemeClr>
                </a:solidFill>
              </a:rPr>
              <a:t> (1)</a:t>
            </a:r>
            <a:endParaRPr lang="lt-LT" sz="1000" dirty="0" smtClean="0">
              <a:solidFill>
                <a:schemeClr val="accent2">
                  <a:lumMod val="50000"/>
                </a:schemeClr>
              </a:solidFill>
            </a:endParaRPr>
          </a:p>
        </p:txBody>
      </p:sp>
      <p:graphicFrame>
        <p:nvGraphicFramePr>
          <p:cNvPr id="261" name="Object 260"/>
          <p:cNvGraphicFramePr>
            <a:graphicFrameLocks/>
          </p:cNvGraphicFramePr>
          <p:nvPr>
            <p:custDataLst>
              <p:tags r:id="rId25"/>
            </p:custDataLst>
            <p:extLst>
              <p:ext uri="{D42A27DB-BD31-4B8C-83A1-F6EECF244321}">
                <p14:modId xmlns:p14="http://schemas.microsoft.com/office/powerpoint/2010/main" val="973570005"/>
              </p:ext>
            </p:extLst>
          </p:nvPr>
        </p:nvGraphicFramePr>
        <p:xfrm>
          <a:off x="3009900" y="4229100"/>
          <a:ext cx="1381017" cy="2104942"/>
        </p:xfrm>
        <a:graphic>
          <a:graphicData uri="http://schemas.openxmlformats.org/presentationml/2006/ole">
            <mc:AlternateContent xmlns:mc="http://schemas.openxmlformats.org/markup-compatibility/2006">
              <mc:Choice xmlns:v="urn:schemas-microsoft-com:vml" Requires="v">
                <p:oleObj spid="_x0000_s18502" name="Chart" r:id="rId104" imgW="1381253" imgH="2105149" progId="MSGraph.Chart.8">
                  <p:embed followColorScheme="full"/>
                </p:oleObj>
              </mc:Choice>
              <mc:Fallback>
                <p:oleObj name="Chart" r:id="rId104" imgW="1381253" imgH="2105149" progId="MSGraph.Chart.8">
                  <p:embed followColorScheme="full"/>
                  <p:pic>
                    <p:nvPicPr>
                      <p:cNvPr id="0" name=""/>
                      <p:cNvPicPr/>
                      <p:nvPr/>
                    </p:nvPicPr>
                    <p:blipFill>
                      <a:blip r:embed="rId105"/>
                      <a:stretch>
                        <a:fillRect/>
                      </a:stretch>
                    </p:blipFill>
                    <p:spPr>
                      <a:xfrm>
                        <a:off x="3009900" y="4229100"/>
                        <a:ext cx="1381017" cy="2104942"/>
                      </a:xfrm>
                      <a:prstGeom prst="rect">
                        <a:avLst/>
                      </a:prstGeom>
                    </p:spPr>
                  </p:pic>
                </p:oleObj>
              </mc:Fallback>
            </mc:AlternateContent>
          </a:graphicData>
        </a:graphic>
      </p:graphicFrame>
      <p:sp>
        <p:nvSpPr>
          <p:cNvPr id="276" name="Rectangle 275"/>
          <p:cNvSpPr/>
          <p:nvPr>
            <p:custDataLst>
              <p:tags r:id="rId26"/>
            </p:custDataLst>
          </p:nvPr>
        </p:nvSpPr>
        <p:spPr bwMode="auto">
          <a:xfrm>
            <a:off x="2811463" y="6048375"/>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41BB1B0-A221-4E9B-810D-2D74A4BE3C0C}" type="datetime'''I''''''t''''''''''''''a''''''''''l''''''''''''''ų'''''">
              <a:rPr lang="en-US" sz="1000">
                <a:solidFill>
                  <a:schemeClr val="tx1"/>
                </a:solidFill>
                <a:sym typeface="+mn-lt"/>
              </a:rPr>
              <a:pPr algn="r">
                <a:spcBef>
                  <a:spcPct val="0"/>
                </a:spcBef>
                <a:spcAft>
                  <a:spcPct val="0"/>
                </a:spcAft>
              </a:pPr>
              <a:t>Italų</a:t>
            </a:fld>
            <a:endParaRPr lang="en-US" sz="1000">
              <a:solidFill>
                <a:schemeClr val="tx1"/>
              </a:solidFill>
              <a:sym typeface="+mn-lt"/>
            </a:endParaRPr>
          </a:p>
        </p:txBody>
      </p:sp>
      <p:sp>
        <p:nvSpPr>
          <p:cNvPr id="235" name="Rectangle 234"/>
          <p:cNvSpPr/>
          <p:nvPr>
            <p:custDataLst>
              <p:tags r:id="rId27"/>
            </p:custDataLst>
          </p:nvPr>
        </p:nvSpPr>
        <p:spPr bwMode="gray">
          <a:xfrm>
            <a:off x="3168650" y="60483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74758C1-DC9C-4004-9B50-433092615E3D}" type="datetime'''''''''''''''''''''''''''0''''''''''%'''''''''''''''''">
              <a:rPr lang="en-US" sz="1000">
                <a:solidFill>
                  <a:schemeClr val="tx1"/>
                </a:solidFill>
              </a:rPr>
              <a:pPr/>
              <a:t>0%</a:t>
            </a:fld>
            <a:endParaRPr lang="en-US" sz="1000">
              <a:solidFill>
                <a:schemeClr val="tx1"/>
              </a:solidFill>
              <a:latin typeface="Calibri"/>
              <a:sym typeface="Calibri"/>
            </a:endParaRPr>
          </a:p>
        </p:txBody>
      </p:sp>
      <p:sp>
        <p:nvSpPr>
          <p:cNvPr id="275" name="Rectangle 274"/>
          <p:cNvSpPr/>
          <p:nvPr>
            <p:custDataLst>
              <p:tags r:id="rId28"/>
            </p:custDataLst>
          </p:nvPr>
        </p:nvSpPr>
        <p:spPr bwMode="auto">
          <a:xfrm>
            <a:off x="2700338" y="5838825"/>
            <a:ext cx="341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353FEBE-CDAC-4863-88C0-713F28188409}" type="datetime'''''''''''''I''s''''''''''''''pa''n''''ų'''''''''">
              <a:rPr lang="en-US" sz="1000">
                <a:solidFill>
                  <a:schemeClr val="tx1"/>
                </a:solidFill>
                <a:sym typeface="+mn-lt"/>
              </a:rPr>
              <a:pPr algn="r">
                <a:spcBef>
                  <a:spcPct val="0"/>
                </a:spcBef>
                <a:spcAft>
                  <a:spcPct val="0"/>
                </a:spcAft>
              </a:pPr>
              <a:t>Ispanų</a:t>
            </a:fld>
            <a:endParaRPr lang="en-US" sz="1000">
              <a:solidFill>
                <a:schemeClr val="tx1"/>
              </a:solidFill>
              <a:sym typeface="+mn-lt"/>
            </a:endParaRPr>
          </a:p>
        </p:txBody>
      </p:sp>
      <p:sp>
        <p:nvSpPr>
          <p:cNvPr id="234" name="Rectangle 233"/>
          <p:cNvSpPr/>
          <p:nvPr>
            <p:custDataLst>
              <p:tags r:id="rId29"/>
            </p:custDataLst>
          </p:nvPr>
        </p:nvSpPr>
        <p:spPr bwMode="gray">
          <a:xfrm>
            <a:off x="3168650" y="58388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B129E5D-63CE-4A20-AF0A-D2117DA12D65}" type="datetime'''''''''''''0''''''''%'''">
              <a:rPr lang="en-US" sz="1000">
                <a:solidFill>
                  <a:schemeClr val="tx1"/>
                </a:solidFill>
              </a:rPr>
              <a:pPr/>
              <a:t>0%</a:t>
            </a:fld>
            <a:endParaRPr lang="en-US" sz="1000">
              <a:solidFill>
                <a:schemeClr val="tx1"/>
              </a:solidFill>
              <a:sym typeface="+mn-lt"/>
            </a:endParaRPr>
          </a:p>
        </p:txBody>
      </p:sp>
      <p:sp>
        <p:nvSpPr>
          <p:cNvPr id="274" name="Rectangle 273"/>
          <p:cNvSpPr/>
          <p:nvPr>
            <p:custDataLst>
              <p:tags r:id="rId30"/>
            </p:custDataLst>
          </p:nvPr>
        </p:nvSpPr>
        <p:spPr bwMode="auto">
          <a:xfrm>
            <a:off x="2770188" y="5624513"/>
            <a:ext cx="271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9EC3113-1A34-429B-963B-9A9EC13A56A6}" type="datetime'''''D''''a''''''''''''''''''''''''''''n''''''''''''ų'''''''">
              <a:rPr lang="en-US" sz="1000">
                <a:solidFill>
                  <a:schemeClr val="tx1"/>
                </a:solidFill>
                <a:sym typeface="+mn-lt"/>
              </a:rPr>
              <a:pPr algn="r">
                <a:spcBef>
                  <a:spcPct val="0"/>
                </a:spcBef>
                <a:spcAft>
                  <a:spcPct val="0"/>
                </a:spcAft>
              </a:pPr>
              <a:t>Danų</a:t>
            </a:fld>
            <a:endParaRPr lang="en-US" sz="1000">
              <a:solidFill>
                <a:schemeClr val="tx1"/>
              </a:solidFill>
              <a:sym typeface="+mn-lt"/>
            </a:endParaRPr>
          </a:p>
        </p:txBody>
      </p:sp>
      <p:sp>
        <p:nvSpPr>
          <p:cNvPr id="233" name="Rectangle 232"/>
          <p:cNvSpPr/>
          <p:nvPr>
            <p:custDataLst>
              <p:tags r:id="rId31"/>
            </p:custDataLst>
          </p:nvPr>
        </p:nvSpPr>
        <p:spPr bwMode="gray">
          <a:xfrm>
            <a:off x="3168650" y="562451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7DE20F3-31D8-4197-BA7E-531530530562}" type="datetime'''''''''''''''''''''''''''''''''''0''''%'''''''''">
              <a:rPr lang="en-US" sz="1000">
                <a:solidFill>
                  <a:schemeClr val="tx1"/>
                </a:solidFill>
              </a:rPr>
              <a:pPr/>
              <a:t>0%</a:t>
            </a:fld>
            <a:endParaRPr lang="en-US" sz="1000">
              <a:solidFill>
                <a:schemeClr val="tx1"/>
              </a:solidFill>
              <a:sym typeface="+mn-lt"/>
            </a:endParaRPr>
          </a:p>
        </p:txBody>
      </p:sp>
      <p:sp>
        <p:nvSpPr>
          <p:cNvPr id="273" name="Rectangle 272"/>
          <p:cNvSpPr/>
          <p:nvPr>
            <p:custDataLst>
              <p:tags r:id="rId32"/>
            </p:custDataLst>
          </p:nvPr>
        </p:nvSpPr>
        <p:spPr bwMode="auto">
          <a:xfrm>
            <a:off x="2759075" y="5410200"/>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3C32456-BA38-4042-AE3B-8C6ACBC52750}" type="datetime'l''''e''''''''''n''''''''k''ų'">
              <a:rPr lang="en-US" sz="1000">
                <a:solidFill>
                  <a:schemeClr val="tx1"/>
                </a:solidFill>
                <a:sym typeface="+mn-lt"/>
              </a:rPr>
              <a:pPr algn="r">
                <a:spcBef>
                  <a:spcPct val="0"/>
                </a:spcBef>
                <a:spcAft>
                  <a:spcPct val="0"/>
                </a:spcAft>
              </a:pPr>
              <a:t>lenkų</a:t>
            </a:fld>
            <a:endParaRPr lang="en-US" sz="1000">
              <a:solidFill>
                <a:schemeClr val="tx1"/>
              </a:solidFill>
              <a:sym typeface="+mn-lt"/>
            </a:endParaRPr>
          </a:p>
        </p:txBody>
      </p:sp>
      <p:sp>
        <p:nvSpPr>
          <p:cNvPr id="232" name="Rectangle 231"/>
          <p:cNvSpPr/>
          <p:nvPr>
            <p:custDataLst>
              <p:tags r:id="rId33"/>
            </p:custDataLst>
          </p:nvPr>
        </p:nvSpPr>
        <p:spPr bwMode="gray">
          <a:xfrm>
            <a:off x="3178175" y="54102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92DB83C-8F3E-4357-B0B2-1A1846372473}" type="datetime'''''''''0''''''''''''''''''%'''''''''''''''">
              <a:rPr lang="en-US" sz="1000">
                <a:solidFill>
                  <a:schemeClr val="tx1"/>
                </a:solidFill>
              </a:rPr>
              <a:pPr/>
              <a:t>0%</a:t>
            </a:fld>
            <a:endParaRPr lang="en-US" sz="1000">
              <a:solidFill>
                <a:schemeClr val="tx1"/>
              </a:solidFill>
              <a:sym typeface="+mn-lt"/>
            </a:endParaRPr>
          </a:p>
        </p:txBody>
      </p:sp>
      <p:sp>
        <p:nvSpPr>
          <p:cNvPr id="272" name="Rectangle 271"/>
          <p:cNvSpPr/>
          <p:nvPr>
            <p:custDataLst>
              <p:tags r:id="rId34"/>
            </p:custDataLst>
          </p:nvPr>
        </p:nvSpPr>
        <p:spPr bwMode="auto">
          <a:xfrm>
            <a:off x="2814638" y="5200650"/>
            <a:ext cx="227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0219F3C-4797-43F3-AE79-B9D0E1C2495D}" type="datetime'r''''''''''''''''''u''''s''''''''ų'''''''''''''''''">
              <a:rPr lang="en-US" sz="1000">
                <a:solidFill>
                  <a:schemeClr val="tx1"/>
                </a:solidFill>
                <a:sym typeface="+mn-lt"/>
              </a:rPr>
              <a:pPr algn="r">
                <a:spcBef>
                  <a:spcPct val="0"/>
                </a:spcBef>
                <a:spcAft>
                  <a:spcPct val="0"/>
                </a:spcAft>
              </a:pPr>
              <a:t>rusų</a:t>
            </a:fld>
            <a:endParaRPr lang="en-US" sz="1000">
              <a:solidFill>
                <a:schemeClr val="tx1"/>
              </a:solidFill>
              <a:sym typeface="+mn-lt"/>
            </a:endParaRPr>
          </a:p>
        </p:txBody>
      </p:sp>
      <p:sp>
        <p:nvSpPr>
          <p:cNvPr id="231" name="Rectangle 230"/>
          <p:cNvSpPr/>
          <p:nvPr>
            <p:custDataLst>
              <p:tags r:id="rId35"/>
            </p:custDataLst>
          </p:nvPr>
        </p:nvSpPr>
        <p:spPr bwMode="gray">
          <a:xfrm>
            <a:off x="3197225" y="52006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8622670-C3C2-4414-A4A5-FF09A0087562}" type="datetime'''''''''1''''''''''''%'''">
              <a:rPr lang="en-US" sz="1000">
                <a:solidFill>
                  <a:schemeClr val="tx1"/>
                </a:solidFill>
              </a:rPr>
              <a:pPr/>
              <a:t>1%</a:t>
            </a:fld>
            <a:endParaRPr lang="en-US" sz="1000">
              <a:solidFill>
                <a:schemeClr val="tx1"/>
              </a:solidFill>
              <a:sym typeface="+mn-lt"/>
            </a:endParaRPr>
          </a:p>
        </p:txBody>
      </p:sp>
      <p:sp>
        <p:nvSpPr>
          <p:cNvPr id="271" name="Rectangle 270"/>
          <p:cNvSpPr/>
          <p:nvPr>
            <p:custDataLst>
              <p:tags r:id="rId36"/>
            </p:custDataLst>
          </p:nvPr>
        </p:nvSpPr>
        <p:spPr bwMode="auto">
          <a:xfrm>
            <a:off x="2565400" y="4991100"/>
            <a:ext cx="476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B0FC119-272A-4126-B8A5-D0921A45D573}" type="datetime'''''p''''ra''''n''cū''''''z''''''''''''''''''ų'''''''''''''">
              <a:rPr lang="en-US" sz="1000">
                <a:solidFill>
                  <a:schemeClr val="tx1"/>
                </a:solidFill>
                <a:sym typeface="+mn-lt"/>
              </a:rPr>
              <a:pPr algn="r">
                <a:spcBef>
                  <a:spcPct val="0"/>
                </a:spcBef>
                <a:spcAft>
                  <a:spcPct val="0"/>
                </a:spcAft>
              </a:pPr>
              <a:t>prancūzų</a:t>
            </a:fld>
            <a:endParaRPr lang="en-US" sz="1000">
              <a:solidFill>
                <a:schemeClr val="tx1"/>
              </a:solidFill>
              <a:sym typeface="+mn-lt"/>
            </a:endParaRPr>
          </a:p>
        </p:txBody>
      </p:sp>
      <p:sp>
        <p:nvSpPr>
          <p:cNvPr id="230" name="Rectangle 229"/>
          <p:cNvSpPr/>
          <p:nvPr>
            <p:custDataLst>
              <p:tags r:id="rId37"/>
            </p:custDataLst>
          </p:nvPr>
        </p:nvSpPr>
        <p:spPr bwMode="gray">
          <a:xfrm>
            <a:off x="3197225" y="49911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5C2580-2444-4C7D-85EF-40019EB3C261}" type="datetime'''''''1''''''''''''''''%'''''''''''''">
              <a:rPr lang="en-US" sz="1000">
                <a:solidFill>
                  <a:schemeClr val="tx1"/>
                </a:solidFill>
              </a:rPr>
              <a:pPr/>
              <a:t>1%</a:t>
            </a:fld>
            <a:endParaRPr lang="en-US" sz="1000">
              <a:solidFill>
                <a:schemeClr val="tx1"/>
              </a:solidFill>
              <a:sym typeface="+mn-lt"/>
            </a:endParaRPr>
          </a:p>
        </p:txBody>
      </p:sp>
      <p:sp>
        <p:nvSpPr>
          <p:cNvPr id="264" name="Rectangle 263"/>
          <p:cNvSpPr/>
          <p:nvPr>
            <p:custDataLst>
              <p:tags r:id="rId38"/>
            </p:custDataLst>
          </p:nvPr>
        </p:nvSpPr>
        <p:spPr bwMode="auto">
          <a:xfrm>
            <a:off x="2619375" y="4776788"/>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2D3C02-E72B-44FF-9A35-201F55D31448}" type="datetime'v''''''''''''''''''o''k''''''''''ie''''''č''''''''''ių'''''">
              <a:rPr lang="en-US" sz="1000">
                <a:solidFill>
                  <a:schemeClr val="tx1"/>
                </a:solidFill>
                <a:sym typeface="+mn-lt"/>
              </a:rPr>
              <a:pPr/>
              <a:t>vokiečių</a:t>
            </a:fld>
            <a:endParaRPr lang="en-US" sz="1000">
              <a:solidFill>
                <a:schemeClr val="tx1"/>
              </a:solidFill>
              <a:sym typeface="+mn-lt"/>
            </a:endParaRPr>
          </a:p>
        </p:txBody>
      </p:sp>
      <p:sp>
        <p:nvSpPr>
          <p:cNvPr id="229" name="Rectangle 228"/>
          <p:cNvSpPr/>
          <p:nvPr>
            <p:custDataLst>
              <p:tags r:id="rId39"/>
            </p:custDataLst>
          </p:nvPr>
        </p:nvSpPr>
        <p:spPr bwMode="gray">
          <a:xfrm>
            <a:off x="3216275" y="477678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849EDA3-D475-428F-82AE-5E0D6FD9506C}" type="datetime'''''1''''''%'''''''''''''''''''">
              <a:rPr lang="en-US" sz="1000">
                <a:solidFill>
                  <a:schemeClr val="tx1"/>
                </a:solidFill>
              </a:rPr>
              <a:pPr/>
              <a:t>1%</a:t>
            </a:fld>
            <a:endParaRPr lang="en-US" sz="1000">
              <a:solidFill>
                <a:schemeClr val="tx1"/>
              </a:solidFill>
              <a:sym typeface="+mn-lt"/>
            </a:endParaRPr>
          </a:p>
        </p:txBody>
      </p:sp>
      <p:sp>
        <p:nvSpPr>
          <p:cNvPr id="263" name="Rectangle 262"/>
          <p:cNvSpPr/>
          <p:nvPr>
            <p:custDataLst>
              <p:tags r:id="rId40"/>
            </p:custDataLst>
          </p:nvPr>
        </p:nvSpPr>
        <p:spPr bwMode="auto">
          <a:xfrm>
            <a:off x="2659063" y="4562475"/>
            <a:ext cx="382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7E2DA8B-BA06-4B9C-AB37-859BD6A48E0E}" type="datetime'l''''i''e''''''''''t''''''''u''''''v''i''''ų'''''''''''''">
              <a:rPr lang="en-US" sz="1000">
                <a:solidFill>
                  <a:schemeClr val="tx1"/>
                </a:solidFill>
                <a:sym typeface="+mn-lt"/>
              </a:rPr>
              <a:pPr/>
              <a:t>lietuvių</a:t>
            </a:fld>
            <a:endParaRPr lang="en-US" sz="1000">
              <a:solidFill>
                <a:schemeClr val="tx1"/>
              </a:solidFill>
              <a:sym typeface="+mn-lt"/>
            </a:endParaRPr>
          </a:p>
        </p:txBody>
      </p:sp>
      <p:sp>
        <p:nvSpPr>
          <p:cNvPr id="228" name="Rectangle 227"/>
          <p:cNvSpPr/>
          <p:nvPr>
            <p:custDataLst>
              <p:tags r:id="rId41"/>
            </p:custDataLst>
          </p:nvPr>
        </p:nvSpPr>
        <p:spPr bwMode="gray">
          <a:xfrm>
            <a:off x="3482975" y="45624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B144A47-B8CF-47ED-AFF2-A92BD2A84332}" type="datetime'''''''''''''''''''''''''9''''''%'''''''''">
              <a:rPr lang="en-US" sz="1000">
                <a:solidFill>
                  <a:schemeClr val="tx1"/>
                </a:solidFill>
              </a:rPr>
              <a:pPr/>
              <a:t>9%</a:t>
            </a:fld>
            <a:endParaRPr lang="en-US" sz="1000">
              <a:solidFill>
                <a:schemeClr val="tx1"/>
              </a:solidFill>
              <a:sym typeface="+mn-lt"/>
            </a:endParaRPr>
          </a:p>
        </p:txBody>
      </p:sp>
      <p:sp>
        <p:nvSpPr>
          <p:cNvPr id="262" name="Rectangle 261"/>
          <p:cNvSpPr/>
          <p:nvPr>
            <p:custDataLst>
              <p:tags r:id="rId42"/>
            </p:custDataLst>
          </p:nvPr>
        </p:nvSpPr>
        <p:spPr bwMode="auto">
          <a:xfrm>
            <a:off x="2759075" y="4352925"/>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BE41AA-D3FC-493C-8058-E7ED781C9810}" type="datetime'''an''g''''''''''''''''''''''''l''''''''''''''ų'''''''''''''''">
              <a:rPr lang="en-US" sz="1000">
                <a:solidFill>
                  <a:schemeClr val="tx1"/>
                </a:solidFill>
                <a:sym typeface="+mn-lt"/>
              </a:rPr>
              <a:pPr/>
              <a:t>anglų</a:t>
            </a:fld>
            <a:endParaRPr lang="en-US" sz="1000">
              <a:solidFill>
                <a:schemeClr val="tx1"/>
              </a:solidFill>
              <a:sym typeface="+mn-lt"/>
            </a:endParaRPr>
          </a:p>
        </p:txBody>
      </p:sp>
      <p:sp>
        <p:nvSpPr>
          <p:cNvPr id="227" name="Rectangle 226"/>
          <p:cNvSpPr/>
          <p:nvPr>
            <p:custDataLst>
              <p:tags r:id="rId43"/>
            </p:custDataLst>
          </p:nvPr>
        </p:nvSpPr>
        <p:spPr bwMode="gray">
          <a:xfrm>
            <a:off x="3978275" y="43529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931B466-177C-48CA-A9E7-C2025BEB406B}" type="datetime'''''''''''''''''''''''''''''''''''''2''''''3''''%'">
              <a:rPr lang="en-US" sz="1000">
                <a:solidFill>
                  <a:schemeClr val="tx1"/>
                </a:solidFill>
              </a:rPr>
              <a:pPr/>
              <a:t>23%</a:t>
            </a:fld>
            <a:endParaRPr lang="en-US" sz="1000" dirty="0">
              <a:solidFill>
                <a:schemeClr val="tx1"/>
              </a:solidFill>
              <a:sym typeface="+mn-lt"/>
            </a:endParaRPr>
          </a:p>
        </p:txBody>
      </p:sp>
      <p:sp>
        <p:nvSpPr>
          <p:cNvPr id="226" name="Rectangle 225"/>
          <p:cNvSpPr/>
          <p:nvPr/>
        </p:nvSpPr>
        <p:spPr>
          <a:xfrm>
            <a:off x="2376488" y="4192588"/>
            <a:ext cx="2283260" cy="204438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38" name="Object 237"/>
          <p:cNvGraphicFramePr>
            <a:graphicFrameLocks/>
          </p:cNvGraphicFramePr>
          <p:nvPr>
            <p:custDataLst>
              <p:tags r:id="rId44"/>
            </p:custDataLst>
            <p:extLst>
              <p:ext uri="{D42A27DB-BD31-4B8C-83A1-F6EECF244321}">
                <p14:modId xmlns:p14="http://schemas.microsoft.com/office/powerpoint/2010/main" val="2357171869"/>
              </p:ext>
            </p:extLst>
          </p:nvPr>
        </p:nvGraphicFramePr>
        <p:xfrm>
          <a:off x="5791200" y="4229100"/>
          <a:ext cx="1381017" cy="2057434"/>
        </p:xfrm>
        <a:graphic>
          <a:graphicData uri="http://schemas.openxmlformats.org/presentationml/2006/ole">
            <mc:AlternateContent xmlns:mc="http://schemas.openxmlformats.org/markup-compatibility/2006">
              <mc:Choice xmlns:v="urn:schemas-microsoft-com:vml" Requires="v">
                <p:oleObj spid="_x0000_s18503" name="Chart" r:id="rId106" imgW="1381253" imgH="2057400" progId="MSGraph.Chart.8">
                  <p:embed followColorScheme="full"/>
                </p:oleObj>
              </mc:Choice>
              <mc:Fallback>
                <p:oleObj name="Chart" r:id="rId106" imgW="1381253" imgH="2057400" progId="MSGraph.Chart.8">
                  <p:embed followColorScheme="full"/>
                  <p:pic>
                    <p:nvPicPr>
                      <p:cNvPr id="0" name=""/>
                      <p:cNvPicPr/>
                      <p:nvPr/>
                    </p:nvPicPr>
                    <p:blipFill>
                      <a:blip r:embed="rId107"/>
                      <a:stretch>
                        <a:fillRect/>
                      </a:stretch>
                    </p:blipFill>
                    <p:spPr>
                      <a:xfrm>
                        <a:off x="5791200" y="4229100"/>
                        <a:ext cx="1381017" cy="2057434"/>
                      </a:xfrm>
                      <a:prstGeom prst="rect">
                        <a:avLst/>
                      </a:prstGeom>
                    </p:spPr>
                  </p:pic>
                </p:oleObj>
              </mc:Fallback>
            </mc:AlternateContent>
          </a:graphicData>
        </a:graphic>
      </p:graphicFrame>
      <p:sp>
        <p:nvSpPr>
          <p:cNvPr id="244" name="Rectangle 243"/>
          <p:cNvSpPr/>
          <p:nvPr>
            <p:custDataLst>
              <p:tags r:id="rId45"/>
            </p:custDataLst>
          </p:nvPr>
        </p:nvSpPr>
        <p:spPr bwMode="auto">
          <a:xfrm>
            <a:off x="5033963" y="6000750"/>
            <a:ext cx="779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4B10AF1-A4DA-4D56-AFE5-2C5D085396CA}" type="datetime'ru''''s''''ų ''ir'''' ''''vo''''''''''''''''k''i''''eč''''ių'">
              <a:rPr lang="en-US" sz="1000">
                <a:solidFill>
                  <a:schemeClr val="tx1"/>
                </a:solidFill>
              </a:rPr>
              <a:pPr/>
              <a:t>rusų ir vokiečių</a:t>
            </a:fld>
            <a:endParaRPr lang="en-US" sz="1000">
              <a:solidFill>
                <a:schemeClr val="tx1"/>
              </a:solidFill>
              <a:sym typeface="+mn-lt"/>
            </a:endParaRPr>
          </a:p>
        </p:txBody>
      </p:sp>
      <p:sp>
        <p:nvSpPr>
          <p:cNvPr id="249" name="Rectangle 248"/>
          <p:cNvSpPr/>
          <p:nvPr>
            <p:custDataLst>
              <p:tags r:id="rId46"/>
            </p:custDataLst>
          </p:nvPr>
        </p:nvSpPr>
        <p:spPr bwMode="gray">
          <a:xfrm>
            <a:off x="5949950" y="60007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4C007AC-1634-4116-A9A9-F4A75287C935}" type="datetime'''''''''''''''''''0''''''''''''''%'''''''">
              <a:rPr lang="en-US" sz="1000">
                <a:solidFill>
                  <a:schemeClr val="tx1"/>
                </a:solidFill>
              </a:rPr>
              <a:pPr>
                <a:spcBef>
                  <a:spcPct val="0"/>
                </a:spcBef>
                <a:spcAft>
                  <a:spcPct val="0"/>
                </a:spcAft>
              </a:pPr>
              <a:t>0%</a:t>
            </a:fld>
            <a:endParaRPr lang="en-US" sz="1000">
              <a:solidFill>
                <a:schemeClr val="tx1"/>
              </a:solidFill>
              <a:latin typeface="Calibri"/>
              <a:sym typeface="Calibri"/>
            </a:endParaRPr>
          </a:p>
        </p:txBody>
      </p:sp>
      <p:sp>
        <p:nvSpPr>
          <p:cNvPr id="245" name="Rectangle 244"/>
          <p:cNvSpPr/>
          <p:nvPr>
            <p:custDataLst>
              <p:tags r:id="rId47"/>
            </p:custDataLst>
          </p:nvPr>
        </p:nvSpPr>
        <p:spPr bwMode="auto">
          <a:xfrm>
            <a:off x="5118100" y="5795963"/>
            <a:ext cx="695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3CAC7F9-F245-497B-9308-DF3E56F7B4F9}" type="datetime'''a''''''ng''''''l''''''ų'''''''''''' i''''''r ''le''nkų'">
              <a:rPr lang="en-US" sz="1000">
                <a:solidFill>
                  <a:schemeClr val="tx1"/>
                </a:solidFill>
              </a:rPr>
              <a:pPr/>
              <a:t>anglų ir lenkų</a:t>
            </a:fld>
            <a:endParaRPr lang="en-US" sz="1000">
              <a:solidFill>
                <a:schemeClr val="tx1"/>
              </a:solidFill>
              <a:sym typeface="+mn-lt"/>
            </a:endParaRPr>
          </a:p>
        </p:txBody>
      </p:sp>
      <p:sp>
        <p:nvSpPr>
          <p:cNvPr id="239" name="Rectangle 238"/>
          <p:cNvSpPr/>
          <p:nvPr>
            <p:custDataLst>
              <p:tags r:id="rId48"/>
            </p:custDataLst>
          </p:nvPr>
        </p:nvSpPr>
        <p:spPr bwMode="gray">
          <a:xfrm>
            <a:off x="5949950" y="57959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2519824-74EB-4D94-8024-D69E55F67866}" type="datetime'''''''''''''0''''''''%'''''''''''">
              <a:rPr lang="en-US" sz="1000">
                <a:solidFill>
                  <a:schemeClr val="tx1"/>
                </a:solidFill>
              </a:rPr>
              <a:pPr>
                <a:spcBef>
                  <a:spcPct val="0"/>
                </a:spcBef>
                <a:spcAft>
                  <a:spcPct val="0"/>
                </a:spcAft>
              </a:pPr>
              <a:t>0%</a:t>
            </a:fld>
            <a:endParaRPr lang="en-US" sz="1000">
              <a:solidFill>
                <a:schemeClr val="tx1"/>
              </a:solidFill>
              <a:sym typeface="+mn-lt"/>
            </a:endParaRPr>
          </a:p>
        </p:txBody>
      </p:sp>
      <p:sp>
        <p:nvSpPr>
          <p:cNvPr id="240" name="Rectangle 239"/>
          <p:cNvSpPr/>
          <p:nvPr>
            <p:custDataLst>
              <p:tags r:id="rId49"/>
            </p:custDataLst>
          </p:nvPr>
        </p:nvSpPr>
        <p:spPr bwMode="auto">
          <a:xfrm>
            <a:off x="5018088" y="5591175"/>
            <a:ext cx="795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F8C67F8-F7E8-45AF-B6A2-F52D8E83AB78}" type="datetime'l''ietuv''''''''''''i''''ų ''i''''''''r'' ''len''''k''''''ų'''">
              <a:rPr lang="en-US" sz="1000">
                <a:solidFill>
                  <a:schemeClr val="tx1"/>
                </a:solidFill>
              </a:rPr>
              <a:pPr/>
              <a:t>lietuvių ir lenkų</a:t>
            </a:fld>
            <a:endParaRPr lang="en-US" sz="1000">
              <a:solidFill>
                <a:schemeClr val="tx1"/>
              </a:solidFill>
              <a:sym typeface="+mn-lt"/>
            </a:endParaRPr>
          </a:p>
        </p:txBody>
      </p:sp>
      <p:sp>
        <p:nvSpPr>
          <p:cNvPr id="248" name="Rectangle 247"/>
          <p:cNvSpPr/>
          <p:nvPr>
            <p:custDataLst>
              <p:tags r:id="rId50"/>
            </p:custDataLst>
          </p:nvPr>
        </p:nvSpPr>
        <p:spPr bwMode="gray">
          <a:xfrm>
            <a:off x="5969000" y="55911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7540B1A-2EDD-4ACD-BCCB-CE12EEFC67F3}" type="datetime'''''''''''1''''''''''''''''''''''''''''''%'''''''''''">
              <a:rPr lang="en-US" sz="1000">
                <a:solidFill>
                  <a:schemeClr val="tx1"/>
                </a:solidFill>
              </a:rPr>
              <a:pPr/>
              <a:t>1%</a:t>
            </a:fld>
            <a:endParaRPr lang="en-US" sz="1000">
              <a:solidFill>
                <a:schemeClr val="tx1"/>
              </a:solidFill>
              <a:sym typeface="+mn-lt"/>
            </a:endParaRPr>
          </a:p>
        </p:txBody>
      </p:sp>
      <p:sp>
        <p:nvSpPr>
          <p:cNvPr id="241" name="Rectangle 240"/>
          <p:cNvSpPr/>
          <p:nvPr>
            <p:custDataLst>
              <p:tags r:id="rId51"/>
            </p:custDataLst>
          </p:nvPr>
        </p:nvSpPr>
        <p:spPr bwMode="auto">
          <a:xfrm>
            <a:off x="4924425" y="5386388"/>
            <a:ext cx="8890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C12F98F-61C7-4FD5-A986-E027508EDE93}" type="datetime'''an''''''''g''''l''''''ų ir'''''''''''' ''p''''ran''cū''zų'">
              <a:rPr lang="en-US" sz="1000">
                <a:solidFill>
                  <a:schemeClr val="tx1"/>
                </a:solidFill>
              </a:rPr>
              <a:pPr/>
              <a:t>anglų ir prancūzų</a:t>
            </a:fld>
            <a:endParaRPr lang="en-US" sz="1000">
              <a:solidFill>
                <a:schemeClr val="tx1"/>
              </a:solidFill>
              <a:sym typeface="+mn-lt"/>
            </a:endParaRPr>
          </a:p>
        </p:txBody>
      </p:sp>
      <p:sp>
        <p:nvSpPr>
          <p:cNvPr id="247" name="Rectangle 246"/>
          <p:cNvSpPr/>
          <p:nvPr>
            <p:custDataLst>
              <p:tags r:id="rId52"/>
            </p:custDataLst>
          </p:nvPr>
        </p:nvSpPr>
        <p:spPr bwMode="gray">
          <a:xfrm>
            <a:off x="5949950" y="538638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06F7AD8-0F0E-4BEE-8823-108A91A6D372}" type="datetime'''''''''''''0''''''''''''''''''''''''''''''%'''''''''''">
              <a:rPr lang="en-US" sz="1000">
                <a:solidFill>
                  <a:schemeClr val="tx1"/>
                </a:solidFill>
              </a:rPr>
              <a:pPr>
                <a:spcBef>
                  <a:spcPct val="0"/>
                </a:spcBef>
                <a:spcAft>
                  <a:spcPct val="0"/>
                </a:spcAft>
              </a:pPr>
              <a:t>0%</a:t>
            </a:fld>
            <a:endParaRPr lang="en-US" sz="1000">
              <a:solidFill>
                <a:schemeClr val="tx1"/>
              </a:solidFill>
              <a:sym typeface="+mn-lt"/>
            </a:endParaRPr>
          </a:p>
        </p:txBody>
      </p:sp>
      <p:sp>
        <p:nvSpPr>
          <p:cNvPr id="246" name="Rectangle 245"/>
          <p:cNvSpPr/>
          <p:nvPr>
            <p:custDataLst>
              <p:tags r:id="rId53"/>
            </p:custDataLst>
          </p:nvPr>
        </p:nvSpPr>
        <p:spPr bwMode="auto">
          <a:xfrm>
            <a:off x="4978400" y="518160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B4C363-DDA3-4CB1-AA35-AC530F2D4B41}" type="datetime'''ang''''l''ų'' i''''r'' ''''voki''''''''eči''''''''ų'''''''''">
              <a:rPr lang="en-US" sz="1000">
                <a:solidFill>
                  <a:schemeClr val="tx1"/>
                </a:solidFill>
              </a:rPr>
              <a:pPr/>
              <a:t>anglų ir vokiečių</a:t>
            </a:fld>
            <a:endParaRPr lang="en-US" sz="1000">
              <a:solidFill>
                <a:schemeClr val="tx1"/>
              </a:solidFill>
              <a:sym typeface="+mn-lt"/>
            </a:endParaRPr>
          </a:p>
        </p:txBody>
      </p:sp>
      <p:sp>
        <p:nvSpPr>
          <p:cNvPr id="243" name="Rectangle 242"/>
          <p:cNvSpPr/>
          <p:nvPr>
            <p:custDataLst>
              <p:tags r:id="rId54"/>
            </p:custDataLst>
          </p:nvPr>
        </p:nvSpPr>
        <p:spPr bwMode="gray">
          <a:xfrm>
            <a:off x="5988050" y="51816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2FDFD03-3458-45C9-B5FA-61CDCCE82D6C}" type="datetime'''''''''''''''2''''''''''''''''''''''''''''%'''''''''''''''''">
              <a:rPr lang="en-US" sz="1000">
                <a:solidFill>
                  <a:schemeClr val="tx1"/>
                </a:solidFill>
              </a:rPr>
              <a:pPr/>
              <a:t>2%</a:t>
            </a:fld>
            <a:endParaRPr lang="en-US" sz="1000">
              <a:solidFill>
                <a:schemeClr val="tx1"/>
              </a:solidFill>
              <a:sym typeface="+mn-lt"/>
            </a:endParaRPr>
          </a:p>
        </p:txBody>
      </p:sp>
      <p:sp>
        <p:nvSpPr>
          <p:cNvPr id="242" name="Rectangle 241"/>
          <p:cNvSpPr/>
          <p:nvPr>
            <p:custDataLst>
              <p:tags r:id="rId55"/>
            </p:custDataLst>
          </p:nvPr>
        </p:nvSpPr>
        <p:spPr bwMode="auto">
          <a:xfrm>
            <a:off x="5173663" y="4976813"/>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7142CB1-85A2-4C41-92D4-1335658B3DBF}" type="datetime'''a''ngl''''ų'''''''''''''' ''''''''''i''''''''r'''' rusų'">
              <a:rPr lang="en-US" sz="1000">
                <a:solidFill>
                  <a:schemeClr val="tx1"/>
                </a:solidFill>
              </a:rPr>
              <a:pPr/>
              <a:t>anglų ir rusų</a:t>
            </a:fld>
            <a:endParaRPr lang="en-US" sz="1000">
              <a:solidFill>
                <a:schemeClr val="tx1"/>
              </a:solidFill>
              <a:sym typeface="+mn-lt"/>
            </a:endParaRPr>
          </a:p>
        </p:txBody>
      </p:sp>
      <p:sp>
        <p:nvSpPr>
          <p:cNvPr id="250" name="Rectangle 249"/>
          <p:cNvSpPr/>
          <p:nvPr>
            <p:custDataLst>
              <p:tags r:id="rId56"/>
            </p:custDataLst>
          </p:nvPr>
        </p:nvSpPr>
        <p:spPr bwMode="gray">
          <a:xfrm>
            <a:off x="5969000" y="497681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C672FDF-25DE-4C0C-9621-D878B9D0296D}" type="datetime'1''''''''''''''''''''''''''''''''''''''''''''''''''''%'''''''">
              <a:rPr lang="en-US" sz="1000">
                <a:solidFill>
                  <a:schemeClr val="tx1"/>
                </a:solidFill>
              </a:rPr>
              <a:pPr>
                <a:spcBef>
                  <a:spcPct val="0"/>
                </a:spcBef>
                <a:spcAft>
                  <a:spcPct val="0"/>
                </a:spcAft>
              </a:pPr>
              <a:t>1%</a:t>
            </a:fld>
            <a:endParaRPr lang="en-US" sz="1000">
              <a:solidFill>
                <a:schemeClr val="tx1"/>
              </a:solidFill>
              <a:sym typeface="+mn-lt"/>
            </a:endParaRPr>
          </a:p>
        </p:txBody>
      </p:sp>
      <p:sp>
        <p:nvSpPr>
          <p:cNvPr id="255" name="Rectangle 254"/>
          <p:cNvSpPr/>
          <p:nvPr>
            <p:custDataLst>
              <p:tags r:id="rId57"/>
            </p:custDataLst>
          </p:nvPr>
        </p:nvSpPr>
        <p:spPr bwMode="auto">
          <a:xfrm>
            <a:off x="4878388" y="4772025"/>
            <a:ext cx="935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C990D4-9B90-47FE-8CE2-59C5E83853AC}" type="datetime'''li''''et''uv''''''ių'''' i''''r ''v''o''''k''i''e''č''''ių'">
              <a:rPr lang="en-US" sz="1000">
                <a:solidFill>
                  <a:schemeClr val="tx1"/>
                </a:solidFill>
              </a:rPr>
              <a:pPr/>
              <a:t>lietuvių ir vokiečių</a:t>
            </a:fld>
            <a:endParaRPr lang="en-US" sz="1000">
              <a:solidFill>
                <a:schemeClr val="tx1"/>
              </a:solidFill>
              <a:sym typeface="+mn-lt"/>
            </a:endParaRPr>
          </a:p>
        </p:txBody>
      </p:sp>
      <p:sp>
        <p:nvSpPr>
          <p:cNvPr id="252" name="Rectangle 251"/>
          <p:cNvSpPr/>
          <p:nvPr>
            <p:custDataLst>
              <p:tags r:id="rId58"/>
            </p:custDataLst>
          </p:nvPr>
        </p:nvSpPr>
        <p:spPr bwMode="gray">
          <a:xfrm>
            <a:off x="5997575" y="47720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CAB17E1-55EE-465C-BF21-658F9B5751DA}" type="datetime'2''''''''''''''''''''''''''''''''''''''''%'''''''''''''''">
              <a:rPr lang="en-US" sz="1000">
                <a:solidFill>
                  <a:schemeClr val="tx1"/>
                </a:solidFill>
              </a:rPr>
              <a:pPr/>
              <a:t>2%</a:t>
            </a:fld>
            <a:endParaRPr lang="en-US" sz="1000">
              <a:solidFill>
                <a:schemeClr val="tx1"/>
              </a:solidFill>
              <a:sym typeface="+mn-lt"/>
            </a:endParaRPr>
          </a:p>
        </p:txBody>
      </p:sp>
      <p:sp>
        <p:nvSpPr>
          <p:cNvPr id="253" name="Rectangle 252"/>
          <p:cNvSpPr/>
          <p:nvPr>
            <p:custDataLst>
              <p:tags r:id="rId59"/>
            </p:custDataLst>
          </p:nvPr>
        </p:nvSpPr>
        <p:spPr bwMode="auto">
          <a:xfrm>
            <a:off x="5073650" y="4567238"/>
            <a:ext cx="739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C358E8-01EB-4F5E-AE29-1E0B22095E87}" type="datetime'''''l''''''''''ie''''''''''''tuvių'''''' i''r'' ''r''''u''sų'">
              <a:rPr lang="en-US" sz="1000">
                <a:solidFill>
                  <a:schemeClr val="tx1"/>
                </a:solidFill>
              </a:rPr>
              <a:pPr/>
              <a:t>lietuvių ir rusų</a:t>
            </a:fld>
            <a:endParaRPr lang="en-US" sz="1000">
              <a:solidFill>
                <a:schemeClr val="tx1"/>
              </a:solidFill>
              <a:sym typeface="+mn-lt"/>
            </a:endParaRPr>
          </a:p>
        </p:txBody>
      </p:sp>
      <p:sp>
        <p:nvSpPr>
          <p:cNvPr id="251" name="Rectangle 250"/>
          <p:cNvSpPr/>
          <p:nvPr>
            <p:custDataLst>
              <p:tags r:id="rId60"/>
            </p:custDataLst>
          </p:nvPr>
        </p:nvSpPr>
        <p:spPr bwMode="gray">
          <a:xfrm>
            <a:off x="6016625" y="456723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5CDE2F6-5FA5-4F3D-A5A5-906E1346E635}" type="datetime'''''''''3''''''''''''''''''%'''''''">
              <a:rPr lang="en-US" sz="1000">
                <a:solidFill>
                  <a:schemeClr val="tx1"/>
                </a:solidFill>
              </a:rPr>
              <a:pPr/>
              <a:t>3%</a:t>
            </a:fld>
            <a:endParaRPr lang="en-US" sz="1000">
              <a:solidFill>
                <a:schemeClr val="tx1"/>
              </a:solidFill>
              <a:sym typeface="+mn-lt"/>
            </a:endParaRPr>
          </a:p>
        </p:txBody>
      </p:sp>
      <p:sp>
        <p:nvSpPr>
          <p:cNvPr id="254" name="Rectangle 253"/>
          <p:cNvSpPr/>
          <p:nvPr>
            <p:custDataLst>
              <p:tags r:id="rId61"/>
            </p:custDataLst>
          </p:nvPr>
        </p:nvSpPr>
        <p:spPr bwMode="auto">
          <a:xfrm>
            <a:off x="5018088" y="4362450"/>
            <a:ext cx="795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DD134A5-48E5-421A-9A02-A043EDC72D1D}" type="datetime'a''''n''g''''''lų i''''''r li''''''e''''tu''''v''''''ių'">
              <a:rPr lang="en-US" sz="1000">
                <a:solidFill>
                  <a:schemeClr val="tx1"/>
                </a:solidFill>
              </a:rPr>
              <a:pPr/>
              <a:t>anglų ir lietuvių</a:t>
            </a:fld>
            <a:endParaRPr lang="en-US" sz="1000">
              <a:solidFill>
                <a:schemeClr val="tx1"/>
              </a:solidFill>
              <a:sym typeface="+mn-lt"/>
            </a:endParaRPr>
          </a:p>
        </p:txBody>
      </p:sp>
      <p:sp>
        <p:nvSpPr>
          <p:cNvPr id="291" name="Rectangle 290"/>
          <p:cNvSpPr/>
          <p:nvPr>
            <p:custDataLst>
              <p:tags r:id="rId62"/>
            </p:custDataLst>
          </p:nvPr>
        </p:nvSpPr>
        <p:spPr bwMode="gray">
          <a:xfrm>
            <a:off x="6778625" y="43624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3C79E1-EC85-4BE7-9D49-EA83EF194A0F}" type="datetime'''''''''''''''''''''''''''3''''''''3''%'''''''''''''''''">
              <a:rPr lang="en-US" sz="1000">
                <a:solidFill>
                  <a:schemeClr val="tx1"/>
                </a:solidFill>
              </a:rPr>
              <a:pPr/>
              <a:t>33%</a:t>
            </a:fld>
            <a:endParaRPr lang="en-US" sz="1000">
              <a:solidFill>
                <a:schemeClr val="tx1"/>
              </a:solidFill>
              <a:sym typeface="+mn-lt"/>
            </a:endParaRPr>
          </a:p>
        </p:txBody>
      </p:sp>
      <p:sp>
        <p:nvSpPr>
          <p:cNvPr id="292" name="Rectangle 291"/>
          <p:cNvSpPr/>
          <p:nvPr/>
        </p:nvSpPr>
        <p:spPr>
          <a:xfrm>
            <a:off x="4779963" y="3773488"/>
            <a:ext cx="2342355" cy="43182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nurodžiusių dvi kalbas pasiskirstymas, proc.</a:t>
            </a:r>
            <a:endParaRPr lang="lt-LT" sz="1200" dirty="0">
              <a:solidFill>
                <a:schemeClr val="bg1"/>
              </a:solidFill>
              <a:cs typeface="Cambria"/>
            </a:endParaRPr>
          </a:p>
        </p:txBody>
      </p:sp>
      <p:sp>
        <p:nvSpPr>
          <p:cNvPr id="293" name="Rectangle 292"/>
          <p:cNvSpPr/>
          <p:nvPr/>
        </p:nvSpPr>
        <p:spPr>
          <a:xfrm>
            <a:off x="4756151" y="4213225"/>
            <a:ext cx="2366168" cy="204438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94" name="Object 293"/>
          <p:cNvGraphicFramePr>
            <a:graphicFrameLocks/>
          </p:cNvGraphicFramePr>
          <p:nvPr>
            <p:custDataLst>
              <p:tags r:id="rId63"/>
            </p:custDataLst>
            <p:extLst>
              <p:ext uri="{D42A27DB-BD31-4B8C-83A1-F6EECF244321}">
                <p14:modId xmlns:p14="http://schemas.microsoft.com/office/powerpoint/2010/main" val="3085911083"/>
              </p:ext>
            </p:extLst>
          </p:nvPr>
        </p:nvGraphicFramePr>
        <p:xfrm>
          <a:off x="419100" y="4114801"/>
          <a:ext cx="1381017" cy="2133555"/>
        </p:xfrm>
        <a:graphic>
          <a:graphicData uri="http://schemas.openxmlformats.org/presentationml/2006/ole">
            <mc:AlternateContent xmlns:mc="http://schemas.openxmlformats.org/markup-compatibility/2006">
              <mc:Choice xmlns:v="urn:schemas-microsoft-com:vml" Requires="v">
                <p:oleObj spid="_x0000_s18504" name="Chart" r:id="rId108" imgW="1381253" imgH="2133587" progId="MSGraph.Chart.8">
                  <p:embed followColorScheme="full"/>
                </p:oleObj>
              </mc:Choice>
              <mc:Fallback>
                <p:oleObj name="Chart" r:id="rId108" imgW="1381253" imgH="2133587" progId="MSGraph.Chart.8">
                  <p:embed followColorScheme="full"/>
                  <p:pic>
                    <p:nvPicPr>
                      <p:cNvPr id="0" name=""/>
                      <p:cNvPicPr/>
                      <p:nvPr/>
                    </p:nvPicPr>
                    <p:blipFill>
                      <a:blip r:embed="rId109"/>
                      <a:stretch>
                        <a:fillRect/>
                      </a:stretch>
                    </p:blipFill>
                    <p:spPr>
                      <a:xfrm>
                        <a:off x="419100" y="4114801"/>
                        <a:ext cx="1381017" cy="2133555"/>
                      </a:xfrm>
                      <a:prstGeom prst="rect">
                        <a:avLst/>
                      </a:prstGeom>
                    </p:spPr>
                  </p:pic>
                </p:oleObj>
              </mc:Fallback>
            </mc:AlternateContent>
          </a:graphicData>
        </a:graphic>
      </p:graphicFrame>
      <p:sp>
        <p:nvSpPr>
          <p:cNvPr id="308" name="Rectangle 307"/>
          <p:cNvSpPr/>
          <p:nvPr>
            <p:custDataLst>
              <p:tags r:id="rId64"/>
            </p:custDataLst>
          </p:nvPr>
        </p:nvSpPr>
        <p:spPr bwMode="gray">
          <a:xfrm>
            <a:off x="863600" y="51149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0891A9E-354E-4058-9654-F8334DEFFE94}" type="datetime'''''''1''''6''''''''''''%'''''''''''''''''''''''''''''">
              <a:rPr lang="en-US" sz="1000">
                <a:solidFill>
                  <a:schemeClr val="tx1"/>
                </a:solidFill>
              </a:rPr>
              <a:pPr/>
              <a:t>16%</a:t>
            </a:fld>
            <a:endParaRPr lang="en-US" sz="1000">
              <a:solidFill>
                <a:schemeClr val="tx1"/>
              </a:solidFill>
              <a:sym typeface="+mn-lt"/>
            </a:endParaRPr>
          </a:p>
        </p:txBody>
      </p:sp>
      <p:sp>
        <p:nvSpPr>
          <p:cNvPr id="309" name="Rectangle 308"/>
          <p:cNvSpPr/>
          <p:nvPr>
            <p:custDataLst>
              <p:tags r:id="rId65"/>
            </p:custDataLst>
          </p:nvPr>
        </p:nvSpPr>
        <p:spPr bwMode="auto">
          <a:xfrm>
            <a:off x="347663" y="473868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D7683E-D66B-45EF-90FF-54858751F7F4}" type="datetime'''''''''''''''''''''''''''''2'''''''''''''''''">
              <a:rPr lang="en-US" sz="1000">
                <a:solidFill>
                  <a:schemeClr val="tx1"/>
                </a:solidFill>
              </a:rPr>
              <a:pPr/>
              <a:t>2</a:t>
            </a:fld>
            <a:endParaRPr lang="en-US" sz="1000">
              <a:solidFill>
                <a:schemeClr val="tx1"/>
              </a:solidFill>
              <a:sym typeface="+mn-lt"/>
            </a:endParaRPr>
          </a:p>
        </p:txBody>
      </p:sp>
      <p:sp>
        <p:nvSpPr>
          <p:cNvPr id="310" name="Rectangle 309"/>
          <p:cNvSpPr/>
          <p:nvPr>
            <p:custDataLst>
              <p:tags r:id="rId66"/>
            </p:custDataLst>
          </p:nvPr>
        </p:nvSpPr>
        <p:spPr bwMode="gray">
          <a:xfrm>
            <a:off x="1425575" y="4738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C82CC60-2E2E-4276-AB22-094E8C629DDE}" type="datetime'4''''''''''''''''''''''''''4%'''''''''''''''''''''''''''''''''">
              <a:rPr lang="en-US" sz="1000">
                <a:solidFill>
                  <a:schemeClr val="tx1"/>
                </a:solidFill>
              </a:rPr>
              <a:pPr/>
              <a:t>44%</a:t>
            </a:fld>
            <a:endParaRPr lang="en-US" sz="1000">
              <a:solidFill>
                <a:schemeClr val="tx1"/>
              </a:solidFill>
              <a:sym typeface="+mn-lt"/>
            </a:endParaRPr>
          </a:p>
        </p:txBody>
      </p:sp>
      <p:sp>
        <p:nvSpPr>
          <p:cNvPr id="311" name="Rectangle 310"/>
          <p:cNvSpPr/>
          <p:nvPr>
            <p:custDataLst>
              <p:tags r:id="rId67"/>
            </p:custDataLst>
          </p:nvPr>
        </p:nvSpPr>
        <p:spPr bwMode="auto">
          <a:xfrm>
            <a:off x="347663" y="435768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4474E63-0257-4568-BDD2-D2CB4A1805ED}" type="datetime'''''''''''''''1'''''''''''''''''''''''''''''''''''">
              <a:rPr lang="en-US" sz="1000">
                <a:solidFill>
                  <a:schemeClr val="tx1"/>
                </a:solidFill>
              </a:rPr>
              <a:pPr/>
              <a:t>1</a:t>
            </a:fld>
            <a:endParaRPr lang="en-US" sz="1000">
              <a:solidFill>
                <a:schemeClr val="tx1"/>
              </a:solidFill>
              <a:sym typeface="+mn-lt"/>
            </a:endParaRPr>
          </a:p>
        </p:txBody>
      </p:sp>
      <p:sp>
        <p:nvSpPr>
          <p:cNvPr id="312" name="Rectangle 311"/>
          <p:cNvSpPr/>
          <p:nvPr>
            <p:custDataLst>
              <p:tags r:id="rId68"/>
            </p:custDataLst>
          </p:nvPr>
        </p:nvSpPr>
        <p:spPr bwMode="gray">
          <a:xfrm>
            <a:off x="1244600" y="4357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D21017-AFF7-41C4-BB94-B6298D6054C9}" type="datetime'''''''''''''''''''''''''''''''''''3''''''''''5''''''''%'">
              <a:rPr lang="en-US" sz="1000">
                <a:solidFill>
                  <a:schemeClr val="tx1"/>
                </a:solidFill>
              </a:rPr>
              <a:pPr/>
              <a:t>35%</a:t>
            </a:fld>
            <a:endParaRPr lang="en-US" sz="1000">
              <a:solidFill>
                <a:schemeClr val="tx1"/>
              </a:solidFill>
              <a:sym typeface="+mn-lt"/>
            </a:endParaRPr>
          </a:p>
        </p:txBody>
      </p:sp>
      <p:sp>
        <p:nvSpPr>
          <p:cNvPr id="304" name="Rectangle 303"/>
          <p:cNvSpPr/>
          <p:nvPr>
            <p:custDataLst>
              <p:tags r:id="rId69"/>
            </p:custDataLst>
          </p:nvPr>
        </p:nvSpPr>
        <p:spPr bwMode="gray">
          <a:xfrm>
            <a:off x="558800" y="58721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5D953E1-794B-48F3-A006-D836E0F38184}" type="datetime'''''''''''''''''''''''''''1''''''''''''''''%'''''''''">
              <a:rPr lang="en-US" sz="1000">
                <a:solidFill>
                  <a:schemeClr val="tx1"/>
                </a:solidFill>
              </a:rPr>
              <a:pPr/>
              <a:t>1%</a:t>
            </a:fld>
            <a:endParaRPr lang="en-US" sz="1000">
              <a:solidFill>
                <a:schemeClr val="tx1"/>
              </a:solidFill>
              <a:sym typeface="+mn-lt"/>
            </a:endParaRPr>
          </a:p>
        </p:txBody>
      </p:sp>
      <p:sp>
        <p:nvSpPr>
          <p:cNvPr id="296" name="Rectangle 295"/>
          <p:cNvSpPr/>
          <p:nvPr>
            <p:custDataLst>
              <p:tags r:id="rId70"/>
            </p:custDataLst>
          </p:nvPr>
        </p:nvSpPr>
        <p:spPr bwMode="auto">
          <a:xfrm>
            <a:off x="284163" y="5872163"/>
            <a:ext cx="128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9F9302-0B94-4241-A39F-2BA84EA0C7F4}" type="datetime'''''''''''''''''''''''''''''''''''''''''''5+'">
              <a:rPr lang="en-US" sz="1000">
                <a:solidFill>
                  <a:schemeClr val="tx1"/>
                </a:solidFill>
              </a:rPr>
              <a:pPr/>
              <a:t>5+</a:t>
            </a:fld>
            <a:endParaRPr lang="en-US" sz="1000">
              <a:solidFill>
                <a:schemeClr val="tx1"/>
              </a:solidFill>
              <a:sym typeface="+mn-lt"/>
            </a:endParaRPr>
          </a:p>
        </p:txBody>
      </p:sp>
      <p:sp>
        <p:nvSpPr>
          <p:cNvPr id="306" name="Rectangle 305"/>
          <p:cNvSpPr/>
          <p:nvPr>
            <p:custDataLst>
              <p:tags r:id="rId71"/>
            </p:custDataLst>
          </p:nvPr>
        </p:nvSpPr>
        <p:spPr bwMode="auto">
          <a:xfrm>
            <a:off x="347663" y="5114925"/>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753B169-A759-479D-B46F-C3378F844B0E}" type="datetime'''''''''3'''''">
              <a:rPr lang="en-US" sz="1000">
                <a:solidFill>
                  <a:schemeClr val="tx1"/>
                </a:solidFill>
              </a:rPr>
              <a:pPr/>
              <a:t>3</a:t>
            </a:fld>
            <a:endParaRPr lang="en-US" sz="1000">
              <a:solidFill>
                <a:schemeClr val="tx1"/>
              </a:solidFill>
              <a:sym typeface="+mn-lt"/>
            </a:endParaRPr>
          </a:p>
        </p:txBody>
      </p:sp>
      <p:sp>
        <p:nvSpPr>
          <p:cNvPr id="307" name="Rectangle 306"/>
          <p:cNvSpPr/>
          <p:nvPr>
            <p:custDataLst>
              <p:tags r:id="rId72"/>
            </p:custDataLst>
          </p:nvPr>
        </p:nvSpPr>
        <p:spPr bwMode="gray">
          <a:xfrm>
            <a:off x="606425" y="54911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492EB19-B5BD-4DAC-BEC3-69D79DED4797}" type="datetime'''''''''''3%'''''''''''''''''''''''''''''''''">
              <a:rPr lang="en-US" sz="1000">
                <a:solidFill>
                  <a:schemeClr val="tx1"/>
                </a:solidFill>
              </a:rPr>
              <a:pPr/>
              <a:t>3%</a:t>
            </a:fld>
            <a:endParaRPr lang="en-US" sz="1000">
              <a:solidFill>
                <a:schemeClr val="tx1"/>
              </a:solidFill>
              <a:sym typeface="+mn-lt"/>
            </a:endParaRPr>
          </a:p>
        </p:txBody>
      </p:sp>
      <p:sp>
        <p:nvSpPr>
          <p:cNvPr id="300" name="Rectangle 299"/>
          <p:cNvSpPr/>
          <p:nvPr>
            <p:custDataLst>
              <p:tags r:id="rId73"/>
            </p:custDataLst>
          </p:nvPr>
        </p:nvSpPr>
        <p:spPr bwMode="auto">
          <a:xfrm>
            <a:off x="347663" y="5491163"/>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CD8C6DD-3EE4-4375-AE1C-0210634FAD60}" type="datetime'''''''4'''''''''''''''''''''''''''''''''''''''''''''''">
              <a:rPr lang="en-US" sz="1000">
                <a:solidFill>
                  <a:schemeClr val="tx1"/>
                </a:solidFill>
              </a:rPr>
              <a:pPr/>
              <a:t>4</a:t>
            </a:fld>
            <a:endParaRPr lang="en-US" sz="1000">
              <a:solidFill>
                <a:schemeClr val="tx1"/>
              </a:solidFill>
              <a:sym typeface="+mn-lt"/>
            </a:endParaRPr>
          </a:p>
        </p:txBody>
      </p:sp>
      <p:sp>
        <p:nvSpPr>
          <p:cNvPr id="319" name="Rectangle 318"/>
          <p:cNvSpPr/>
          <p:nvPr/>
        </p:nvSpPr>
        <p:spPr>
          <a:xfrm>
            <a:off x="171450" y="3773488"/>
            <a:ext cx="2066925" cy="42703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nurodytų kalbų skaičių, proc.</a:t>
            </a:r>
            <a:endParaRPr lang="lt-LT" sz="1200" dirty="0">
              <a:solidFill>
                <a:schemeClr val="bg1"/>
              </a:solidFill>
              <a:cs typeface="Cambria"/>
            </a:endParaRPr>
          </a:p>
        </p:txBody>
      </p:sp>
      <p:sp>
        <p:nvSpPr>
          <p:cNvPr id="320" name="Rectangle 319"/>
          <p:cNvSpPr/>
          <p:nvPr/>
        </p:nvSpPr>
        <p:spPr>
          <a:xfrm>
            <a:off x="171450" y="4200526"/>
            <a:ext cx="2066925" cy="205232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25" name="Rectangle 224"/>
          <p:cNvSpPr/>
          <p:nvPr/>
        </p:nvSpPr>
        <p:spPr>
          <a:xfrm>
            <a:off x="2376488" y="3784600"/>
            <a:ext cx="2283260" cy="41937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nurodžiusių tik vieną kalbą pasiskirstymas, proc.</a:t>
            </a:r>
            <a:endParaRPr lang="lt-LT" sz="1200" dirty="0">
              <a:solidFill>
                <a:schemeClr val="bg1"/>
              </a:solidFill>
              <a:cs typeface="Cambria"/>
            </a:endParaRPr>
          </a:p>
        </p:txBody>
      </p:sp>
      <p:sp>
        <p:nvSpPr>
          <p:cNvPr id="215" name="Rectangle 214"/>
          <p:cNvSpPr/>
          <p:nvPr/>
        </p:nvSpPr>
        <p:spPr>
          <a:xfrm>
            <a:off x="4451350" y="1016000"/>
            <a:ext cx="4477134" cy="34448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Aktyvių vartotojų pasiskirstymas pagal kalbą, proc.</a:t>
            </a:r>
            <a:endParaRPr lang="lt-LT" sz="1200" dirty="0">
              <a:solidFill>
                <a:schemeClr val="bg1"/>
              </a:solidFill>
              <a:cs typeface="Cambria"/>
            </a:endParaRPr>
          </a:p>
        </p:txBody>
      </p:sp>
      <p:graphicFrame>
        <p:nvGraphicFramePr>
          <p:cNvPr id="533" name="Object 532"/>
          <p:cNvGraphicFramePr>
            <a:graphicFrameLocks/>
          </p:cNvGraphicFramePr>
          <p:nvPr>
            <p:custDataLst>
              <p:tags r:id="rId74"/>
            </p:custDataLst>
            <p:extLst>
              <p:ext uri="{D42A27DB-BD31-4B8C-83A1-F6EECF244321}">
                <p14:modId xmlns:p14="http://schemas.microsoft.com/office/powerpoint/2010/main" val="351874473"/>
              </p:ext>
            </p:extLst>
          </p:nvPr>
        </p:nvGraphicFramePr>
        <p:xfrm>
          <a:off x="5943600" y="1295401"/>
          <a:ext cx="2238350" cy="2304963"/>
        </p:xfrm>
        <a:graphic>
          <a:graphicData uri="http://schemas.openxmlformats.org/presentationml/2006/ole">
            <mc:AlternateContent xmlns:mc="http://schemas.openxmlformats.org/markup-compatibility/2006">
              <mc:Choice xmlns:v="urn:schemas-microsoft-com:vml" Requires="v">
                <p:oleObj spid="_x0000_s18505" name="Chart" r:id="rId110" imgW="2238437" imgH="2304920" progId="MSGraph.Chart.8">
                  <p:embed followColorScheme="full"/>
                </p:oleObj>
              </mc:Choice>
              <mc:Fallback>
                <p:oleObj name="Chart" r:id="rId110" imgW="2238437" imgH="2304920" progId="MSGraph.Chart.8">
                  <p:embed followColorScheme="full"/>
                  <p:pic>
                    <p:nvPicPr>
                      <p:cNvPr id="0" name=""/>
                      <p:cNvPicPr/>
                      <p:nvPr/>
                    </p:nvPicPr>
                    <p:blipFill>
                      <a:blip r:embed="rId111"/>
                      <a:stretch>
                        <a:fillRect/>
                      </a:stretch>
                    </p:blipFill>
                    <p:spPr>
                      <a:xfrm>
                        <a:off x="5943600" y="1295401"/>
                        <a:ext cx="2238350" cy="2304963"/>
                      </a:xfrm>
                      <a:prstGeom prst="rect">
                        <a:avLst/>
                      </a:prstGeom>
                    </p:spPr>
                  </p:pic>
                </p:oleObj>
              </mc:Fallback>
            </mc:AlternateContent>
          </a:graphicData>
        </a:graphic>
      </p:graphicFrame>
      <p:sp>
        <p:nvSpPr>
          <p:cNvPr id="288" name="Rectangle 287"/>
          <p:cNvSpPr/>
          <p:nvPr>
            <p:custDataLst>
              <p:tags r:id="rId75"/>
            </p:custDataLst>
          </p:nvPr>
        </p:nvSpPr>
        <p:spPr bwMode="gray">
          <a:xfrm>
            <a:off x="6149975" y="2995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F82C49D-2B2F-45A6-A842-968A40940906}"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6CE05509-A74A-4E62-83B6-724CBA994A6E}" type="datetime'''1''''''''''''''''''''''''''''''''''''''''''2'''''''''">
              <a:rPr lang="en-US" sz="1000" smtClean="0">
                <a:solidFill>
                  <a:schemeClr val="tx1"/>
                </a:solidFill>
                <a:sym typeface="+mn-lt"/>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535" name="Rectangle 534"/>
          <p:cNvSpPr/>
          <p:nvPr>
            <p:custDataLst>
              <p:tags r:id="rId76"/>
            </p:custDataLst>
          </p:nvPr>
        </p:nvSpPr>
        <p:spPr bwMode="gray">
          <a:xfrm>
            <a:off x="8093075" y="14287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A845C6E-70A3-4CF2-AE5A-907EAD550D27}" type="datetime'''''3''''''''''4''''''''''''''''''''''%'''''''''''''''''''''''">
              <a:rPr lang="en-US" sz="1000">
                <a:solidFill>
                  <a:schemeClr val="tx1"/>
                </a:solidFill>
                <a:sym typeface="+mn-lt"/>
              </a:rPr>
              <a:pPr>
                <a:spcBef>
                  <a:spcPct val="0"/>
                </a:spcBef>
                <a:spcAft>
                  <a:spcPct val="0"/>
                </a:spcAft>
              </a:pPr>
              <a:t>34%</a:t>
            </a:fld>
            <a:r>
              <a:rPr lang="en-US" sz="1000" smtClean="0">
                <a:solidFill>
                  <a:schemeClr val="tx1"/>
                </a:solidFill>
                <a:sym typeface="+mn-lt"/>
              </a:rPr>
              <a:t> (</a:t>
            </a:r>
            <a:fld id="{7158D227-3C71-4FC0-9073-F6BF4A18F64B}" type="datetime'27''''''''''''''''''''''''''''''''6'''''''''">
              <a:rPr lang="en-US" sz="1000" smtClean="0">
                <a:solidFill>
                  <a:schemeClr val="tx1"/>
                </a:solidFill>
                <a:sym typeface="+mn-lt"/>
              </a:rPr>
              <a:pPr>
                <a:spcBef>
                  <a:spcPct val="0"/>
                </a:spcBef>
                <a:spcAft>
                  <a:spcPct val="0"/>
                </a:spcAft>
              </a:pPr>
              <a:t>276</a:t>
            </a:fld>
            <a:r>
              <a:rPr lang="en-US" sz="1000" smtClean="0">
                <a:solidFill>
                  <a:schemeClr val="tx1"/>
                </a:solidFill>
                <a:sym typeface="+mn-lt"/>
              </a:rPr>
              <a:t>)</a:t>
            </a:r>
            <a:endParaRPr lang="en-US" sz="1000">
              <a:solidFill>
                <a:schemeClr val="tx1"/>
              </a:solidFill>
              <a:sym typeface="+mn-lt"/>
            </a:endParaRPr>
          </a:p>
        </p:txBody>
      </p:sp>
      <p:sp>
        <p:nvSpPr>
          <p:cNvPr id="289" name="Rectangle 288"/>
          <p:cNvSpPr/>
          <p:nvPr>
            <p:custDataLst>
              <p:tags r:id="rId77"/>
            </p:custDataLst>
          </p:nvPr>
        </p:nvSpPr>
        <p:spPr bwMode="gray">
          <a:xfrm>
            <a:off x="6149975" y="31718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E0A3A81-F8D2-4556-98A3-4C001A05F1A7}"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96466D8F-C4BF-42FD-98BF-B112002A512A}" type="datetime'1''''''''''''''''''''''''''''''''''''2'''''">
              <a:rPr lang="en-US" sz="1000" smtClean="0">
                <a:solidFill>
                  <a:schemeClr val="tx1"/>
                </a:solidFill>
                <a:sym typeface="+mn-lt"/>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532" name="Rectangle 531"/>
          <p:cNvSpPr/>
          <p:nvPr>
            <p:custDataLst>
              <p:tags r:id="rId78"/>
            </p:custDataLst>
          </p:nvPr>
        </p:nvSpPr>
        <p:spPr bwMode="auto">
          <a:xfrm>
            <a:off x="5211763" y="1428750"/>
            <a:ext cx="725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D276EA1-90F0-47A0-BD24-50C8139FCF5C}" type="datetime'a''n''g''''''''''lų'','''''''''' ''''l''iet''uvių'''''''">
              <a:rPr lang="en-US" sz="1000">
                <a:solidFill>
                  <a:schemeClr val="tx1"/>
                </a:solidFill>
                <a:sym typeface="+mn-lt"/>
              </a:rPr>
              <a:pPr algn="r">
                <a:spcBef>
                  <a:spcPct val="0"/>
                </a:spcBef>
                <a:spcAft>
                  <a:spcPct val="0"/>
                </a:spcAft>
              </a:pPr>
              <a:t>anglų, lietuvių</a:t>
            </a:fld>
            <a:endParaRPr lang="en-US" sz="1000">
              <a:solidFill>
                <a:schemeClr val="tx1"/>
              </a:solidFill>
              <a:sym typeface="+mn-lt"/>
            </a:endParaRPr>
          </a:p>
        </p:txBody>
      </p:sp>
      <p:sp>
        <p:nvSpPr>
          <p:cNvPr id="290" name="Rectangle 289"/>
          <p:cNvSpPr/>
          <p:nvPr>
            <p:custDataLst>
              <p:tags r:id="rId79"/>
            </p:custDataLst>
          </p:nvPr>
        </p:nvSpPr>
        <p:spPr bwMode="gray">
          <a:xfrm>
            <a:off x="6140450" y="33432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D267199-9C63-464C-82E1-60E6F121E712}"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11AD6447-B351-4459-830F-C41B0B2674F6}" type="datetime'''''''''''''''''''''''''''''''''11'''">
              <a:rPr lang="en-US" sz="1000" smtClean="0">
                <a:solidFill>
                  <a:schemeClr val="tx1"/>
                </a:solidFill>
                <a:sym typeface="+mn-lt"/>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224" name="Rectangle 223"/>
          <p:cNvSpPr/>
          <p:nvPr>
            <p:custDataLst>
              <p:tags r:id="rId80"/>
            </p:custDataLst>
          </p:nvPr>
        </p:nvSpPr>
        <p:spPr bwMode="auto">
          <a:xfrm>
            <a:off x="4729163" y="1952625"/>
            <a:ext cx="1208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5D8D9CA-13C5-4DE2-B120-5A6F6E81A02B}" type="datetime'angl''ų, l''i''e''t''uv''''i''ų'''', v''okie''''č''ių'''''''''">
              <a:rPr lang="en-US" sz="1000">
                <a:solidFill>
                  <a:schemeClr val="tx1"/>
                </a:solidFill>
                <a:sym typeface="+mn-lt"/>
              </a:rPr>
              <a:pPr/>
              <a:t>anglų, lietuvių, vokiečių</a:t>
            </a:fld>
            <a:endParaRPr lang="en-US" sz="1000">
              <a:solidFill>
                <a:schemeClr val="tx1"/>
              </a:solidFill>
              <a:sym typeface="+mn-lt"/>
            </a:endParaRPr>
          </a:p>
        </p:txBody>
      </p:sp>
      <p:sp>
        <p:nvSpPr>
          <p:cNvPr id="30" name="Rectangle 29"/>
          <p:cNvSpPr/>
          <p:nvPr>
            <p:custDataLst>
              <p:tags r:id="rId81"/>
            </p:custDataLst>
          </p:nvPr>
        </p:nvSpPr>
        <p:spPr bwMode="auto">
          <a:xfrm>
            <a:off x="5654675" y="1604963"/>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3949B81-C553-46C7-947E-5CE74325895D}" type="datetime'''''''''''''''''''''''''''''''a''''n''g''''''''''''''''lų'''''">
              <a:rPr lang="en-US" sz="1000">
                <a:solidFill>
                  <a:schemeClr val="tx1"/>
                </a:solidFill>
                <a:sym typeface="+mn-lt"/>
              </a:rPr>
              <a:pPr/>
              <a:t>anglų</a:t>
            </a:fld>
            <a:endParaRPr lang="en-US" sz="1000">
              <a:solidFill>
                <a:schemeClr val="tx1"/>
              </a:solidFill>
              <a:sym typeface="+mn-lt"/>
            </a:endParaRPr>
          </a:p>
        </p:txBody>
      </p:sp>
      <p:sp>
        <p:nvSpPr>
          <p:cNvPr id="31" name="Rectangle 30"/>
          <p:cNvSpPr/>
          <p:nvPr>
            <p:custDataLst>
              <p:tags r:id="rId82"/>
            </p:custDataLst>
          </p:nvPr>
        </p:nvSpPr>
        <p:spPr bwMode="auto">
          <a:xfrm>
            <a:off x="4892675" y="1781175"/>
            <a:ext cx="1044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326640-9570-42C1-9C54-8B0C6476020D}" type="datetime'angl''ų'','''' ''''l''i''e''t''u''vių'', r''u''''''''''s''ų,'">
              <a:rPr lang="en-US" sz="1000">
                <a:solidFill>
                  <a:schemeClr val="tx1"/>
                </a:solidFill>
                <a:sym typeface="+mn-lt"/>
              </a:rPr>
              <a:pPr/>
              <a:t>anglų, lietuvių, rusų,</a:t>
            </a:fld>
            <a:endParaRPr lang="en-US" sz="1000">
              <a:solidFill>
                <a:schemeClr val="tx1"/>
              </a:solidFill>
              <a:sym typeface="+mn-lt"/>
            </a:endParaRPr>
          </a:p>
        </p:txBody>
      </p:sp>
      <p:sp>
        <p:nvSpPr>
          <p:cNvPr id="537" name="Rectangle 536"/>
          <p:cNvSpPr/>
          <p:nvPr>
            <p:custDataLst>
              <p:tags r:id="rId83"/>
            </p:custDataLst>
          </p:nvPr>
        </p:nvSpPr>
        <p:spPr bwMode="gray">
          <a:xfrm>
            <a:off x="6502400" y="17811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EAB244F-BEF1-4036-A4D4-B2531F67304A}" type="datetime'''7''''''''''''''''''''%'''''''''''''''''''''''''">
              <a:rPr lang="en-US" sz="1000">
                <a:solidFill>
                  <a:schemeClr val="tx1"/>
                </a:solidFill>
                <a:sym typeface="+mn-lt"/>
              </a:rPr>
              <a:pPr>
                <a:spcBef>
                  <a:spcPct val="0"/>
                </a:spcBef>
                <a:spcAft>
                  <a:spcPct val="0"/>
                </a:spcAft>
              </a:pPr>
              <a:t>7%</a:t>
            </a:fld>
            <a:r>
              <a:rPr lang="en-US" sz="1000" smtClean="0">
                <a:solidFill>
                  <a:schemeClr val="tx1"/>
                </a:solidFill>
                <a:sym typeface="+mn-lt"/>
              </a:rPr>
              <a:t> (</a:t>
            </a:r>
            <a:fld id="{CF176785-2942-4A59-9912-BD2A2DD7E1C0}" type="datetime'''''''''''5''''''''''''''''''''''''''''''''''''''''''''''9'''">
              <a:rPr lang="en-US" sz="1000" smtClean="0">
                <a:solidFill>
                  <a:schemeClr val="tx1"/>
                </a:solidFill>
                <a:sym typeface="+mn-lt"/>
              </a:rPr>
              <a:pPr>
                <a:spcBef>
                  <a:spcPct val="0"/>
                </a:spcBef>
                <a:spcAft>
                  <a:spcPct val="0"/>
                </a:spcAft>
              </a:pPr>
              <a:t>59</a:t>
            </a:fld>
            <a:r>
              <a:rPr lang="en-US" sz="1000" smtClean="0">
                <a:solidFill>
                  <a:schemeClr val="tx1"/>
                </a:solidFill>
                <a:sym typeface="+mn-lt"/>
              </a:rPr>
              <a:t>)</a:t>
            </a:r>
            <a:endParaRPr lang="en-US" sz="1000">
              <a:solidFill>
                <a:schemeClr val="tx1"/>
              </a:solidFill>
              <a:sym typeface="+mn-lt"/>
            </a:endParaRPr>
          </a:p>
        </p:txBody>
      </p:sp>
      <p:sp>
        <p:nvSpPr>
          <p:cNvPr id="538" name="Rectangle 537"/>
          <p:cNvSpPr/>
          <p:nvPr>
            <p:custDataLst>
              <p:tags r:id="rId84"/>
            </p:custDataLst>
          </p:nvPr>
        </p:nvSpPr>
        <p:spPr bwMode="gray">
          <a:xfrm>
            <a:off x="6340475" y="19526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549DFA7-00E8-4063-ACC3-A09D0BD8F942}" type="datetime'5''''''''''''''''''''''%'''''''''''''''''''''">
              <a:rPr lang="en-US" sz="1000">
                <a:solidFill>
                  <a:schemeClr val="tx1"/>
                </a:solidFill>
                <a:sym typeface="+mn-lt"/>
              </a:rPr>
              <a:pPr>
                <a:spcBef>
                  <a:spcPct val="0"/>
                </a:spcBef>
                <a:spcAft>
                  <a:spcPct val="0"/>
                </a:spcAft>
              </a:pPr>
              <a:t>5%</a:t>
            </a:fld>
            <a:r>
              <a:rPr lang="en-US" sz="1000" smtClean="0">
                <a:solidFill>
                  <a:schemeClr val="tx1"/>
                </a:solidFill>
                <a:sym typeface="+mn-lt"/>
              </a:rPr>
              <a:t> (</a:t>
            </a:r>
            <a:fld id="{752EA0EC-4E2E-4D53-8845-8BF7871C32BE}" type="datetime'''''''''''''''3''''''8'''''''''''''''">
              <a:rPr lang="en-US" sz="1000" smtClean="0">
                <a:solidFill>
                  <a:schemeClr val="tx1"/>
                </a:solidFill>
                <a:sym typeface="+mn-lt"/>
              </a:rPr>
              <a:pPr>
                <a:spcBef>
                  <a:spcPct val="0"/>
                </a:spcBef>
                <a:spcAft>
                  <a:spcPct val="0"/>
                </a:spcAft>
              </a:pPr>
              <a:t>38</a:t>
            </a:fld>
            <a:r>
              <a:rPr lang="en-US" sz="1000" smtClean="0">
                <a:solidFill>
                  <a:schemeClr val="tx1"/>
                </a:solidFill>
                <a:sym typeface="+mn-lt"/>
              </a:rPr>
              <a:t>)</a:t>
            </a:r>
            <a:endParaRPr lang="en-US" sz="1000">
              <a:solidFill>
                <a:schemeClr val="tx1"/>
              </a:solidFill>
              <a:sym typeface="+mn-lt"/>
            </a:endParaRPr>
          </a:p>
        </p:txBody>
      </p:sp>
      <p:sp>
        <p:nvSpPr>
          <p:cNvPr id="536" name="Rectangle 535"/>
          <p:cNvSpPr/>
          <p:nvPr>
            <p:custDataLst>
              <p:tags r:id="rId85"/>
            </p:custDataLst>
          </p:nvPr>
        </p:nvSpPr>
        <p:spPr bwMode="gray">
          <a:xfrm>
            <a:off x="7626350" y="16049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2FC4601-58F3-44A4-9BEF-CB28A774EADD}" type="datetime'''''''''''''''''''''''''''''''''2''''''''''''''''''''6''%'''''">
              <a:rPr lang="en-US" sz="1000">
                <a:solidFill>
                  <a:schemeClr val="tx1"/>
                </a:solidFill>
                <a:sym typeface="+mn-lt"/>
              </a:rPr>
              <a:pPr>
                <a:spcBef>
                  <a:spcPct val="0"/>
                </a:spcBef>
                <a:spcAft>
                  <a:spcPct val="0"/>
                </a:spcAft>
              </a:pPr>
              <a:t>26%</a:t>
            </a:fld>
            <a:r>
              <a:rPr lang="en-US" sz="1000" smtClean="0">
                <a:solidFill>
                  <a:schemeClr val="tx1"/>
                </a:solidFill>
                <a:sym typeface="+mn-lt"/>
              </a:rPr>
              <a:t> (</a:t>
            </a:r>
            <a:fld id="{32950922-FE32-4734-9A51-A80FCD38BD07}" type="datetime'2''''1''2'''''''''''''''''''''''''''''''">
              <a:rPr lang="en-US" sz="1000" smtClean="0">
                <a:solidFill>
                  <a:schemeClr val="tx1"/>
                </a:solidFill>
                <a:sym typeface="+mn-lt"/>
              </a:rPr>
              <a:pPr>
                <a:spcBef>
                  <a:spcPct val="0"/>
                </a:spcBef>
                <a:spcAft>
                  <a:spcPct val="0"/>
                </a:spcAft>
              </a:pPr>
              <a:t>212</a:t>
            </a:fld>
            <a:r>
              <a:rPr lang="en-US" sz="1000" smtClean="0">
                <a:solidFill>
                  <a:schemeClr val="tx1"/>
                </a:solidFill>
                <a:sym typeface="+mn-lt"/>
              </a:rPr>
              <a:t>)</a:t>
            </a:r>
            <a:endParaRPr lang="en-US" sz="1000">
              <a:solidFill>
                <a:schemeClr val="tx1"/>
              </a:solidFill>
              <a:sym typeface="+mn-lt"/>
            </a:endParaRPr>
          </a:p>
        </p:txBody>
      </p:sp>
      <p:sp>
        <p:nvSpPr>
          <p:cNvPr id="277" name="Rectangle 276"/>
          <p:cNvSpPr/>
          <p:nvPr>
            <p:custDataLst>
              <p:tags r:id="rId86"/>
            </p:custDataLst>
          </p:nvPr>
        </p:nvSpPr>
        <p:spPr bwMode="auto">
          <a:xfrm>
            <a:off x="5514975" y="3171825"/>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F0E3901-FA02-4C85-BFF1-B7CA2AA37DE9}" type="datetime'vo''''''''ki''''e''č''''''i''''''ų'''''''''">
              <a:rPr lang="en-US" sz="1000">
                <a:solidFill>
                  <a:schemeClr val="tx1"/>
                </a:solidFill>
                <a:sym typeface="+mn-lt"/>
              </a:rPr>
              <a:pPr/>
              <a:t>vokiečių</a:t>
            </a:fld>
            <a:endParaRPr lang="en-US" sz="1000">
              <a:solidFill>
                <a:schemeClr val="tx1"/>
              </a:solidFill>
              <a:sym typeface="+mn-lt"/>
            </a:endParaRPr>
          </a:p>
        </p:txBody>
      </p:sp>
      <p:sp>
        <p:nvSpPr>
          <p:cNvPr id="539" name="Rectangle 538"/>
          <p:cNvSpPr/>
          <p:nvPr>
            <p:custDataLst>
              <p:tags r:id="rId87"/>
            </p:custDataLst>
          </p:nvPr>
        </p:nvSpPr>
        <p:spPr bwMode="gray">
          <a:xfrm>
            <a:off x="6302375" y="21240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0D1B987-DC81-4392-8E7B-25A66671EF56}" type="datetime'''''4''''''''''''''''''%'''''''''''''''''''''''''''''''''''''">
              <a:rPr lang="en-US" sz="1000">
                <a:solidFill>
                  <a:schemeClr val="tx1"/>
                </a:solidFill>
                <a:sym typeface="+mn-lt"/>
              </a:rPr>
              <a:pPr>
                <a:spcBef>
                  <a:spcPct val="0"/>
                </a:spcBef>
                <a:spcAft>
                  <a:spcPct val="0"/>
                </a:spcAft>
              </a:pPr>
              <a:t>4%</a:t>
            </a:fld>
            <a:r>
              <a:rPr lang="en-US" sz="1000" smtClean="0">
                <a:solidFill>
                  <a:schemeClr val="tx1"/>
                </a:solidFill>
                <a:sym typeface="+mn-lt"/>
              </a:rPr>
              <a:t> (</a:t>
            </a:r>
            <a:fld id="{6B5550C2-8C99-41D3-A15B-F0B86BA6C826}" type="datetime'''''''''''''''''''''''''''3''''3'''''''''">
              <a:rPr lang="en-US" sz="1000" smtClean="0">
                <a:solidFill>
                  <a:schemeClr val="tx1"/>
                </a:solidFill>
                <a:sym typeface="+mn-lt"/>
              </a:rPr>
              <a:pPr>
                <a:spcBef>
                  <a:spcPct val="0"/>
                </a:spcBef>
                <a:spcAft>
                  <a:spcPct val="0"/>
                </a:spcAft>
              </a:pPr>
              <a:t>33</a:t>
            </a:fld>
            <a:r>
              <a:rPr lang="en-US" sz="1000" smtClean="0">
                <a:solidFill>
                  <a:schemeClr val="tx1"/>
                </a:solidFill>
                <a:sym typeface="+mn-lt"/>
              </a:rPr>
              <a:t>)</a:t>
            </a:r>
            <a:endParaRPr lang="en-US" sz="1000">
              <a:solidFill>
                <a:schemeClr val="tx1"/>
              </a:solidFill>
              <a:sym typeface="+mn-lt"/>
            </a:endParaRPr>
          </a:p>
        </p:txBody>
      </p:sp>
      <p:sp>
        <p:nvSpPr>
          <p:cNvPr id="540" name="Rectangle 539"/>
          <p:cNvSpPr/>
          <p:nvPr>
            <p:custDataLst>
              <p:tags r:id="rId88"/>
            </p:custDataLst>
          </p:nvPr>
        </p:nvSpPr>
        <p:spPr bwMode="gray">
          <a:xfrm>
            <a:off x="6283325" y="23002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FF6E1E5-F958-42FB-9655-8F03A9A79985}" type="datetime'''''''''''''''4%'''''''''''''''''''''''">
              <a:rPr lang="en-US" sz="1000">
                <a:solidFill>
                  <a:schemeClr val="tx1"/>
                </a:solidFill>
                <a:sym typeface="+mn-lt"/>
              </a:rPr>
              <a:pPr>
                <a:spcBef>
                  <a:spcPct val="0"/>
                </a:spcBef>
                <a:spcAft>
                  <a:spcPct val="0"/>
                </a:spcAft>
              </a:pPr>
              <a:t>4%</a:t>
            </a:fld>
            <a:r>
              <a:rPr lang="en-US" sz="1000" smtClean="0">
                <a:solidFill>
                  <a:schemeClr val="tx1"/>
                </a:solidFill>
                <a:sym typeface="+mn-lt"/>
              </a:rPr>
              <a:t> (</a:t>
            </a:r>
            <a:fld id="{60E4C642-C507-4607-B097-70F7B0459111}" type="datetime'3''''''''''''''''0'''''''''''''">
              <a:rPr lang="en-US" sz="1000" smtClean="0">
                <a:solidFill>
                  <a:schemeClr val="tx1"/>
                </a:solidFill>
                <a:sym typeface="+mn-lt"/>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270" name="Rectangle 269"/>
          <p:cNvSpPr/>
          <p:nvPr>
            <p:custDataLst>
              <p:tags r:id="rId89"/>
            </p:custDataLst>
          </p:nvPr>
        </p:nvSpPr>
        <p:spPr bwMode="auto">
          <a:xfrm>
            <a:off x="5072063" y="2995613"/>
            <a:ext cx="865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8DF0E37-8BCE-44D9-881E-FBCAB75B3517}" type="datetime'''l''''i''e''t''''''''uv''ių,'''''' v''oki''''e''''''či''ų'''">
              <a:rPr lang="en-US" sz="1000">
                <a:solidFill>
                  <a:schemeClr val="tx1"/>
                </a:solidFill>
                <a:sym typeface="+mn-lt"/>
              </a:rPr>
              <a:pPr/>
              <a:t>lietuvių, vokiečių</a:t>
            </a:fld>
            <a:endParaRPr lang="en-US" sz="1000">
              <a:solidFill>
                <a:schemeClr val="tx1"/>
              </a:solidFill>
              <a:sym typeface="+mn-lt"/>
            </a:endParaRPr>
          </a:p>
        </p:txBody>
      </p:sp>
      <p:sp>
        <p:nvSpPr>
          <p:cNvPr id="267" name="Rectangle 266"/>
          <p:cNvSpPr/>
          <p:nvPr>
            <p:custDataLst>
              <p:tags r:id="rId90"/>
            </p:custDataLst>
          </p:nvPr>
        </p:nvSpPr>
        <p:spPr bwMode="auto">
          <a:xfrm>
            <a:off x="4868863" y="2476500"/>
            <a:ext cx="10683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E317BD9-3813-4BE3-87E6-AEADE457E06F}" type="datetime'''ang''lų, ''l''enk''ų'''''''''''''''''''''', liet''uvi''ų'">
              <a:rPr lang="en-US" sz="1000">
                <a:solidFill>
                  <a:schemeClr val="tx1"/>
                </a:solidFill>
                <a:sym typeface="+mn-lt"/>
              </a:rPr>
              <a:pPr/>
              <a:t>anglų, lenkų, lietuvių</a:t>
            </a:fld>
            <a:endParaRPr lang="en-US" sz="1000">
              <a:solidFill>
                <a:schemeClr val="tx1"/>
              </a:solidFill>
              <a:sym typeface="+mn-lt"/>
            </a:endParaRPr>
          </a:p>
        </p:txBody>
      </p:sp>
      <p:sp>
        <p:nvSpPr>
          <p:cNvPr id="269" name="Rectangle 268"/>
          <p:cNvSpPr/>
          <p:nvPr>
            <p:custDataLst>
              <p:tags r:id="rId91"/>
            </p:custDataLst>
          </p:nvPr>
        </p:nvSpPr>
        <p:spPr bwMode="auto">
          <a:xfrm>
            <a:off x="4646613" y="2819400"/>
            <a:ext cx="12906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0338F3-D187-41CC-ACDF-0BD282B53A21}" type="datetime'an''gl''ų, ''''''l''iet''''uvi''ų,'''' ''''''''''prancū''zų '">
              <a:rPr lang="en-US" sz="1000">
                <a:solidFill>
                  <a:schemeClr val="tx1"/>
                </a:solidFill>
                <a:sym typeface="+mn-lt"/>
              </a:rPr>
              <a:pPr/>
              <a:t>anglų, lietuvių, prancūzų </a:t>
            </a:fld>
            <a:endParaRPr lang="en-US" sz="1000">
              <a:solidFill>
                <a:schemeClr val="tx1"/>
              </a:solidFill>
              <a:sym typeface="+mn-lt"/>
            </a:endParaRPr>
          </a:p>
        </p:txBody>
      </p:sp>
      <p:sp>
        <p:nvSpPr>
          <p:cNvPr id="266" name="Rectangle 265"/>
          <p:cNvSpPr/>
          <p:nvPr>
            <p:custDataLst>
              <p:tags r:id="rId92"/>
            </p:custDataLst>
          </p:nvPr>
        </p:nvSpPr>
        <p:spPr bwMode="auto">
          <a:xfrm>
            <a:off x="5554663" y="2300288"/>
            <a:ext cx="382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C6DC425-8273-4C98-8F6A-5EF8FA62DDF1}" type="datetime'''''''''''''l''''''''i''''e''''tu''''''v''i''ų'''''">
              <a:rPr lang="en-US" sz="1000">
                <a:solidFill>
                  <a:schemeClr val="tx1"/>
                </a:solidFill>
                <a:sym typeface="+mn-lt"/>
              </a:rPr>
              <a:pPr/>
              <a:t>lietuvių</a:t>
            </a:fld>
            <a:endParaRPr lang="en-US" sz="1000">
              <a:solidFill>
                <a:schemeClr val="tx1"/>
              </a:solidFill>
              <a:sym typeface="+mn-lt"/>
            </a:endParaRPr>
          </a:p>
        </p:txBody>
      </p:sp>
      <p:sp>
        <p:nvSpPr>
          <p:cNvPr id="278" name="Rectangle 277"/>
          <p:cNvSpPr/>
          <p:nvPr>
            <p:custDataLst>
              <p:tags r:id="rId93"/>
            </p:custDataLst>
          </p:nvPr>
        </p:nvSpPr>
        <p:spPr bwMode="auto">
          <a:xfrm>
            <a:off x="5367338" y="3343275"/>
            <a:ext cx="5699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6D6CDE-A993-47D6-95ED-04DE503E1A09}" type="datetime'''''a''ng''''''''''l''ų'''''','''''''''' rus''''ų'">
              <a:rPr lang="en-US" sz="1000">
                <a:solidFill>
                  <a:schemeClr val="tx1"/>
                </a:solidFill>
                <a:sym typeface="+mn-lt"/>
              </a:rPr>
              <a:pPr/>
              <a:t>anglų, rusų</a:t>
            </a:fld>
            <a:endParaRPr lang="en-US" sz="1000">
              <a:solidFill>
                <a:schemeClr val="tx1"/>
              </a:solidFill>
              <a:sym typeface="+mn-lt"/>
            </a:endParaRPr>
          </a:p>
        </p:txBody>
      </p:sp>
      <p:sp>
        <p:nvSpPr>
          <p:cNvPr id="268" name="Rectangle 267"/>
          <p:cNvSpPr/>
          <p:nvPr>
            <p:custDataLst>
              <p:tags r:id="rId94"/>
            </p:custDataLst>
          </p:nvPr>
        </p:nvSpPr>
        <p:spPr bwMode="auto">
          <a:xfrm>
            <a:off x="5172075" y="2647950"/>
            <a:ext cx="7651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8E968F0-8630-495F-890F-50AC268B5D03}" type="datetime'anglų,'' vo''''''''''''kieč''''''''ių'''''''''''''''">
              <a:rPr lang="en-US" sz="1000">
                <a:solidFill>
                  <a:schemeClr val="tx1"/>
                </a:solidFill>
                <a:sym typeface="+mn-lt"/>
              </a:rPr>
              <a:pPr/>
              <a:t>anglų, vokiečių</a:t>
            </a:fld>
            <a:endParaRPr lang="en-US" sz="1000">
              <a:solidFill>
                <a:schemeClr val="tx1"/>
              </a:solidFill>
              <a:sym typeface="+mn-lt"/>
            </a:endParaRPr>
          </a:p>
        </p:txBody>
      </p:sp>
      <p:sp>
        <p:nvSpPr>
          <p:cNvPr id="265" name="Rectangle 264"/>
          <p:cNvSpPr/>
          <p:nvPr>
            <p:custDataLst>
              <p:tags r:id="rId95"/>
            </p:custDataLst>
          </p:nvPr>
        </p:nvSpPr>
        <p:spPr bwMode="auto">
          <a:xfrm>
            <a:off x="5267325" y="2124075"/>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9A79FC-A946-47B2-81E3-AB6AA98EB218}" type="datetime'''li''''''''''''''et''u''v''''''i''ų'''''''''''','' r''''usų'">
              <a:rPr lang="en-US" sz="1000">
                <a:solidFill>
                  <a:schemeClr val="tx1"/>
                </a:solidFill>
                <a:sym typeface="+mn-lt"/>
              </a:rPr>
              <a:pPr/>
              <a:t>lietuvių, rusų</a:t>
            </a:fld>
            <a:endParaRPr lang="en-US" sz="1000">
              <a:solidFill>
                <a:schemeClr val="tx1"/>
              </a:solidFill>
              <a:sym typeface="+mn-lt"/>
            </a:endParaRPr>
          </a:p>
        </p:txBody>
      </p:sp>
      <p:sp>
        <p:nvSpPr>
          <p:cNvPr id="541" name="Rectangle 540"/>
          <p:cNvSpPr/>
          <p:nvPr>
            <p:custDataLst>
              <p:tags r:id="rId96"/>
            </p:custDataLst>
          </p:nvPr>
        </p:nvSpPr>
        <p:spPr bwMode="gray">
          <a:xfrm>
            <a:off x="6216650" y="24765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308DB86-B689-4ED4-B308-46F0602161A2}" type="datetime'''''''3''''''''''''''''''''''''''''''''''''''''%'''''''">
              <a:rPr lang="en-US" sz="1000">
                <a:solidFill>
                  <a:schemeClr val="tx1"/>
                </a:solidFill>
                <a:sym typeface="+mn-lt"/>
              </a:rPr>
              <a:pPr>
                <a:spcBef>
                  <a:spcPct val="0"/>
                </a:spcBef>
                <a:spcAft>
                  <a:spcPct val="0"/>
                </a:spcAft>
              </a:pPr>
              <a:t>3%</a:t>
            </a:fld>
            <a:r>
              <a:rPr lang="en-US" sz="1000" smtClean="0">
                <a:solidFill>
                  <a:schemeClr val="tx1"/>
                </a:solidFill>
                <a:sym typeface="+mn-lt"/>
              </a:rPr>
              <a:t> (</a:t>
            </a:r>
            <a:fld id="{7ABD1D67-FC58-445E-9D34-BDE393C170C4}" type="datetime'''''''''''''''''''2''''''''1'">
              <a:rPr lang="en-US" sz="1000" smtClean="0">
                <a:solidFill>
                  <a:schemeClr val="tx1"/>
                </a:solidFill>
                <a:sym typeface="+mn-lt"/>
              </a:rPr>
              <a:pPr>
                <a:spcBef>
                  <a:spcPct val="0"/>
                </a:spcBef>
                <a:spcAft>
                  <a:spcPct val="0"/>
                </a:spcAft>
              </a:pPr>
              <a:t>21</a:t>
            </a:fld>
            <a:r>
              <a:rPr lang="en-US" sz="1000" smtClean="0">
                <a:solidFill>
                  <a:schemeClr val="tx1"/>
                </a:solidFill>
                <a:sym typeface="+mn-lt"/>
              </a:rPr>
              <a:t>)</a:t>
            </a:r>
            <a:endParaRPr lang="en-US" sz="1000">
              <a:solidFill>
                <a:schemeClr val="tx1"/>
              </a:solidFill>
              <a:sym typeface="+mn-lt"/>
            </a:endParaRPr>
          </a:p>
        </p:txBody>
      </p:sp>
      <p:sp>
        <p:nvSpPr>
          <p:cNvPr id="542" name="Rectangle 541"/>
          <p:cNvSpPr/>
          <p:nvPr>
            <p:custDataLst>
              <p:tags r:id="rId97"/>
            </p:custDataLst>
          </p:nvPr>
        </p:nvSpPr>
        <p:spPr bwMode="gray">
          <a:xfrm>
            <a:off x="6188075" y="264795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EC7AC81-5824-43A3-8C0C-605C03D8E291}" type="datetime'''''''''''''2''''''''''''''''''''''''''''''''''''''''''''''%'">
              <a:rPr lang="en-US" sz="1000">
                <a:solidFill>
                  <a:schemeClr val="tx1"/>
                </a:solidFill>
                <a:sym typeface="+mn-lt"/>
              </a:rPr>
              <a:pPr>
                <a:spcBef>
                  <a:spcPct val="0"/>
                </a:spcBef>
                <a:spcAft>
                  <a:spcPct val="0"/>
                </a:spcAft>
              </a:pPr>
              <a:t>2%</a:t>
            </a:fld>
            <a:r>
              <a:rPr lang="en-US" sz="1000" smtClean="0">
                <a:solidFill>
                  <a:schemeClr val="tx1"/>
                </a:solidFill>
                <a:sym typeface="+mn-lt"/>
              </a:rPr>
              <a:t> (</a:t>
            </a:r>
            <a:fld id="{F0A0360C-A78D-48C2-9784-461A920FABFC}" type="datetime'''''''''''1''''''''''''''''''''''''7'''''''''''''''''''">
              <a:rPr lang="en-US" sz="1000" smtClean="0">
                <a:solidFill>
                  <a:schemeClr val="tx1"/>
                </a:solidFill>
                <a:sym typeface="+mn-lt"/>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543" name="Rectangle 542"/>
          <p:cNvSpPr/>
          <p:nvPr>
            <p:custDataLst>
              <p:tags r:id="rId98"/>
            </p:custDataLst>
          </p:nvPr>
        </p:nvSpPr>
        <p:spPr bwMode="gray">
          <a:xfrm>
            <a:off x="6178550" y="28194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A2D06C7-02DD-412B-B564-39534FC8AC16}" type="datetime'''''''''''''''''''''''''''2''''''''''''''%'">
              <a:rPr lang="en-US" sz="1000">
                <a:solidFill>
                  <a:schemeClr val="tx1"/>
                </a:solidFill>
                <a:sym typeface="+mn-lt"/>
              </a:rPr>
              <a:pPr>
                <a:spcBef>
                  <a:spcPct val="0"/>
                </a:spcBef>
                <a:spcAft>
                  <a:spcPct val="0"/>
                </a:spcAft>
              </a:pPr>
              <a:t>2%</a:t>
            </a:fld>
            <a:r>
              <a:rPr lang="en-US" sz="1000" smtClean="0">
                <a:solidFill>
                  <a:schemeClr val="tx1"/>
                </a:solidFill>
                <a:sym typeface="+mn-lt"/>
              </a:rPr>
              <a:t> (</a:t>
            </a:r>
            <a:fld id="{8F66DD68-7109-470B-A54C-F9E7D77CD550}" type="datetime'''''''1''''''''''''''''''''5'''''''''''''''''''''''''''''">
              <a:rPr lang="en-US" sz="1000" smtClean="0">
                <a:solidFill>
                  <a:schemeClr val="tx1"/>
                </a:solidFill>
                <a:sym typeface="+mn-lt"/>
              </a:rPr>
              <a:pPr>
                <a:spcBef>
                  <a:spcPct val="0"/>
                </a:spcBef>
                <a:spcAft>
                  <a:spcPct val="0"/>
                </a:spcAft>
              </a:pPr>
              <a:t>15</a:t>
            </a:fld>
            <a:r>
              <a:rPr lang="en-US" sz="1000" smtClean="0">
                <a:solidFill>
                  <a:schemeClr val="tx1"/>
                </a:solidFill>
                <a:sym typeface="+mn-lt"/>
              </a:rPr>
              <a:t>)</a:t>
            </a:r>
            <a:endParaRPr lang="en-US" sz="1000">
              <a:solidFill>
                <a:schemeClr val="tx1"/>
              </a:solidFill>
              <a:sym typeface="+mn-lt"/>
            </a:endParaRPr>
          </a:p>
        </p:txBody>
      </p:sp>
      <p:sp>
        <p:nvSpPr>
          <p:cNvPr id="102" name="Rectangle 101"/>
          <p:cNvSpPr/>
          <p:nvPr/>
        </p:nvSpPr>
        <p:spPr>
          <a:xfrm>
            <a:off x="7107534" y="3343275"/>
            <a:ext cx="1985381" cy="2914136"/>
          </a:xfrm>
          <a:prstGeom prst="rect">
            <a:avLst/>
          </a:prstGeom>
          <a:solidFill>
            <a:schemeClr val="bg1"/>
          </a:solid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t"/>
          <a:lstStyle/>
          <a:p>
            <a:pPr marL="96838" indent="-96838" algn="just">
              <a:buFont typeface="Arial" panose="020B0604020202020204" pitchFamily="34" charset="0"/>
              <a:buChar char="•"/>
            </a:pPr>
            <a:r>
              <a:rPr lang="lt-LT" sz="1100" dirty="0" smtClean="0"/>
              <a:t>Didžioji dalis vartotojų nurodė dvi arba vieną kalbas;</a:t>
            </a:r>
          </a:p>
          <a:p>
            <a:pPr marL="96838" indent="-96838" algn="just">
              <a:buFont typeface="Arial" panose="020B0604020202020204" pitchFamily="34" charset="0"/>
              <a:buChar char="•"/>
            </a:pPr>
            <a:r>
              <a:rPr lang="lt-LT" sz="1100" dirty="0" smtClean="0"/>
              <a:t>Didžiausia dalis vartotojų nurodė anglų ir lietuvių kalbas;</a:t>
            </a:r>
          </a:p>
          <a:p>
            <a:pPr marL="96838" indent="-96838" algn="just">
              <a:buFont typeface="Arial" panose="020B0604020202020204" pitchFamily="34" charset="0"/>
              <a:buChar char="•"/>
            </a:pPr>
            <a:r>
              <a:rPr lang="lt-LT" sz="1100" dirty="0" smtClean="0"/>
              <a:t>Tarp kitų kalbų populiariausios buvo vokiečių, rusų, lenkų ir prancūzų kalbos;</a:t>
            </a:r>
          </a:p>
          <a:p>
            <a:pPr marL="96838" indent="-96838" algn="just">
              <a:buFont typeface="Arial" panose="020B0604020202020204" pitchFamily="34" charset="0"/>
              <a:buChar char="•"/>
            </a:pPr>
            <a:r>
              <a:rPr lang="lt-LT" sz="1100" dirty="0" smtClean="0"/>
              <a:t>Dauguma vartotojų nurodžiusių vieną kalbą nurodė anglų, o nurodžiusių dvi kalbas anglų ir lietuvių;</a:t>
            </a:r>
          </a:p>
          <a:p>
            <a:pPr marL="96838" indent="-96838" algn="just">
              <a:buFont typeface="Arial" panose="020B0604020202020204" pitchFamily="34" charset="0"/>
              <a:buChar char="•"/>
            </a:pPr>
            <a:r>
              <a:rPr lang="lt-LT" sz="1100" dirty="0" smtClean="0"/>
              <a:t>Didžiausia dalis aktyvių vartotojų buvo tarp nurodžiusių anglų ir lietuvių kalbas.</a:t>
            </a:r>
          </a:p>
        </p:txBody>
      </p:sp>
    </p:spTree>
    <p:extLst>
      <p:ext uri="{BB962C8B-B14F-4D97-AF65-F5344CB8AC3E}">
        <p14:creationId xmlns:p14="http://schemas.microsoft.com/office/powerpoint/2010/main" val="17462480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27106198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61" name="think-cell Slide" r:id="rId50" imgW="270" imgH="270" progId="TCLayout.ActiveDocument.1">
                  <p:embed/>
                </p:oleObj>
              </mc:Choice>
              <mc:Fallback>
                <p:oleObj name="think-cell Slide" r:id="rId50" imgW="270" imgH="270"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25" name="Rectangle 2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200">
              <a:sym typeface="+mn-lt"/>
            </a:endParaRPr>
          </a:p>
        </p:txBody>
      </p:sp>
      <p:sp>
        <p:nvSpPr>
          <p:cNvPr id="3" name="Title 2"/>
          <p:cNvSpPr>
            <a:spLocks noGrp="1"/>
          </p:cNvSpPr>
          <p:nvPr>
            <p:ph type="title"/>
          </p:nvPr>
        </p:nvSpPr>
        <p:spPr>
          <a:xfrm>
            <a:off x="143508" y="404664"/>
            <a:ext cx="8927652" cy="487362"/>
          </a:xfrm>
        </p:spPr>
        <p:txBody>
          <a:bodyPr>
            <a:normAutofit/>
          </a:bodyPr>
          <a:lstStyle/>
          <a:p>
            <a:r>
              <a:rPr lang="lt-LT" sz="2000" b="1" dirty="0">
                <a:solidFill>
                  <a:schemeClr val="tx2">
                    <a:lumMod val="75000"/>
                  </a:schemeClr>
                </a:solidFill>
              </a:rPr>
              <a:t>Sukuriamų projektų skaičius augo kiekvienais </a:t>
            </a:r>
            <a:r>
              <a:rPr lang="lt-LT" sz="2000" b="1" dirty="0" smtClean="0">
                <a:solidFill>
                  <a:schemeClr val="tx2">
                    <a:lumMod val="75000"/>
                  </a:schemeClr>
                </a:solidFill>
              </a:rPr>
              <a:t>metais</a:t>
            </a:r>
            <a:endParaRPr lang="en-US" sz="2000" b="1" dirty="0">
              <a:solidFill>
                <a:schemeClr val="tx2">
                  <a:lumMod val="75000"/>
                </a:schemeClr>
              </a:solidFil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440565347"/>
              </p:ext>
            </p:extLst>
          </p:nvPr>
        </p:nvGraphicFramePr>
        <p:xfrm>
          <a:off x="4191000" y="1714500"/>
          <a:ext cx="4581455" cy="1219320"/>
        </p:xfrm>
        <a:graphic>
          <a:graphicData uri="http://schemas.openxmlformats.org/presentationml/2006/ole">
            <mc:AlternateContent xmlns:mc="http://schemas.openxmlformats.org/markup-compatibility/2006">
              <mc:Choice xmlns:v="urn:schemas-microsoft-com:vml" Requires="v">
                <p:oleObj spid="_x0000_s21562" name="Chart" r:id="rId52" imgW="4581477" imgH="1219343" progId="MSGraph.Chart.8">
                  <p:embed followColorScheme="full"/>
                </p:oleObj>
              </mc:Choice>
              <mc:Fallback>
                <p:oleObj name="Chart" r:id="rId52" imgW="4581477" imgH="1219343" progId="MSGraph.Chart.8">
                  <p:embed followColorScheme="full"/>
                  <p:pic>
                    <p:nvPicPr>
                      <p:cNvPr id="0" name=""/>
                      <p:cNvPicPr/>
                      <p:nvPr/>
                    </p:nvPicPr>
                    <p:blipFill>
                      <a:blip r:embed="rId53"/>
                      <a:stretch>
                        <a:fillRect/>
                      </a:stretch>
                    </p:blipFill>
                    <p:spPr>
                      <a:xfrm>
                        <a:off x="4191000" y="1714500"/>
                        <a:ext cx="4581455" cy="1219320"/>
                      </a:xfrm>
                      <a:prstGeom prst="rect">
                        <a:avLst/>
                      </a:prstGeom>
                    </p:spPr>
                  </p:pic>
                </p:oleObj>
              </mc:Fallback>
            </mc:AlternateContent>
          </a:graphicData>
        </a:graphic>
      </p:graphicFrame>
      <p:sp>
        <p:nvSpPr>
          <p:cNvPr id="6" name="Rectangle 5"/>
          <p:cNvSpPr/>
          <p:nvPr>
            <p:custDataLst>
              <p:tags r:id="rId5"/>
            </p:custDataLst>
          </p:nvPr>
        </p:nvSpPr>
        <p:spPr bwMode="auto">
          <a:xfrm>
            <a:off x="7594600" y="2946400"/>
            <a:ext cx="10525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46545E9-710E-4F69-A10A-0387588B0F50}" type="datetime'Atm''''e''''s''''t''''a''s'' ''''''(Re''''''j''ec''te''d)'''">
              <a:rPr lang="en-US" sz="1000">
                <a:solidFill>
                  <a:schemeClr val="tx1"/>
                </a:solidFill>
              </a:rPr>
              <a:pPr algn="ctr">
                <a:spcBef>
                  <a:spcPct val="0"/>
                </a:spcBef>
                <a:spcAft>
                  <a:spcPct val="0"/>
                </a:spcAft>
              </a:pPr>
              <a:t>Atmestas (Rejected)</a:t>
            </a:fld>
            <a:endParaRPr lang="en-US" sz="1000" dirty="0">
              <a:solidFill>
                <a:schemeClr val="tx1"/>
              </a:solidFill>
              <a:latin typeface="Calibri"/>
              <a:sym typeface="Calibri"/>
            </a:endParaRPr>
          </a:p>
        </p:txBody>
      </p:sp>
      <p:sp>
        <p:nvSpPr>
          <p:cNvPr id="7" name="Rectangle 6"/>
          <p:cNvSpPr/>
          <p:nvPr>
            <p:custDataLst>
              <p:tags r:id="rId6"/>
            </p:custDataLst>
          </p:nvPr>
        </p:nvSpPr>
        <p:spPr bwMode="gray">
          <a:xfrm>
            <a:off x="7975600" y="241935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CCF9E19-0464-4659-9CAD-7EDA908DDC9D}" type="datetime'''''''''''''''''''''''''''''2''%'''''''''''''''''''''''''''">
              <a:rPr lang="en-US" sz="1200">
                <a:solidFill>
                  <a:schemeClr val="tx1"/>
                </a:solidFill>
              </a:rPr>
              <a:pPr algn="ctr">
                <a:spcBef>
                  <a:spcPct val="0"/>
                </a:spcBef>
                <a:spcAft>
                  <a:spcPct val="0"/>
                </a:spcAft>
              </a:pPr>
              <a:t>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BC7A1D42-091A-4813-B269-018CF239CA9B}" type="datetime'''''''''''''''2''''''8'''''''''">
              <a:rPr lang="en-US" sz="1200">
                <a:solidFill>
                  <a:schemeClr val="tx1"/>
                </a:solidFill>
              </a:rPr>
              <a:pPr algn="ctr">
                <a:spcBef>
                  <a:spcPct val="0"/>
                </a:spcBef>
                <a:spcAft>
                  <a:spcPct val="0"/>
                </a:spcAft>
              </a:pPr>
              <a:t>28</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8" name="Rectangle 7"/>
          <p:cNvSpPr/>
          <p:nvPr>
            <p:custDataLst>
              <p:tags r:id="rId7"/>
            </p:custDataLst>
          </p:nvPr>
        </p:nvSpPr>
        <p:spPr bwMode="auto">
          <a:xfrm>
            <a:off x="6492875" y="2946400"/>
            <a:ext cx="10842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7802C40-16B9-45ED-9277-A50DD7CE4627}" type="datetime'La''u''kiama'' partnerio (W''aitin''''g fo''r'' pa''rt''ner)'">
              <a:rPr lang="en-US" sz="1000">
                <a:solidFill>
                  <a:schemeClr val="tx1"/>
                </a:solidFill>
              </a:rPr>
              <a:pPr algn="ctr">
                <a:spcBef>
                  <a:spcPct val="0"/>
                </a:spcBef>
                <a:spcAft>
                  <a:spcPct val="0"/>
                </a:spcAft>
              </a:pPr>
              <a:t>Laukiama partnerio (Waiting for partner)</a:t>
            </a:fld>
            <a:endParaRPr lang="en-US" sz="1000" dirty="0">
              <a:solidFill>
                <a:schemeClr val="tx1"/>
              </a:solidFill>
              <a:latin typeface="Calibri"/>
              <a:sym typeface="Calibri"/>
            </a:endParaRPr>
          </a:p>
        </p:txBody>
      </p:sp>
      <p:sp>
        <p:nvSpPr>
          <p:cNvPr id="9" name="Rectangle 8"/>
          <p:cNvSpPr/>
          <p:nvPr>
            <p:custDataLst>
              <p:tags r:id="rId8"/>
            </p:custDataLst>
          </p:nvPr>
        </p:nvSpPr>
        <p:spPr bwMode="gray">
          <a:xfrm>
            <a:off x="6889750" y="241935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EDBDCEE-C40E-4AA5-80B6-140DFB582DCC}" type="datetime'''''''''''''2%'''''''''''''''">
              <a:rPr lang="en-US" sz="1200">
                <a:solidFill>
                  <a:schemeClr val="tx1"/>
                </a:solidFill>
              </a:rPr>
              <a:pPr algn="ctr">
                <a:spcBef>
                  <a:spcPct val="0"/>
                </a:spcBef>
                <a:spcAft>
                  <a:spcPct val="0"/>
                </a:spcAft>
              </a:pPr>
              <a:t>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0F5ED3C7-A137-4281-991A-1B3C8F8E32EE}" type="datetime'3''''''''''''''''''''''1'''''''''''''">
              <a:rPr lang="en-US" sz="1200">
                <a:solidFill>
                  <a:schemeClr val="tx1"/>
                </a:solidFill>
              </a:rPr>
              <a:pPr algn="ctr">
                <a:spcBef>
                  <a:spcPct val="0"/>
                </a:spcBef>
                <a:spcAft>
                  <a:spcPct val="0"/>
                </a:spcAft>
              </a:pPr>
              <a:t>31</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0" name="Rectangle 9"/>
          <p:cNvSpPr/>
          <p:nvPr>
            <p:custDataLst>
              <p:tags r:id="rId9"/>
            </p:custDataLst>
          </p:nvPr>
        </p:nvSpPr>
        <p:spPr bwMode="auto">
          <a:xfrm>
            <a:off x="5638800" y="2946400"/>
            <a:ext cx="611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4F53EB-697C-4EF8-82E5-42925C671307}" type="datetime'Publ''''ik''u''ot''a''''''s'''' (''Pu''''''''''b''lished'')'''">
              <a:rPr lang="en-US" sz="1000">
                <a:solidFill>
                  <a:schemeClr val="tx1"/>
                </a:solidFill>
              </a:rPr>
              <a:pPr algn="ctr">
                <a:spcBef>
                  <a:spcPct val="0"/>
                </a:spcBef>
                <a:spcAft>
                  <a:spcPct val="0"/>
                </a:spcAft>
              </a:pPr>
              <a:t>Publikuotas (Published)</a:t>
            </a:fld>
            <a:endParaRPr lang="en-US" sz="1000" dirty="0">
              <a:solidFill>
                <a:schemeClr val="tx1"/>
              </a:solidFill>
              <a:latin typeface="Calibri"/>
              <a:sym typeface="Calibri"/>
            </a:endParaRPr>
          </a:p>
        </p:txBody>
      </p:sp>
      <p:sp>
        <p:nvSpPr>
          <p:cNvPr id="11" name="Rectangle 10"/>
          <p:cNvSpPr/>
          <p:nvPr>
            <p:custDataLst>
              <p:tags r:id="rId10"/>
            </p:custDataLst>
          </p:nvPr>
        </p:nvSpPr>
        <p:spPr bwMode="gray">
          <a:xfrm>
            <a:off x="5761038" y="22479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5AF9BB3-A580-461E-B8AC-730DE0CED257}" type="datetime'''''''1''''''''''''''5''''''''''%'''">
              <a:rPr lang="en-US" sz="1200">
                <a:solidFill>
                  <a:schemeClr val="tx1"/>
                </a:solidFill>
              </a:rPr>
              <a:pPr algn="ctr">
                <a:spcBef>
                  <a:spcPct val="0"/>
                </a:spcBef>
                <a:spcAft>
                  <a:spcPct val="0"/>
                </a:spcAft>
              </a:pPr>
              <a:t>15%</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13D4C599-8531-4DB2-BDE9-E23DE460E9C3}" type="datetime'''''''''''''''''''''2''''8''''''''''''2'''''''''''''''''''">
              <a:rPr lang="en-US" sz="1200">
                <a:solidFill>
                  <a:schemeClr val="tx1"/>
                </a:solidFill>
              </a:rPr>
              <a:pPr algn="ctr">
                <a:spcBef>
                  <a:spcPct val="0"/>
                </a:spcBef>
                <a:spcAft>
                  <a:spcPct val="0"/>
                </a:spcAft>
              </a:pPr>
              <a:t>282</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2" name="Rectangle 11"/>
          <p:cNvSpPr/>
          <p:nvPr>
            <p:custDataLst>
              <p:tags r:id="rId11"/>
            </p:custDataLst>
          </p:nvPr>
        </p:nvSpPr>
        <p:spPr bwMode="auto">
          <a:xfrm>
            <a:off x="4437063" y="2946400"/>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7230A0-704F-42EE-AF60-1BE530875D6C}" type="datetime'''B''''ai''''g''ta''''''''''''s (Clo''''''se''d'')'''''''">
              <a:rPr lang="en-US" sz="1000">
                <a:solidFill>
                  <a:schemeClr val="tx1"/>
                </a:solidFill>
              </a:rPr>
              <a:pPr algn="ctr">
                <a:spcBef>
                  <a:spcPct val="0"/>
                </a:spcBef>
                <a:spcAft>
                  <a:spcPct val="0"/>
                </a:spcAft>
              </a:pPr>
              <a:t>Baigtas (Closed)</a:t>
            </a:fld>
            <a:endParaRPr lang="en-US" sz="1000" dirty="0">
              <a:solidFill>
                <a:schemeClr val="tx1"/>
              </a:solidFill>
              <a:latin typeface="Calibri"/>
              <a:sym typeface="Calibri"/>
            </a:endParaRPr>
          </a:p>
        </p:txBody>
      </p:sp>
      <p:sp>
        <p:nvSpPr>
          <p:cNvPr id="13" name="Rectangle 12"/>
          <p:cNvSpPr/>
          <p:nvPr>
            <p:custDataLst>
              <p:tags r:id="rId12"/>
            </p:custDataLst>
          </p:nvPr>
        </p:nvSpPr>
        <p:spPr bwMode="gray">
          <a:xfrm>
            <a:off x="4611688" y="1447800"/>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24B574C-0771-4F67-B455-F46C7E5BAE4B}" type="datetime'''''''''''''''''''''''8''''''''''''''''1''''''%'''''''''">
              <a:rPr lang="en-US" sz="1200">
                <a:solidFill>
                  <a:schemeClr val="tx1"/>
                </a:solidFill>
              </a:rPr>
              <a:pPr algn="ctr">
                <a:spcBef>
                  <a:spcPct val="0"/>
                </a:spcBef>
                <a:spcAft>
                  <a:spcPct val="0"/>
                </a:spcAft>
              </a:pPr>
              <a:t>81%</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2D94CBF2-FA8F-4D34-9AAA-FD78079C7DCD}" type="datetime'''''''''''1,''''''''''''''''''4''''''''''''''82'''''''''''">
              <a:rPr lang="en-US" sz="1200">
                <a:solidFill>
                  <a:schemeClr val="tx1"/>
                </a:solidFill>
              </a:rPr>
              <a:pPr algn="ctr">
                <a:spcBef>
                  <a:spcPct val="0"/>
                </a:spcBef>
                <a:spcAft>
                  <a:spcPct val="0"/>
                </a:spcAft>
              </a:pPr>
              <a:t>1,482</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4" name="Rectangle 13"/>
          <p:cNvSpPr/>
          <p:nvPr/>
        </p:nvSpPr>
        <p:spPr>
          <a:xfrm>
            <a:off x="4098925" y="1069975"/>
            <a:ext cx="4721225" cy="35997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dalis lyginant su visais vykdytais projektais pagal projekto statusą, proc.</a:t>
            </a:r>
            <a:endParaRPr lang="lt-LT" sz="1100" dirty="0">
              <a:solidFill>
                <a:schemeClr val="bg1"/>
              </a:solidFill>
              <a:cs typeface="Cambria"/>
            </a:endParaRPr>
          </a:p>
        </p:txBody>
      </p:sp>
      <p:sp>
        <p:nvSpPr>
          <p:cNvPr id="15" name="Rectangle 14"/>
          <p:cNvSpPr/>
          <p:nvPr/>
        </p:nvSpPr>
        <p:spPr>
          <a:xfrm>
            <a:off x="4098925" y="1430338"/>
            <a:ext cx="4721225" cy="194427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6" name="Object 15"/>
          <p:cNvGraphicFramePr>
            <a:graphicFrameLocks/>
          </p:cNvGraphicFramePr>
          <p:nvPr>
            <p:custDataLst>
              <p:tags r:id="rId13"/>
            </p:custDataLst>
            <p:extLst>
              <p:ext uri="{D42A27DB-BD31-4B8C-83A1-F6EECF244321}">
                <p14:modId xmlns:p14="http://schemas.microsoft.com/office/powerpoint/2010/main" val="2272961906"/>
              </p:ext>
            </p:extLst>
          </p:nvPr>
        </p:nvGraphicFramePr>
        <p:xfrm>
          <a:off x="495299" y="1790700"/>
          <a:ext cx="3133812" cy="1162080"/>
        </p:xfrm>
        <a:graphic>
          <a:graphicData uri="http://schemas.openxmlformats.org/presentationml/2006/ole">
            <mc:AlternateContent xmlns:mc="http://schemas.openxmlformats.org/markup-compatibility/2006">
              <mc:Choice xmlns:v="urn:schemas-microsoft-com:vml" Requires="v">
                <p:oleObj spid="_x0000_s21563" name="Chart" r:id="rId54" imgW="3133882" imgH="1162115" progId="MSGraph.Chart.8">
                  <p:embed followColorScheme="full"/>
                </p:oleObj>
              </mc:Choice>
              <mc:Fallback>
                <p:oleObj name="Chart" r:id="rId54" imgW="3133882" imgH="1162115" progId="MSGraph.Chart.8">
                  <p:embed followColorScheme="full"/>
                  <p:pic>
                    <p:nvPicPr>
                      <p:cNvPr id="0" name=""/>
                      <p:cNvPicPr/>
                      <p:nvPr/>
                    </p:nvPicPr>
                    <p:blipFill>
                      <a:blip r:embed="rId55"/>
                      <a:stretch>
                        <a:fillRect/>
                      </a:stretch>
                    </p:blipFill>
                    <p:spPr>
                      <a:xfrm>
                        <a:off x="495299" y="1790700"/>
                        <a:ext cx="3133812" cy="1162080"/>
                      </a:xfrm>
                      <a:prstGeom prst="rect">
                        <a:avLst/>
                      </a:prstGeom>
                    </p:spPr>
                  </p:pic>
                </p:oleObj>
              </mc:Fallback>
            </mc:AlternateContent>
          </a:graphicData>
        </a:graphic>
      </p:graphicFrame>
      <p:sp>
        <p:nvSpPr>
          <p:cNvPr id="17" name="Rectangle 16"/>
          <p:cNvSpPr/>
          <p:nvPr>
            <p:custDataLst>
              <p:tags r:id="rId14"/>
            </p:custDataLst>
          </p:nvPr>
        </p:nvSpPr>
        <p:spPr bwMode="auto">
          <a:xfrm>
            <a:off x="2884488" y="2997200"/>
            <a:ext cx="3079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ct val="0"/>
              </a:spcBef>
              <a:spcAft>
                <a:spcPct val="0"/>
              </a:spcAft>
            </a:pPr>
            <a:fld id="{8520E758-D0EC-449A-A13E-874834C2553B}" type="datetime'V''''''''''''I''''''''''''S''''''''O'''''''''''''''">
              <a:rPr lang="en-US" sz="1200">
                <a:solidFill>
                  <a:schemeClr val="tx1"/>
                </a:solidFill>
              </a:rPr>
              <a:pPr algn="ctr">
                <a:spcBef>
                  <a:spcPct val="0"/>
                </a:spcBef>
                <a:spcAft>
                  <a:spcPct val="0"/>
                </a:spcAft>
              </a:pPr>
              <a:t>VISO</a:t>
            </a:fld>
            <a:endParaRPr lang="en-US" sz="1200" dirty="0">
              <a:solidFill>
                <a:schemeClr val="tx1"/>
              </a:solidFill>
              <a:latin typeface="Calibri"/>
              <a:sym typeface="Calibri"/>
            </a:endParaRPr>
          </a:p>
        </p:txBody>
      </p:sp>
      <p:sp>
        <p:nvSpPr>
          <p:cNvPr id="18" name="Rectangle 17"/>
          <p:cNvSpPr/>
          <p:nvPr>
            <p:custDataLst>
              <p:tags r:id="rId15"/>
            </p:custDataLst>
          </p:nvPr>
        </p:nvSpPr>
        <p:spPr bwMode="gray">
          <a:xfrm>
            <a:off x="2843213" y="1697038"/>
            <a:ext cx="390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noAutofit/>
          </a:bodyPr>
          <a:lstStyle/>
          <a:p>
            <a:pPr algn="ctr">
              <a:spcBef>
                <a:spcPct val="0"/>
              </a:spcBef>
              <a:spcAft>
                <a:spcPct val="0"/>
              </a:spcAft>
            </a:pPr>
            <a:fld id="{7937E19F-3575-45C9-91D2-DD6DED45FFC2}" type="datetime'''''''''''1'''''''',''''''8''''''''''''''''''23'">
              <a:rPr lang="en-US" sz="1200">
                <a:solidFill>
                  <a:schemeClr val="tx1"/>
                </a:solidFill>
              </a:rPr>
              <a:pPr algn="ctr">
                <a:spcBef>
                  <a:spcPct val="0"/>
                </a:spcBef>
                <a:spcAft>
                  <a:spcPct val="0"/>
                </a:spcAft>
              </a:pPr>
              <a:t>1,823</a:t>
            </a:fld>
            <a:endParaRPr lang="en-US" sz="1200" dirty="0">
              <a:solidFill>
                <a:schemeClr val="tx1"/>
              </a:solidFill>
              <a:latin typeface="Calibri"/>
              <a:sym typeface="Calibri"/>
            </a:endParaRPr>
          </a:p>
        </p:txBody>
      </p:sp>
      <p:sp>
        <p:nvSpPr>
          <p:cNvPr id="19" name="Rectangle 18"/>
          <p:cNvSpPr/>
          <p:nvPr>
            <p:custDataLst>
              <p:tags r:id="rId16"/>
            </p:custDataLst>
          </p:nvPr>
        </p:nvSpPr>
        <p:spPr bwMode="auto">
          <a:xfrm>
            <a:off x="1746250" y="2997200"/>
            <a:ext cx="6524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ct val="0"/>
              </a:spcBef>
              <a:spcAft>
                <a:spcPct val="0"/>
              </a:spcAft>
            </a:pPr>
            <a:fld id="{DF3D478F-88DE-4681-8EFE-EE9D426C5AD1}" type="datetime'''''''e''T''''''w''i''''''''''''''''''''nn''''''''''''ing'''''">
              <a:rPr lang="en-US" sz="1200">
                <a:solidFill>
                  <a:schemeClr val="tx1"/>
                </a:solidFill>
              </a:rPr>
              <a:pPr algn="ctr">
                <a:spcBef>
                  <a:spcPct val="0"/>
                </a:spcBef>
                <a:spcAft>
                  <a:spcPct val="0"/>
                </a:spcAft>
              </a:pPr>
              <a:t>eTwinning</a:t>
            </a:fld>
            <a:endParaRPr lang="en-US" sz="1200" dirty="0">
              <a:solidFill>
                <a:schemeClr val="tx1"/>
              </a:solidFill>
              <a:latin typeface="Calibri"/>
              <a:sym typeface="Calibri"/>
            </a:endParaRPr>
          </a:p>
        </p:txBody>
      </p:sp>
      <p:sp>
        <p:nvSpPr>
          <p:cNvPr id="20" name="Rectangle 19"/>
          <p:cNvSpPr/>
          <p:nvPr>
            <p:custDataLst>
              <p:tags r:id="rId17"/>
            </p:custDataLst>
          </p:nvPr>
        </p:nvSpPr>
        <p:spPr bwMode="gray">
          <a:xfrm>
            <a:off x="1830388" y="1571625"/>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noAutofit/>
          </a:bodyPr>
          <a:lstStyle/>
          <a:p>
            <a:pPr algn="ctr">
              <a:spcBef>
                <a:spcPct val="0"/>
              </a:spcBef>
              <a:spcAft>
                <a:spcPct val="0"/>
              </a:spcAft>
            </a:pPr>
            <a:fld id="{EA7E43E2-F08D-4D4A-BC3D-3A3DE8D68D39}" type="datetime'''''''9''''''''''4''%'''''''">
              <a:rPr lang="en-US" sz="1200">
                <a:solidFill>
                  <a:schemeClr val="tx1"/>
                </a:solidFill>
              </a:rPr>
              <a:pPr algn="ctr">
                <a:spcBef>
                  <a:spcPct val="0"/>
                </a:spcBef>
                <a:spcAft>
                  <a:spcPct val="0"/>
                </a:spcAft>
              </a:pPr>
              <a:t>94%</a:t>
            </a:fld>
            <a:r>
              <a:rPr lang="en-US" sz="1200" smtClean="0">
                <a:solidFill>
                  <a:schemeClr val="tx1"/>
                </a:solidFill>
              </a:rPr>
              <a:t/>
            </a:r>
            <a:br>
              <a:rPr lang="en-US" sz="1200" smtClean="0">
                <a:solidFill>
                  <a:schemeClr val="tx1"/>
                </a:solidFill>
              </a:rPr>
            </a:br>
            <a:r>
              <a:rPr lang="en-US" sz="1200" smtClean="0">
                <a:solidFill>
                  <a:schemeClr val="tx1"/>
                </a:solidFill>
              </a:rPr>
              <a:t>(</a:t>
            </a:r>
            <a:fld id="{D1EEA8EE-C0AC-40B5-8D13-8125696FBB27}" type="datetime'''1'''''''''''''''''''''''''',''''''7''''''16'''''''''''">
              <a:rPr lang="en-US" sz="1200">
                <a:solidFill>
                  <a:schemeClr val="tx1"/>
                </a:solidFill>
              </a:rPr>
              <a:pPr algn="ctr">
                <a:spcBef>
                  <a:spcPct val="0"/>
                </a:spcBef>
                <a:spcAft>
                  <a:spcPct val="0"/>
                </a:spcAft>
              </a:pPr>
              <a:t>1,716</a:t>
            </a:fld>
            <a:r>
              <a:rPr lang="en-US" sz="1200" smtClean="0">
                <a:solidFill>
                  <a:schemeClr val="tx1"/>
                </a:solidFill>
              </a:rPr>
              <a:t>)</a:t>
            </a:r>
            <a:endParaRPr lang="en-US" sz="1200" dirty="0">
              <a:solidFill>
                <a:schemeClr val="tx1"/>
              </a:solidFill>
              <a:latin typeface="Calibri"/>
              <a:sym typeface="Calibri"/>
            </a:endParaRPr>
          </a:p>
        </p:txBody>
      </p:sp>
      <p:sp>
        <p:nvSpPr>
          <p:cNvPr id="21" name="Rectangle 20"/>
          <p:cNvSpPr/>
          <p:nvPr>
            <p:custDataLst>
              <p:tags r:id="rId18"/>
            </p:custDataLst>
          </p:nvPr>
        </p:nvSpPr>
        <p:spPr bwMode="auto">
          <a:xfrm>
            <a:off x="896938" y="2997200"/>
            <a:ext cx="4159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ct val="0"/>
              </a:spcBef>
              <a:spcAft>
                <a:spcPct val="0"/>
              </a:spcAft>
            </a:pPr>
            <a:fld id="{7415D378-D4EB-4283-8360-54DDD6F834EF}" type="datetime'''''ET''P''''''''''''''''l''u''''''''''''''''''''''''''s'''">
              <a:rPr lang="en-US" sz="1200">
                <a:solidFill>
                  <a:schemeClr val="tx1"/>
                </a:solidFill>
              </a:rPr>
              <a:pPr algn="ctr">
                <a:spcBef>
                  <a:spcPct val="0"/>
                </a:spcBef>
                <a:spcAft>
                  <a:spcPct val="0"/>
                </a:spcAft>
              </a:pPr>
              <a:t>ETPlus</a:t>
            </a:fld>
            <a:endParaRPr lang="en-US" sz="1200" dirty="0">
              <a:solidFill>
                <a:schemeClr val="tx1"/>
              </a:solidFill>
              <a:latin typeface="Calibri"/>
              <a:sym typeface="Calibri"/>
            </a:endParaRPr>
          </a:p>
        </p:txBody>
      </p:sp>
      <p:sp>
        <p:nvSpPr>
          <p:cNvPr id="22" name="Rectangle 21"/>
          <p:cNvSpPr/>
          <p:nvPr>
            <p:custDataLst>
              <p:tags r:id="rId19"/>
            </p:custDataLst>
          </p:nvPr>
        </p:nvSpPr>
        <p:spPr bwMode="gray">
          <a:xfrm>
            <a:off x="922338" y="24098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noAutofit/>
          </a:bodyPr>
          <a:lstStyle/>
          <a:p>
            <a:pPr algn="ctr">
              <a:spcBef>
                <a:spcPct val="0"/>
              </a:spcBef>
              <a:spcAft>
                <a:spcPct val="0"/>
              </a:spcAft>
            </a:pPr>
            <a:fld id="{F751E31A-F6E7-4B03-81DB-D9E62561CAD2}" type="datetime'6''%'''''''''''''''''''">
              <a:rPr lang="en-US" sz="1200">
                <a:solidFill>
                  <a:schemeClr val="tx1"/>
                </a:solidFill>
              </a:rPr>
              <a:pPr algn="ctr">
                <a:spcBef>
                  <a:spcPct val="0"/>
                </a:spcBef>
                <a:spcAft>
                  <a:spcPct val="0"/>
                </a:spcAft>
              </a:pPr>
              <a:t>6%</a:t>
            </a:fld>
            <a:r>
              <a:rPr lang="en-US" sz="1200" smtClean="0">
                <a:solidFill>
                  <a:schemeClr val="tx1"/>
                </a:solidFill>
              </a:rPr>
              <a:t/>
            </a:r>
            <a:br>
              <a:rPr lang="en-US" sz="1200" smtClean="0">
                <a:solidFill>
                  <a:schemeClr val="tx1"/>
                </a:solidFill>
              </a:rPr>
            </a:br>
            <a:r>
              <a:rPr lang="en-US" sz="1200" smtClean="0">
                <a:solidFill>
                  <a:schemeClr val="tx1"/>
                </a:solidFill>
              </a:rPr>
              <a:t>(</a:t>
            </a:r>
            <a:fld id="{EE5224EE-9624-40CC-8A1B-0C4D4B9BE63C}" type="datetime'''1''0''''''''''''''''''''7'''''">
              <a:rPr lang="en-US" sz="1200">
                <a:solidFill>
                  <a:schemeClr val="tx1"/>
                </a:solidFill>
              </a:rPr>
              <a:pPr algn="ctr">
                <a:spcBef>
                  <a:spcPct val="0"/>
                </a:spcBef>
                <a:spcAft>
                  <a:spcPct val="0"/>
                </a:spcAft>
              </a:pPr>
              <a:t>107</a:t>
            </a:fld>
            <a:r>
              <a:rPr lang="en-US" sz="1200" smtClean="0">
                <a:solidFill>
                  <a:schemeClr val="tx1"/>
                </a:solidFill>
              </a:rPr>
              <a:t>)</a:t>
            </a:r>
            <a:endParaRPr lang="en-US" sz="1200" dirty="0">
              <a:solidFill>
                <a:schemeClr val="tx1"/>
              </a:solidFill>
              <a:latin typeface="Calibri"/>
              <a:sym typeface="Calibri"/>
            </a:endParaRPr>
          </a:p>
        </p:txBody>
      </p:sp>
      <p:sp>
        <p:nvSpPr>
          <p:cNvPr id="23" name="Rectangle 22"/>
          <p:cNvSpPr/>
          <p:nvPr/>
        </p:nvSpPr>
        <p:spPr>
          <a:xfrm>
            <a:off x="323850" y="1069975"/>
            <a:ext cx="3672408" cy="34214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tipą, proc.</a:t>
            </a:r>
            <a:endParaRPr lang="lt-LT" sz="1100" dirty="0">
              <a:solidFill>
                <a:schemeClr val="bg1"/>
              </a:solidFill>
              <a:cs typeface="Cambria"/>
            </a:endParaRPr>
          </a:p>
        </p:txBody>
      </p:sp>
      <p:sp>
        <p:nvSpPr>
          <p:cNvPr id="24" name="Rectangle 23"/>
          <p:cNvSpPr/>
          <p:nvPr/>
        </p:nvSpPr>
        <p:spPr>
          <a:xfrm>
            <a:off x="323850" y="1412875"/>
            <a:ext cx="3672408" cy="1959392"/>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7" name="Object 26"/>
          <p:cNvGraphicFramePr>
            <a:graphicFrameLocks/>
          </p:cNvGraphicFramePr>
          <p:nvPr>
            <p:custDataLst>
              <p:tags r:id="rId20"/>
            </p:custDataLst>
            <p:extLst>
              <p:ext uri="{D42A27DB-BD31-4B8C-83A1-F6EECF244321}">
                <p14:modId xmlns:p14="http://schemas.microsoft.com/office/powerpoint/2010/main" val="3616614379"/>
              </p:ext>
            </p:extLst>
          </p:nvPr>
        </p:nvGraphicFramePr>
        <p:xfrm>
          <a:off x="266701" y="4229100"/>
          <a:ext cx="3809955" cy="1238220"/>
        </p:xfrm>
        <a:graphic>
          <a:graphicData uri="http://schemas.openxmlformats.org/presentationml/2006/ole">
            <mc:AlternateContent xmlns:mc="http://schemas.openxmlformats.org/markup-compatibility/2006">
              <mc:Choice xmlns:v="urn:schemas-microsoft-com:vml" Requires="v">
                <p:oleObj spid="_x0000_s21564" name="Chart" r:id="rId56" imgW="3809941" imgH="1238302" progId="MSGraph.Chart.8">
                  <p:embed followColorScheme="full"/>
                </p:oleObj>
              </mc:Choice>
              <mc:Fallback>
                <p:oleObj name="Chart" r:id="rId56" imgW="3809941" imgH="1238302" progId="MSGraph.Chart.8">
                  <p:embed followColorScheme="full"/>
                  <p:pic>
                    <p:nvPicPr>
                      <p:cNvPr id="0" name=""/>
                      <p:cNvPicPr/>
                      <p:nvPr/>
                    </p:nvPicPr>
                    <p:blipFill>
                      <a:blip r:embed="rId57"/>
                      <a:stretch>
                        <a:fillRect/>
                      </a:stretch>
                    </p:blipFill>
                    <p:spPr>
                      <a:xfrm>
                        <a:off x="266701" y="4229100"/>
                        <a:ext cx="3809955" cy="1238220"/>
                      </a:xfrm>
                      <a:prstGeom prst="rect">
                        <a:avLst/>
                      </a:prstGeom>
                    </p:spPr>
                  </p:pic>
                </p:oleObj>
              </mc:Fallback>
            </mc:AlternateContent>
          </a:graphicData>
        </a:graphic>
      </p:graphicFrame>
      <p:sp>
        <p:nvSpPr>
          <p:cNvPr id="28" name="Rectangle 27"/>
          <p:cNvSpPr/>
          <p:nvPr>
            <p:custDataLst>
              <p:tags r:id="rId21"/>
            </p:custDataLst>
          </p:nvPr>
        </p:nvSpPr>
        <p:spPr bwMode="auto">
          <a:xfrm>
            <a:off x="3552825"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A29C7F-20D1-4B19-A4CB-883DDEB60D8D}" type="datetime'''''''''''2''0''''''''''''''''''1''''''3'">
              <a:rPr lang="en-US" sz="1200">
                <a:solidFill>
                  <a:schemeClr val="tx1"/>
                </a:solidFill>
              </a:rPr>
              <a:pPr algn="ctr">
                <a:spcBef>
                  <a:spcPct val="0"/>
                </a:spcBef>
                <a:spcAft>
                  <a:spcPct val="0"/>
                </a:spcAft>
              </a:pPr>
              <a:t>2013</a:t>
            </a:fld>
            <a:endParaRPr lang="en-US" sz="1200" dirty="0">
              <a:solidFill>
                <a:schemeClr val="tx1"/>
              </a:solidFill>
              <a:sym typeface="+mn-lt"/>
            </a:endParaRPr>
          </a:p>
        </p:txBody>
      </p:sp>
      <p:sp>
        <p:nvSpPr>
          <p:cNvPr id="29" name="Rectangle 28"/>
          <p:cNvSpPr/>
          <p:nvPr>
            <p:custDataLst>
              <p:tags r:id="rId22"/>
            </p:custDataLst>
          </p:nvPr>
        </p:nvSpPr>
        <p:spPr bwMode="gray">
          <a:xfrm>
            <a:off x="3532188" y="39624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B2D4CF7-629B-4E2A-A52C-D056894F9539}" type="datetime'''''''''''''''''''1''''''''''9''''''%'''''''''''''''''''''">
              <a:rPr lang="en-US" sz="1200">
                <a:solidFill>
                  <a:schemeClr val="tx1"/>
                </a:solidFill>
              </a:rPr>
              <a:pPr algn="ctr">
                <a:spcBef>
                  <a:spcPct val="0"/>
                </a:spcBef>
                <a:spcAft>
                  <a:spcPct val="0"/>
                </a:spcAft>
              </a:pPr>
              <a:t>1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015E5BF-B959-4012-8B54-3019ED335291}" type="datetime'''''''3''''''''''''''''''''''''''''''48'''''''''''''''''">
              <a:rPr lang="en-US" sz="1200">
                <a:solidFill>
                  <a:schemeClr val="tx1"/>
                </a:solidFill>
              </a:rPr>
              <a:pPr algn="ctr">
                <a:spcBef>
                  <a:spcPct val="0"/>
                </a:spcBef>
                <a:spcAft>
                  <a:spcPct val="0"/>
                </a:spcAft>
              </a:pPr>
              <a:t>348</a:t>
            </a:fld>
            <a:r>
              <a:rPr lang="en-US" sz="1200" smtClean="0">
                <a:solidFill>
                  <a:schemeClr val="tx1"/>
                </a:solidFill>
                <a:sym typeface="+mn-lt"/>
              </a:rPr>
              <a:t>)</a:t>
            </a:r>
            <a:endParaRPr lang="en-US" sz="1200" dirty="0">
              <a:solidFill>
                <a:schemeClr val="tx1"/>
              </a:solidFill>
              <a:sym typeface="+mn-lt"/>
            </a:endParaRPr>
          </a:p>
        </p:txBody>
      </p:sp>
      <p:sp>
        <p:nvSpPr>
          <p:cNvPr id="30" name="Rectangle 29"/>
          <p:cNvSpPr/>
          <p:nvPr>
            <p:custDataLst>
              <p:tags r:id="rId23"/>
            </p:custDataLst>
          </p:nvPr>
        </p:nvSpPr>
        <p:spPr bwMode="auto">
          <a:xfrm>
            <a:off x="3043238"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158D288-6734-4633-880B-690BDF352699}" type="datetime'''''2''''''0''''''''''''''''''''12'''''''''''''">
              <a:rPr lang="en-US" sz="1200">
                <a:solidFill>
                  <a:schemeClr val="tx1"/>
                </a:solidFill>
              </a:rPr>
              <a:pPr algn="ctr">
                <a:spcBef>
                  <a:spcPct val="0"/>
                </a:spcBef>
                <a:spcAft>
                  <a:spcPct val="0"/>
                </a:spcAft>
              </a:pPr>
              <a:t>2012</a:t>
            </a:fld>
            <a:endParaRPr lang="en-US" sz="1200" dirty="0">
              <a:solidFill>
                <a:schemeClr val="tx1"/>
              </a:solidFill>
              <a:sym typeface="+mn-lt"/>
            </a:endParaRPr>
          </a:p>
        </p:txBody>
      </p:sp>
      <p:sp>
        <p:nvSpPr>
          <p:cNvPr id="31" name="Rectangle 30"/>
          <p:cNvSpPr/>
          <p:nvPr>
            <p:custDataLst>
              <p:tags r:id="rId24"/>
            </p:custDataLst>
          </p:nvPr>
        </p:nvSpPr>
        <p:spPr bwMode="gray">
          <a:xfrm>
            <a:off x="3022600" y="40100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96FE282-7662-44FC-AD3B-3FB9A0CCB415}" type="datetime'1''''''''''''''''''''''''8''%'''''''''''''''''">
              <a:rPr lang="en-US" sz="1200">
                <a:solidFill>
                  <a:schemeClr val="tx1"/>
                </a:solidFill>
              </a:rPr>
              <a:pPr algn="ctr">
                <a:spcBef>
                  <a:spcPct val="0"/>
                </a:spcBef>
                <a:spcAft>
                  <a:spcPct val="0"/>
                </a:spcAft>
              </a:pPr>
              <a:t>1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3B3EA4F-3EC0-4B73-84E1-40C360EE1135}" type="datetime'3''''''''''''''''''32'''''''''''''''''''''''">
              <a:rPr lang="en-US" sz="1200">
                <a:solidFill>
                  <a:schemeClr val="tx1"/>
                </a:solidFill>
              </a:rPr>
              <a:pPr algn="ctr">
                <a:spcBef>
                  <a:spcPct val="0"/>
                </a:spcBef>
                <a:spcAft>
                  <a:spcPct val="0"/>
                </a:spcAft>
              </a:pPr>
              <a:t>332</a:t>
            </a:fld>
            <a:r>
              <a:rPr lang="en-US" sz="1200" smtClean="0">
                <a:solidFill>
                  <a:schemeClr val="tx1"/>
                </a:solidFill>
                <a:sym typeface="+mn-lt"/>
              </a:rPr>
              <a:t>)</a:t>
            </a:r>
            <a:endParaRPr lang="en-US" sz="1200" dirty="0">
              <a:solidFill>
                <a:schemeClr val="tx1"/>
              </a:solidFill>
              <a:sym typeface="+mn-lt"/>
            </a:endParaRPr>
          </a:p>
        </p:txBody>
      </p:sp>
      <p:sp>
        <p:nvSpPr>
          <p:cNvPr id="32" name="Rectangle 31"/>
          <p:cNvSpPr/>
          <p:nvPr>
            <p:custDataLst>
              <p:tags r:id="rId25"/>
            </p:custDataLst>
          </p:nvPr>
        </p:nvSpPr>
        <p:spPr bwMode="auto">
          <a:xfrm>
            <a:off x="253365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DF808C6-0CE2-4CAE-9CF2-70D95FEE569D}" type="datetime'2''''''''''''0''''''''''''''''''''''''11'''''''''''">
              <a:rPr lang="en-US" sz="1200">
                <a:solidFill>
                  <a:schemeClr val="tx1"/>
                </a:solidFill>
              </a:rPr>
              <a:pPr algn="ctr">
                <a:spcBef>
                  <a:spcPct val="0"/>
                </a:spcBef>
                <a:spcAft>
                  <a:spcPct val="0"/>
                </a:spcAft>
              </a:pPr>
              <a:t>2011</a:t>
            </a:fld>
            <a:endParaRPr lang="en-US" sz="1200" dirty="0">
              <a:solidFill>
                <a:schemeClr val="tx1"/>
              </a:solidFill>
              <a:sym typeface="+mn-lt"/>
            </a:endParaRPr>
          </a:p>
        </p:txBody>
      </p:sp>
      <p:sp>
        <p:nvSpPr>
          <p:cNvPr id="33" name="Rectangle 32"/>
          <p:cNvSpPr/>
          <p:nvPr>
            <p:custDataLst>
              <p:tags r:id="rId26"/>
            </p:custDataLst>
          </p:nvPr>
        </p:nvSpPr>
        <p:spPr bwMode="gray">
          <a:xfrm>
            <a:off x="2513013" y="43053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8FC9526-B585-41DA-B6D8-0F8E82C72513}" type="datetime'''''''''''''''''''''''''''''1''''''''''''''3''''''%'''''">
              <a:rPr lang="en-US" sz="1200">
                <a:solidFill>
                  <a:schemeClr val="tx1"/>
                </a:solidFill>
              </a:rPr>
              <a:pPr algn="ctr">
                <a:spcBef>
                  <a:spcPct val="0"/>
                </a:spcBef>
                <a:spcAft>
                  <a:spcPct val="0"/>
                </a:spcAft>
              </a:pPr>
              <a:t>1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BBF2589-05AE-4246-A5D2-B55A52E10A2F}" type="datetime'''''''''''''''''''''''''''23''''''''''''''''0'''''''''">
              <a:rPr lang="en-US" sz="1200">
                <a:solidFill>
                  <a:schemeClr val="tx1"/>
                </a:solidFill>
              </a:rPr>
              <a:pPr algn="ctr">
                <a:spcBef>
                  <a:spcPct val="0"/>
                </a:spcBef>
                <a:spcAft>
                  <a:spcPct val="0"/>
                </a:spcAft>
              </a:pPr>
              <a:t>230</a:t>
            </a:fld>
            <a:r>
              <a:rPr lang="en-US" sz="1200" smtClean="0">
                <a:solidFill>
                  <a:schemeClr val="tx1"/>
                </a:solidFill>
                <a:sym typeface="+mn-lt"/>
              </a:rPr>
              <a:t>)</a:t>
            </a:r>
            <a:endParaRPr lang="en-US" sz="1200" dirty="0">
              <a:solidFill>
                <a:schemeClr val="tx1"/>
              </a:solidFill>
              <a:sym typeface="+mn-lt"/>
            </a:endParaRPr>
          </a:p>
        </p:txBody>
      </p:sp>
      <p:sp>
        <p:nvSpPr>
          <p:cNvPr id="34" name="Rectangle 33"/>
          <p:cNvSpPr/>
          <p:nvPr>
            <p:custDataLst>
              <p:tags r:id="rId27"/>
            </p:custDataLst>
          </p:nvPr>
        </p:nvSpPr>
        <p:spPr bwMode="auto">
          <a:xfrm>
            <a:off x="201930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2DD347B-5DC0-48DF-9654-DFE99518C432}" type="datetime'''''''''''''''''''''''2''0''''''''1''''''''0'''">
              <a:rPr lang="en-US" sz="1200">
                <a:solidFill>
                  <a:schemeClr val="tx1"/>
                </a:solidFill>
              </a:rPr>
              <a:pPr algn="ctr">
                <a:spcBef>
                  <a:spcPct val="0"/>
                </a:spcBef>
                <a:spcAft>
                  <a:spcPct val="0"/>
                </a:spcAft>
              </a:pPr>
              <a:t>2010</a:t>
            </a:fld>
            <a:endParaRPr lang="en-US" sz="1200" dirty="0">
              <a:solidFill>
                <a:schemeClr val="tx1"/>
              </a:solidFill>
              <a:sym typeface="+mn-lt"/>
            </a:endParaRPr>
          </a:p>
        </p:txBody>
      </p:sp>
      <p:sp>
        <p:nvSpPr>
          <p:cNvPr id="35" name="Rectangle 34"/>
          <p:cNvSpPr/>
          <p:nvPr>
            <p:custDataLst>
              <p:tags r:id="rId28"/>
            </p:custDataLst>
          </p:nvPr>
        </p:nvSpPr>
        <p:spPr bwMode="gray">
          <a:xfrm>
            <a:off x="1998663" y="40862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F0172CA-4A3C-4AE7-87DF-3B26E0271D5A}" type="datetime'''''''''''''''''''17%'''''''''">
              <a:rPr lang="en-US" sz="1200">
                <a:solidFill>
                  <a:schemeClr val="tx1"/>
                </a:solidFill>
              </a:rPr>
              <a:pPr algn="ctr">
                <a:spcBef>
                  <a:spcPct val="0"/>
                </a:spcBef>
                <a:spcAft>
                  <a:spcPct val="0"/>
                </a:spcAft>
              </a:pPr>
              <a:t>1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289C9EA-2D3F-43F9-BA1C-F2B0659A92F6}" type="datetime'''''''''''''''''3''''''0''''''''''''''''5'''''''''''">
              <a:rPr lang="en-US" sz="1200">
                <a:solidFill>
                  <a:schemeClr val="tx1"/>
                </a:solidFill>
              </a:rPr>
              <a:pPr algn="ctr">
                <a:spcBef>
                  <a:spcPct val="0"/>
                </a:spcBef>
                <a:spcAft>
                  <a:spcPct val="0"/>
                </a:spcAft>
              </a:pPr>
              <a:t>305</a:t>
            </a:fld>
            <a:r>
              <a:rPr lang="en-US" sz="1200" smtClean="0">
                <a:solidFill>
                  <a:schemeClr val="tx1"/>
                </a:solidFill>
                <a:sym typeface="+mn-lt"/>
              </a:rPr>
              <a:t>)</a:t>
            </a:r>
            <a:endParaRPr lang="en-US" sz="1200" dirty="0">
              <a:solidFill>
                <a:schemeClr val="tx1"/>
              </a:solidFill>
              <a:sym typeface="+mn-lt"/>
            </a:endParaRPr>
          </a:p>
        </p:txBody>
      </p:sp>
      <p:sp>
        <p:nvSpPr>
          <p:cNvPr id="36" name="Rectangle 35"/>
          <p:cNvSpPr/>
          <p:nvPr>
            <p:custDataLst>
              <p:tags r:id="rId29"/>
            </p:custDataLst>
          </p:nvPr>
        </p:nvSpPr>
        <p:spPr bwMode="auto">
          <a:xfrm>
            <a:off x="150495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CCDC6F3-6C20-4D6D-A54C-9DDDD39069C3}" type="datetime'''''''2''0''''''''''''''''''''''''''''''''''''0''''9'">
              <a:rPr lang="en-US" sz="1200">
                <a:solidFill>
                  <a:schemeClr val="tx1"/>
                </a:solidFill>
              </a:rPr>
              <a:pPr algn="ctr">
                <a:spcBef>
                  <a:spcPct val="0"/>
                </a:spcBef>
                <a:spcAft>
                  <a:spcPct val="0"/>
                </a:spcAft>
              </a:pPr>
              <a:t>2009</a:t>
            </a:fld>
            <a:endParaRPr lang="en-US" sz="1200" dirty="0">
              <a:solidFill>
                <a:schemeClr val="tx1"/>
              </a:solidFill>
              <a:sym typeface="+mn-lt"/>
            </a:endParaRPr>
          </a:p>
        </p:txBody>
      </p:sp>
      <p:sp>
        <p:nvSpPr>
          <p:cNvPr id="37" name="Rectangle 36"/>
          <p:cNvSpPr/>
          <p:nvPr>
            <p:custDataLst>
              <p:tags r:id="rId30"/>
            </p:custDataLst>
          </p:nvPr>
        </p:nvSpPr>
        <p:spPr bwMode="gray">
          <a:xfrm>
            <a:off x="1484313" y="4181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050E740-28CF-4C89-A813-8F7D6527C4C0}" type="datetime'''''''''''''''''''1''''5''''''''''''''''''''''''''''''''%'">
              <a:rPr lang="en-US" sz="1200">
                <a:solidFill>
                  <a:schemeClr val="tx1"/>
                </a:solidFill>
              </a:rPr>
              <a:pPr algn="ctr">
                <a:spcBef>
                  <a:spcPct val="0"/>
                </a:spcBef>
                <a:spcAft>
                  <a:spcPct val="0"/>
                </a:spcAft>
              </a:pPr>
              <a:t>1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62074D6-22E3-48D1-ADD8-376C7AD7CBC3}" type="datetime'''''''''''''''''''''2''''''''''''''''''''7''''''''''1'''">
              <a:rPr lang="en-US" sz="1200">
                <a:solidFill>
                  <a:schemeClr val="tx1"/>
                </a:solidFill>
              </a:rPr>
              <a:pPr algn="ctr">
                <a:spcBef>
                  <a:spcPct val="0"/>
                </a:spcBef>
                <a:spcAft>
                  <a:spcPct val="0"/>
                </a:spcAft>
              </a:pPr>
              <a:t>271</a:t>
            </a:fld>
            <a:r>
              <a:rPr lang="en-US" sz="1200" smtClean="0">
                <a:solidFill>
                  <a:schemeClr val="tx1"/>
                </a:solidFill>
                <a:sym typeface="+mn-lt"/>
              </a:rPr>
              <a:t>)</a:t>
            </a:r>
            <a:endParaRPr lang="en-US" sz="1200" dirty="0">
              <a:solidFill>
                <a:schemeClr val="tx1"/>
              </a:solidFill>
              <a:sym typeface="+mn-lt"/>
            </a:endParaRPr>
          </a:p>
        </p:txBody>
      </p:sp>
      <p:sp>
        <p:nvSpPr>
          <p:cNvPr id="38" name="Rectangle 37"/>
          <p:cNvSpPr/>
          <p:nvPr>
            <p:custDataLst>
              <p:tags r:id="rId31"/>
            </p:custDataLst>
          </p:nvPr>
        </p:nvSpPr>
        <p:spPr bwMode="auto">
          <a:xfrm>
            <a:off x="995363"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09EF0E-9A6B-495B-B983-7DACA725716A}" type="datetime'''''''''''''''''''''''''''''''''''''2''''''''''00''''''8'''">
              <a:rPr lang="en-US" sz="1200">
                <a:solidFill>
                  <a:schemeClr val="tx1"/>
                </a:solidFill>
              </a:rPr>
              <a:pPr algn="ctr">
                <a:spcBef>
                  <a:spcPct val="0"/>
                </a:spcBef>
                <a:spcAft>
                  <a:spcPct val="0"/>
                </a:spcAft>
              </a:pPr>
              <a:t>2008</a:t>
            </a:fld>
            <a:endParaRPr lang="en-US" sz="1200" dirty="0">
              <a:solidFill>
                <a:schemeClr val="tx1"/>
              </a:solidFill>
              <a:sym typeface="+mn-lt"/>
            </a:endParaRPr>
          </a:p>
        </p:txBody>
      </p:sp>
      <p:sp>
        <p:nvSpPr>
          <p:cNvPr id="39" name="Rectangle 38"/>
          <p:cNvSpPr/>
          <p:nvPr>
            <p:custDataLst>
              <p:tags r:id="rId32"/>
            </p:custDataLst>
          </p:nvPr>
        </p:nvSpPr>
        <p:spPr bwMode="gray">
          <a:xfrm>
            <a:off x="974725" y="44005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678CBDB-EE94-4ABB-A02A-1EAEF2755A5D}" type="datetime'1''1''''''''''''''''''''''''%'''''''''''''''''''''">
              <a:rPr lang="en-US" sz="1200">
                <a:solidFill>
                  <a:schemeClr val="tx1"/>
                </a:solidFill>
              </a:rPr>
              <a:pPr algn="ctr">
                <a:spcBef>
                  <a:spcPct val="0"/>
                </a:spcBef>
                <a:spcAft>
                  <a:spcPct val="0"/>
                </a:spcAft>
              </a:pPr>
              <a:t>1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E571AF7-57DC-4E7D-9589-ED4CA5C8F6F7}" type="datetime'''''''''''''''''''1''''''''''''''''9''''''''''''7'''''''''''''">
              <a:rPr lang="en-US" sz="1200">
                <a:solidFill>
                  <a:schemeClr val="tx1"/>
                </a:solidFill>
              </a:rPr>
              <a:pPr algn="ctr">
                <a:spcBef>
                  <a:spcPct val="0"/>
                </a:spcBef>
                <a:spcAft>
                  <a:spcPct val="0"/>
                </a:spcAft>
              </a:pPr>
              <a:t>197</a:t>
            </a:fld>
            <a:r>
              <a:rPr lang="en-US" sz="1200" smtClean="0">
                <a:solidFill>
                  <a:schemeClr val="tx1"/>
                </a:solidFill>
                <a:sym typeface="+mn-lt"/>
              </a:rPr>
              <a:t>)</a:t>
            </a:r>
            <a:endParaRPr lang="en-US" sz="1200" dirty="0">
              <a:solidFill>
                <a:schemeClr val="tx1"/>
              </a:solidFill>
              <a:sym typeface="+mn-lt"/>
            </a:endParaRPr>
          </a:p>
        </p:txBody>
      </p:sp>
      <p:sp>
        <p:nvSpPr>
          <p:cNvPr id="40" name="Rectangle 39"/>
          <p:cNvSpPr/>
          <p:nvPr>
            <p:custDataLst>
              <p:tags r:id="rId33"/>
            </p:custDataLst>
          </p:nvPr>
        </p:nvSpPr>
        <p:spPr bwMode="auto">
          <a:xfrm>
            <a:off x="485775"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C11914F-9C31-4055-B4BE-515AF13C3D1E}" type="datetime'2''''''''0''0''7'''''''">
              <a:rPr lang="en-US" sz="1200">
                <a:solidFill>
                  <a:schemeClr val="tx1"/>
                </a:solidFill>
              </a:rPr>
              <a:pPr algn="ctr">
                <a:spcBef>
                  <a:spcPct val="0"/>
                </a:spcBef>
                <a:spcAft>
                  <a:spcPct val="0"/>
                </a:spcAft>
              </a:pPr>
              <a:t>2007</a:t>
            </a:fld>
            <a:endParaRPr lang="en-US" sz="1200" dirty="0">
              <a:solidFill>
                <a:schemeClr val="tx1"/>
              </a:solidFill>
              <a:sym typeface="+mn-lt"/>
            </a:endParaRPr>
          </a:p>
        </p:txBody>
      </p:sp>
      <p:sp>
        <p:nvSpPr>
          <p:cNvPr id="41" name="Rectangle 40"/>
          <p:cNvSpPr/>
          <p:nvPr>
            <p:custDataLst>
              <p:tags r:id="rId34"/>
            </p:custDataLst>
          </p:nvPr>
        </p:nvSpPr>
        <p:spPr bwMode="gray">
          <a:xfrm>
            <a:off x="465138" y="4562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C32D43E-B8CD-465C-8F13-DA8CEE73057B}" type="datetime'''8''''''''''''''''''''''''''''''''''''''%'''''''''''''''">
              <a:rPr lang="en-US" sz="1200">
                <a:solidFill>
                  <a:schemeClr val="tx1"/>
                </a:solidFill>
              </a:rPr>
              <a:pPr algn="ctr">
                <a:spcBef>
                  <a:spcPct val="0"/>
                </a:spcBef>
                <a:spcAft>
                  <a:spcPct val="0"/>
                </a:spcAft>
              </a:pPr>
              <a:t>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0A12360-043C-49B1-A751-40C3F0F223A6}" type="datetime'''''''''''''''''''''''''''''''''''''''1''40'''''''''''''''">
              <a:rPr lang="en-US" sz="1200">
                <a:solidFill>
                  <a:schemeClr val="tx1"/>
                </a:solidFill>
              </a:rPr>
              <a:pPr algn="ctr">
                <a:spcBef>
                  <a:spcPct val="0"/>
                </a:spcBef>
                <a:spcAft>
                  <a:spcPct val="0"/>
                </a:spcAft>
              </a:pPr>
              <a:t>140</a:t>
            </a:fld>
            <a:r>
              <a:rPr lang="en-US" sz="1200" smtClean="0">
                <a:solidFill>
                  <a:schemeClr val="tx1"/>
                </a:solidFill>
                <a:sym typeface="+mn-lt"/>
              </a:rPr>
              <a:t>)</a:t>
            </a:r>
            <a:endParaRPr lang="en-US" sz="1200" dirty="0">
              <a:solidFill>
                <a:schemeClr val="tx1"/>
              </a:solidFill>
              <a:sym typeface="+mn-lt"/>
            </a:endParaRPr>
          </a:p>
        </p:txBody>
      </p:sp>
      <p:sp>
        <p:nvSpPr>
          <p:cNvPr id="42" name="Rectangle 41"/>
          <p:cNvSpPr/>
          <p:nvPr>
            <p:custDataLst>
              <p:tags r:id="rId35"/>
            </p:custDataLst>
          </p:nvPr>
        </p:nvSpPr>
        <p:spPr bwMode="auto">
          <a:xfrm>
            <a:off x="889000" y="5795963"/>
            <a:ext cx="2586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a:solidFill>
                  <a:schemeClr val="tx1"/>
                </a:solidFill>
                <a:sym typeface="+mn-lt"/>
              </a:rPr>
              <a:t>Projekto įregistravimo metai („</a:t>
            </a:r>
            <a:r>
              <a:rPr lang="en-US" sz="1000" b="1" dirty="0">
                <a:solidFill>
                  <a:schemeClr val="tx1"/>
                </a:solidFill>
                <a:sym typeface="+mn-lt"/>
              </a:rPr>
              <a:t>submission date</a:t>
            </a:r>
            <a:r>
              <a:rPr lang="lt-LT" sz="1000" b="1" dirty="0">
                <a:solidFill>
                  <a:schemeClr val="tx1"/>
                </a:solidFill>
                <a:sym typeface="+mn-lt"/>
              </a:rPr>
              <a:t>“)</a:t>
            </a:r>
            <a:endParaRPr lang="en-US" sz="1000" b="1" dirty="0">
              <a:solidFill>
                <a:schemeClr val="tx1"/>
              </a:solidFill>
              <a:sym typeface="+mn-lt"/>
            </a:endParaRPr>
          </a:p>
        </p:txBody>
      </p:sp>
      <p:sp>
        <p:nvSpPr>
          <p:cNvPr id="43" name="Rectangle 42"/>
          <p:cNvSpPr/>
          <p:nvPr/>
        </p:nvSpPr>
        <p:spPr>
          <a:xfrm>
            <a:off x="287338" y="3841750"/>
            <a:ext cx="4049464" cy="218931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4" name="Rectangle 43"/>
          <p:cNvSpPr/>
          <p:nvPr/>
        </p:nvSpPr>
        <p:spPr>
          <a:xfrm>
            <a:off x="287338" y="3562350"/>
            <a:ext cx="4049464" cy="35257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projektų vykdymo metus, vnt. ir proc. nuo visų projektų</a:t>
            </a:r>
            <a:endParaRPr lang="lt-LT" sz="1100" dirty="0">
              <a:solidFill>
                <a:schemeClr val="bg1"/>
              </a:solidFill>
              <a:cs typeface="Cambria"/>
            </a:endParaRPr>
          </a:p>
        </p:txBody>
      </p:sp>
      <p:graphicFrame>
        <p:nvGraphicFramePr>
          <p:cNvPr id="45" name="Object 44"/>
          <p:cNvGraphicFramePr>
            <a:graphicFrameLocks/>
          </p:cNvGraphicFramePr>
          <p:nvPr>
            <p:custDataLst>
              <p:tags r:id="rId36"/>
            </p:custDataLst>
            <p:extLst>
              <p:ext uri="{D42A27DB-BD31-4B8C-83A1-F6EECF244321}">
                <p14:modId xmlns:p14="http://schemas.microsoft.com/office/powerpoint/2010/main" val="1930933474"/>
              </p:ext>
            </p:extLst>
          </p:nvPr>
        </p:nvGraphicFramePr>
        <p:xfrm>
          <a:off x="4457700" y="4000499"/>
          <a:ext cx="4343468" cy="1495530"/>
        </p:xfrm>
        <a:graphic>
          <a:graphicData uri="http://schemas.openxmlformats.org/presentationml/2006/ole">
            <mc:AlternateContent xmlns:mc="http://schemas.openxmlformats.org/markup-compatibility/2006">
              <mc:Choice xmlns:v="urn:schemas-microsoft-com:vml" Requires="v">
                <p:oleObj spid="_x0000_s21565" name="Chart" r:id="rId58" imgW="4343488" imgH="1495301" progId="MSGraph.Chart.8">
                  <p:embed followColorScheme="full"/>
                </p:oleObj>
              </mc:Choice>
              <mc:Fallback>
                <p:oleObj name="Chart" r:id="rId58" imgW="4343488" imgH="1495301" progId="MSGraph.Chart.8">
                  <p:embed followColorScheme="full"/>
                  <p:pic>
                    <p:nvPicPr>
                      <p:cNvPr id="0" name=""/>
                      <p:cNvPicPr/>
                      <p:nvPr/>
                    </p:nvPicPr>
                    <p:blipFill>
                      <a:blip r:embed="rId59"/>
                      <a:stretch>
                        <a:fillRect/>
                      </a:stretch>
                    </p:blipFill>
                    <p:spPr>
                      <a:xfrm>
                        <a:off x="4457700" y="4000499"/>
                        <a:ext cx="4343468" cy="1495530"/>
                      </a:xfrm>
                      <a:prstGeom prst="rect">
                        <a:avLst/>
                      </a:prstGeom>
                    </p:spPr>
                  </p:pic>
                </p:oleObj>
              </mc:Fallback>
            </mc:AlternateContent>
          </a:graphicData>
        </a:graphic>
      </p:graphicFrame>
      <p:sp>
        <p:nvSpPr>
          <p:cNvPr id="46" name="Rectangle 45"/>
          <p:cNvSpPr/>
          <p:nvPr>
            <p:custDataLst>
              <p:tags r:id="rId37"/>
            </p:custDataLst>
          </p:nvPr>
        </p:nvSpPr>
        <p:spPr bwMode="auto">
          <a:xfrm>
            <a:off x="7062788"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28CC2A9-6DBE-4190-BF85-61D322A8524E}" type="datetime'''''''2''''''''''''''0''''''''''''11'''''''''''''''">
              <a:rPr lang="en-US" sz="1200">
                <a:solidFill>
                  <a:schemeClr val="tx1"/>
                </a:solidFill>
              </a:rPr>
              <a:pPr algn="ctr">
                <a:spcBef>
                  <a:spcPct val="0"/>
                </a:spcBef>
                <a:spcAft>
                  <a:spcPct val="0"/>
                </a:spcAft>
              </a:pPr>
              <a:t>2011</a:t>
            </a:fld>
            <a:endParaRPr lang="en-US" sz="1200" dirty="0">
              <a:solidFill>
                <a:schemeClr val="tx1"/>
              </a:solidFill>
              <a:sym typeface="+mn-lt"/>
            </a:endParaRPr>
          </a:p>
        </p:txBody>
      </p:sp>
      <p:sp>
        <p:nvSpPr>
          <p:cNvPr id="47" name="Rectangle 46"/>
          <p:cNvSpPr/>
          <p:nvPr>
            <p:custDataLst>
              <p:tags r:id="rId38"/>
            </p:custDataLst>
          </p:nvPr>
        </p:nvSpPr>
        <p:spPr bwMode="auto">
          <a:xfrm>
            <a:off x="5346700" y="5824538"/>
            <a:ext cx="2586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a:solidFill>
                  <a:schemeClr val="tx1"/>
                </a:solidFill>
                <a:sym typeface="+mn-lt"/>
              </a:rPr>
              <a:t>Projekto įregistravimo metai („</a:t>
            </a:r>
            <a:r>
              <a:rPr lang="en-US" sz="1000" b="1" dirty="0">
                <a:solidFill>
                  <a:schemeClr val="tx1"/>
                </a:solidFill>
                <a:sym typeface="+mn-lt"/>
              </a:rPr>
              <a:t>submission date</a:t>
            </a:r>
            <a:r>
              <a:rPr lang="lt-LT" sz="1000" b="1" dirty="0">
                <a:solidFill>
                  <a:schemeClr val="tx1"/>
                </a:solidFill>
                <a:sym typeface="+mn-lt"/>
              </a:rPr>
              <a:t>“)</a:t>
            </a:r>
            <a:endParaRPr lang="en-US" sz="1000" b="1" dirty="0">
              <a:solidFill>
                <a:schemeClr val="tx1"/>
              </a:solidFill>
              <a:sym typeface="+mn-lt"/>
            </a:endParaRPr>
          </a:p>
        </p:txBody>
      </p:sp>
      <p:sp>
        <p:nvSpPr>
          <p:cNvPr id="48" name="Rectangle 47"/>
          <p:cNvSpPr/>
          <p:nvPr>
            <p:custDataLst>
              <p:tags r:id="rId39"/>
            </p:custDataLst>
          </p:nvPr>
        </p:nvSpPr>
        <p:spPr bwMode="auto">
          <a:xfrm>
            <a:off x="8234363"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CA5EBCD-32DD-40A6-A33E-FF79049EA249}" type="datetime'''2''''''''''''''''''''''''''''''''0''1''''''''''3'">
              <a:rPr lang="en-US" sz="1200">
                <a:solidFill>
                  <a:schemeClr val="tx1"/>
                </a:solidFill>
              </a:rPr>
              <a:pPr algn="ctr">
                <a:spcBef>
                  <a:spcPct val="0"/>
                </a:spcBef>
                <a:spcAft>
                  <a:spcPct val="0"/>
                </a:spcAft>
              </a:pPr>
              <a:t>2013</a:t>
            </a:fld>
            <a:endParaRPr lang="en-US" sz="1200" dirty="0">
              <a:solidFill>
                <a:schemeClr val="tx1"/>
              </a:solidFill>
              <a:sym typeface="+mn-lt"/>
            </a:endParaRPr>
          </a:p>
        </p:txBody>
      </p:sp>
      <p:sp>
        <p:nvSpPr>
          <p:cNvPr id="49" name="Rectangle 48"/>
          <p:cNvSpPr/>
          <p:nvPr>
            <p:custDataLst>
              <p:tags r:id="rId40"/>
            </p:custDataLst>
          </p:nvPr>
        </p:nvSpPr>
        <p:spPr bwMode="auto">
          <a:xfrm>
            <a:off x="7648575"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050E205-9108-4401-9328-EEFA91D19D33}" type="datetime'''''''''''''''''''''''''''''''''''2''''''''''''''0''''1''2'''">
              <a:rPr lang="en-US" sz="1200">
                <a:solidFill>
                  <a:schemeClr val="tx1"/>
                </a:solidFill>
              </a:rPr>
              <a:pPr algn="ctr">
                <a:spcBef>
                  <a:spcPct val="0"/>
                </a:spcBef>
                <a:spcAft>
                  <a:spcPct val="0"/>
                </a:spcAft>
              </a:pPr>
              <a:t>2012</a:t>
            </a:fld>
            <a:endParaRPr lang="en-US" sz="1200" dirty="0">
              <a:solidFill>
                <a:schemeClr val="tx1"/>
              </a:solidFill>
              <a:sym typeface="+mn-lt"/>
            </a:endParaRPr>
          </a:p>
        </p:txBody>
      </p:sp>
      <p:sp>
        <p:nvSpPr>
          <p:cNvPr id="50" name="Rectangle 49"/>
          <p:cNvSpPr/>
          <p:nvPr>
            <p:custDataLst>
              <p:tags r:id="rId41"/>
            </p:custDataLst>
          </p:nvPr>
        </p:nvSpPr>
        <p:spPr bwMode="auto">
          <a:xfrm>
            <a:off x="6472238"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2E56999-42D5-4D03-A597-29D042E9F320}" type="datetime'''''''2''''01''''''''''''''''''''''0'''''">
              <a:rPr lang="en-US" sz="1200">
                <a:solidFill>
                  <a:schemeClr val="tx1"/>
                </a:solidFill>
              </a:rPr>
              <a:pPr algn="ctr">
                <a:spcBef>
                  <a:spcPct val="0"/>
                </a:spcBef>
                <a:spcAft>
                  <a:spcPct val="0"/>
                </a:spcAft>
              </a:pPr>
              <a:t>2010</a:t>
            </a:fld>
            <a:endParaRPr lang="en-US" sz="1200" dirty="0">
              <a:solidFill>
                <a:schemeClr val="tx1"/>
              </a:solidFill>
              <a:sym typeface="+mn-lt"/>
            </a:endParaRPr>
          </a:p>
        </p:txBody>
      </p:sp>
      <p:sp>
        <p:nvSpPr>
          <p:cNvPr id="51" name="Rectangle 50"/>
          <p:cNvSpPr/>
          <p:nvPr>
            <p:custDataLst>
              <p:tags r:id="rId42"/>
            </p:custDataLst>
          </p:nvPr>
        </p:nvSpPr>
        <p:spPr bwMode="auto">
          <a:xfrm>
            <a:off x="5881688"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B8C6B46-A6CF-4258-B672-08A4DA8B0A14}" type="datetime'''''''''''2''''''''''''0''''''''''''''0''9'''''''">
              <a:rPr lang="en-US" sz="1200">
                <a:solidFill>
                  <a:schemeClr val="tx1"/>
                </a:solidFill>
              </a:rPr>
              <a:pPr algn="ctr">
                <a:spcBef>
                  <a:spcPct val="0"/>
                </a:spcBef>
                <a:spcAft>
                  <a:spcPct val="0"/>
                </a:spcAft>
              </a:pPr>
              <a:t>2009</a:t>
            </a:fld>
            <a:endParaRPr lang="en-US" sz="1200" dirty="0">
              <a:solidFill>
                <a:schemeClr val="tx1"/>
              </a:solidFill>
              <a:sym typeface="+mn-lt"/>
            </a:endParaRPr>
          </a:p>
        </p:txBody>
      </p:sp>
      <p:sp>
        <p:nvSpPr>
          <p:cNvPr id="52" name="Rectangle 51"/>
          <p:cNvSpPr/>
          <p:nvPr>
            <p:custDataLst>
              <p:tags r:id="rId43"/>
            </p:custDataLst>
          </p:nvPr>
        </p:nvSpPr>
        <p:spPr bwMode="auto">
          <a:xfrm>
            <a:off x="5295900"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E564FB4-0C9C-4278-8AED-86EE29FD6D21}" type="datetime'''''''2''''''''''0''''''''''''''0''''''''''8'''''''''''''">
              <a:rPr lang="en-US" sz="1200">
                <a:solidFill>
                  <a:schemeClr val="tx1"/>
                </a:solidFill>
              </a:rPr>
              <a:pPr algn="ctr">
                <a:spcBef>
                  <a:spcPct val="0"/>
                </a:spcBef>
                <a:spcAft>
                  <a:spcPct val="0"/>
                </a:spcAft>
              </a:pPr>
              <a:t>2008</a:t>
            </a:fld>
            <a:endParaRPr lang="en-US" sz="1200" dirty="0">
              <a:solidFill>
                <a:schemeClr val="tx1"/>
              </a:solidFill>
              <a:sym typeface="+mn-lt"/>
            </a:endParaRPr>
          </a:p>
        </p:txBody>
      </p:sp>
      <p:sp>
        <p:nvSpPr>
          <p:cNvPr id="53" name="Rectangle 52"/>
          <p:cNvSpPr/>
          <p:nvPr>
            <p:custDataLst>
              <p:tags r:id="rId44"/>
            </p:custDataLst>
          </p:nvPr>
        </p:nvSpPr>
        <p:spPr bwMode="auto">
          <a:xfrm>
            <a:off x="4710113"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34D23E1-7713-4B6F-A459-978E06EC4EFD}" type="datetime'''''''2''''''''''''''0''0''7'''''''''''''''''">
              <a:rPr lang="en-US" sz="1200">
                <a:solidFill>
                  <a:schemeClr val="tx1"/>
                </a:solidFill>
              </a:rPr>
              <a:pPr algn="ctr">
                <a:spcBef>
                  <a:spcPct val="0"/>
                </a:spcBef>
                <a:spcAft>
                  <a:spcPct val="0"/>
                </a:spcAft>
              </a:pPr>
              <a:t>2007</a:t>
            </a:fld>
            <a:endParaRPr lang="en-US" sz="1200" dirty="0">
              <a:solidFill>
                <a:schemeClr val="tx1"/>
              </a:solidFill>
              <a:sym typeface="+mn-lt"/>
            </a:endParaRPr>
          </a:p>
        </p:txBody>
      </p:sp>
      <p:sp>
        <p:nvSpPr>
          <p:cNvPr id="54" name="Rectangle 53"/>
          <p:cNvSpPr/>
          <p:nvPr/>
        </p:nvSpPr>
        <p:spPr>
          <a:xfrm>
            <a:off x="4481513" y="3860800"/>
            <a:ext cx="4426843" cy="21704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55" name="Rectangle 54"/>
          <p:cNvSpPr/>
          <p:nvPr/>
        </p:nvSpPr>
        <p:spPr>
          <a:xfrm>
            <a:off x="4481513" y="3581400"/>
            <a:ext cx="4426843" cy="35257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projektų tipą ir jų vykdymo metus, vnt. </a:t>
            </a:r>
            <a:endParaRPr lang="lt-LT" sz="1100" dirty="0">
              <a:solidFill>
                <a:schemeClr val="bg1"/>
              </a:solidFill>
              <a:cs typeface="Cambria"/>
            </a:endParaRPr>
          </a:p>
        </p:txBody>
      </p:sp>
      <p:sp>
        <p:nvSpPr>
          <p:cNvPr id="56" name="Rectangle 55"/>
          <p:cNvSpPr/>
          <p:nvPr>
            <p:custDataLst>
              <p:tags r:id="rId45"/>
            </p:custDataLst>
          </p:nvPr>
        </p:nvSpPr>
        <p:spPr bwMode="auto">
          <a:xfrm>
            <a:off x="4581525" y="4225925"/>
            <a:ext cx="179388" cy="133350"/>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custDataLst>
              <p:tags r:id="rId46"/>
            </p:custDataLst>
          </p:nvPr>
        </p:nvSpPr>
        <p:spPr bwMode="auto">
          <a:xfrm>
            <a:off x="4581525" y="4022725"/>
            <a:ext cx="179388" cy="13335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custDataLst>
              <p:tags r:id="rId47"/>
            </p:custDataLst>
          </p:nvPr>
        </p:nvSpPr>
        <p:spPr bwMode="auto">
          <a:xfrm>
            <a:off x="4811713" y="4222750"/>
            <a:ext cx="3619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F28C233-ADE2-4E5C-BBA9-AF247A2A32D9}" type="datetime'''''''''''ET''P''''l''''i''''''''''u''s'''''''''''''''">
              <a:rPr lang="en-US" sz="1000">
                <a:solidFill>
                  <a:schemeClr val="tx1"/>
                </a:solidFill>
              </a:rPr>
              <a:pPr>
                <a:spcBef>
                  <a:spcPct val="0"/>
                </a:spcBef>
                <a:spcAft>
                  <a:spcPct val="0"/>
                </a:spcAft>
              </a:pPr>
              <a:t>ETPlius</a:t>
            </a:fld>
            <a:endParaRPr lang="en-US" sz="1000">
              <a:solidFill>
                <a:schemeClr val="tx1"/>
              </a:solidFill>
              <a:sym typeface="+mn-lt"/>
            </a:endParaRPr>
          </a:p>
        </p:txBody>
      </p:sp>
      <p:sp>
        <p:nvSpPr>
          <p:cNvPr id="59" name="Rectangle 58"/>
          <p:cNvSpPr/>
          <p:nvPr>
            <p:custDataLst>
              <p:tags r:id="rId48"/>
            </p:custDataLst>
          </p:nvPr>
        </p:nvSpPr>
        <p:spPr bwMode="auto">
          <a:xfrm>
            <a:off x="4811713" y="4019550"/>
            <a:ext cx="5334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26C6C2A-66A7-4C06-9AC2-4CFFB3A63964}" type="datetime'''''''''''''''e''''''Tw''''''''''''''i''n''''''ning'''''">
              <a:rPr lang="en-US" sz="1000">
                <a:solidFill>
                  <a:schemeClr val="tx1"/>
                </a:solidFill>
              </a:rPr>
              <a:pPr>
                <a:spcBef>
                  <a:spcPct val="0"/>
                </a:spcBef>
                <a:spcAft>
                  <a:spcPct val="0"/>
                </a:spcAft>
              </a:pPr>
              <a:t>eTwinning</a:t>
            </a:fld>
            <a:endParaRPr lang="en-US" sz="1000">
              <a:solidFill>
                <a:schemeClr val="tx1"/>
              </a:solidFill>
              <a:sym typeface="+mn-lt"/>
            </a:endParaRPr>
          </a:p>
        </p:txBody>
      </p:sp>
    </p:spTree>
    <p:extLst>
      <p:ext uri="{BB962C8B-B14F-4D97-AF65-F5344CB8AC3E}">
        <p14:creationId xmlns:p14="http://schemas.microsoft.com/office/powerpoint/2010/main" val="23853498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ct 85" hidden="1"/>
          <p:cNvGraphicFramePr>
            <a:graphicFrameLocks noChangeAspect="1"/>
          </p:cNvGraphicFramePr>
          <p:nvPr>
            <p:custDataLst>
              <p:tags r:id="rId2"/>
            </p:custDataLst>
            <p:extLst>
              <p:ext uri="{D42A27DB-BD31-4B8C-83A1-F6EECF244321}">
                <p14:modId xmlns:p14="http://schemas.microsoft.com/office/powerpoint/2010/main" val="72460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7" name="think-cell Slide" r:id="rId83" imgW="270" imgH="270" progId="TCLayout.ActiveDocument.1">
                  <p:embed/>
                </p:oleObj>
              </mc:Choice>
              <mc:Fallback>
                <p:oleObj name="think-cell Slide" r:id="rId83" imgW="270" imgH="270" progId="TCLayout.ActiveDocument.1">
                  <p:embed/>
                  <p:pic>
                    <p:nvPicPr>
                      <p:cNvPr id="0" name=""/>
                      <p:cNvPicPr/>
                      <p:nvPr/>
                    </p:nvPicPr>
                    <p:blipFill>
                      <a:blip r:embed="rId84"/>
                      <a:stretch>
                        <a:fillRect/>
                      </a:stretch>
                    </p:blipFill>
                    <p:spPr>
                      <a:xfrm>
                        <a:off x="1588" y="1588"/>
                        <a:ext cx="1587" cy="1587"/>
                      </a:xfrm>
                      <a:prstGeom prst="rect">
                        <a:avLst/>
                      </a:prstGeom>
                    </p:spPr>
                  </p:pic>
                </p:oleObj>
              </mc:Fallback>
            </mc:AlternateContent>
          </a:graphicData>
        </a:graphic>
      </p:graphicFrame>
      <p:sp>
        <p:nvSpPr>
          <p:cNvPr id="85" name="Rectangle 8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58466" y="368660"/>
            <a:ext cx="8229600" cy="487362"/>
          </a:xfrm>
        </p:spPr>
        <p:txBody>
          <a:bodyPr>
            <a:noAutofit/>
          </a:bodyPr>
          <a:lstStyle/>
          <a:p>
            <a:r>
              <a:rPr lang="lt-LT" sz="2000" b="1" dirty="0">
                <a:solidFill>
                  <a:schemeClr val="tx2">
                    <a:lumMod val="75000"/>
                  </a:schemeClr>
                </a:solidFill>
              </a:rPr>
              <a:t>Dažniausiai buvo užsienio kalbos ir informatika/IKT, kurių naudojimą sąlygoja pati programos specifika</a:t>
            </a:r>
            <a:endParaRPr lang="en-US" sz="2000" b="1" dirty="0">
              <a:solidFill>
                <a:schemeClr val="tx2">
                  <a:lumMod val="75000"/>
                </a:schemeClr>
              </a:solidFil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392633746"/>
              </p:ext>
            </p:extLst>
          </p:nvPr>
        </p:nvGraphicFramePr>
        <p:xfrm>
          <a:off x="1752599" y="1333500"/>
          <a:ext cx="3248078" cy="5076810"/>
        </p:xfrm>
        <a:graphic>
          <a:graphicData uri="http://schemas.openxmlformats.org/presentationml/2006/ole">
            <mc:AlternateContent xmlns:mc="http://schemas.openxmlformats.org/markup-compatibility/2006">
              <mc:Choice xmlns:v="urn:schemas-microsoft-com:vml" Requires="v">
                <p:oleObj spid="_x0000_s23588" name="Chart" r:id="rId85" imgW="3247963" imgH="5076792" progId="MSGraph.Chart.8">
                  <p:embed followColorScheme="full"/>
                </p:oleObj>
              </mc:Choice>
              <mc:Fallback>
                <p:oleObj name="Chart" r:id="rId85" imgW="3247963" imgH="5076792" progId="MSGraph.Chart.8">
                  <p:embed followColorScheme="full"/>
                  <p:pic>
                    <p:nvPicPr>
                      <p:cNvPr id="0" name=""/>
                      <p:cNvPicPr/>
                      <p:nvPr/>
                    </p:nvPicPr>
                    <p:blipFill>
                      <a:blip r:embed="rId86"/>
                      <a:stretch>
                        <a:fillRect/>
                      </a:stretch>
                    </p:blipFill>
                    <p:spPr>
                      <a:xfrm>
                        <a:off x="1752599" y="1333500"/>
                        <a:ext cx="3248078" cy="5076810"/>
                      </a:xfrm>
                      <a:prstGeom prst="rect">
                        <a:avLst/>
                      </a:prstGeom>
                    </p:spPr>
                  </p:pic>
                </p:oleObj>
              </mc:Fallback>
            </mc:AlternateContent>
          </a:graphicData>
        </a:graphic>
      </p:graphicFrame>
      <p:sp>
        <p:nvSpPr>
          <p:cNvPr id="6" name="Rectangle 5"/>
          <p:cNvSpPr/>
          <p:nvPr>
            <p:custDataLst>
              <p:tags r:id="rId5"/>
            </p:custDataLst>
          </p:nvPr>
        </p:nvSpPr>
        <p:spPr bwMode="auto">
          <a:xfrm>
            <a:off x="612775" y="6024563"/>
            <a:ext cx="11525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D6F3E57-20C4-4792-8063-AEC370AD9606}" type="datetime'I''ki''mo''''''kyklinio ''''''''''''ugdymo'' &#10;d''aly''k''ai'''">
              <a:rPr lang="en-US" sz="1000">
                <a:solidFill>
                  <a:schemeClr val="tx1"/>
                </a:solidFill>
              </a:rPr>
              <a:pPr algn="r">
                <a:spcBef>
                  <a:spcPct val="0"/>
                </a:spcBef>
                <a:spcAft>
                  <a:spcPct val="0"/>
                </a:spcAft>
              </a:pPr>
              <a:t>Ikimokyklinio ugdymo 
dalykai</a:t>
            </a:fld>
            <a:endParaRPr lang="en-US" sz="1000" dirty="0">
              <a:solidFill>
                <a:schemeClr val="tx1"/>
              </a:solidFill>
              <a:latin typeface="Calibri"/>
              <a:sym typeface="Calibri"/>
            </a:endParaRPr>
          </a:p>
        </p:txBody>
      </p:sp>
      <p:sp>
        <p:nvSpPr>
          <p:cNvPr id="7" name="Rectangle 6"/>
          <p:cNvSpPr/>
          <p:nvPr>
            <p:custDataLst>
              <p:tags r:id="rId6"/>
            </p:custDataLst>
          </p:nvPr>
        </p:nvSpPr>
        <p:spPr bwMode="gray">
          <a:xfrm>
            <a:off x="2339975" y="61007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7EC196F-B2AB-4D3F-8C51-1F9DD1270B4E}" type="datetime'''''''''''''''''''''1''''''''''8''3'''''''''''''''''">
              <a:rPr lang="en-US" sz="1000">
                <a:solidFill>
                  <a:schemeClr val="tx1"/>
                </a:solidFill>
              </a:rPr>
              <a:pPr>
                <a:spcBef>
                  <a:spcPct val="0"/>
                </a:spcBef>
                <a:spcAft>
                  <a:spcPct val="0"/>
                </a:spcAft>
              </a:pPr>
              <a:t>183</a:t>
            </a:fld>
            <a:r>
              <a:rPr lang="en-US" sz="1000" smtClean="0">
                <a:solidFill>
                  <a:schemeClr val="tx1"/>
                </a:solidFill>
                <a:sym typeface="+mn-lt"/>
              </a:rPr>
              <a:t> (</a:t>
            </a:r>
            <a:fld id="{23325CD3-D5CF-4A28-9C1C-B3639EEEC085}"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8" name="Rectangle 7"/>
          <p:cNvSpPr/>
          <p:nvPr>
            <p:custDataLst>
              <p:tags r:id="rId7"/>
            </p:custDataLst>
          </p:nvPr>
        </p:nvSpPr>
        <p:spPr bwMode="auto">
          <a:xfrm>
            <a:off x="944563" y="5843588"/>
            <a:ext cx="820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38092B-594D-4C96-9F9F-BE5BA6578243}" type="datetime'''''''''''''G''am''t''os'''''''' ''m''o''''ksla''i'">
              <a:rPr lang="en-US" sz="1000">
                <a:solidFill>
                  <a:schemeClr val="tx1"/>
                </a:solidFill>
              </a:rPr>
              <a:pPr algn="r">
                <a:spcBef>
                  <a:spcPct val="0"/>
                </a:spcBef>
                <a:spcAft>
                  <a:spcPct val="0"/>
                </a:spcAft>
              </a:pPr>
              <a:t>Gamtos mokslai</a:t>
            </a:fld>
            <a:endParaRPr lang="en-US" sz="1000" dirty="0">
              <a:solidFill>
                <a:schemeClr val="tx1"/>
              </a:solidFill>
              <a:latin typeface="Calibri"/>
              <a:sym typeface="Calibri"/>
            </a:endParaRPr>
          </a:p>
        </p:txBody>
      </p:sp>
      <p:sp>
        <p:nvSpPr>
          <p:cNvPr id="9" name="Rectangle 8"/>
          <p:cNvSpPr/>
          <p:nvPr>
            <p:custDataLst>
              <p:tags r:id="rId8"/>
            </p:custDataLst>
          </p:nvPr>
        </p:nvSpPr>
        <p:spPr bwMode="gray">
          <a:xfrm>
            <a:off x="2359025" y="58435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EF5C2AE-69E7-48A3-A961-93CBB1A370DE}" type="datetime'''''''''''''''''''''1''''''''''''''''''''''''''''91'''''">
              <a:rPr lang="en-US" sz="1000">
                <a:solidFill>
                  <a:schemeClr val="tx1"/>
                </a:solidFill>
              </a:rPr>
              <a:pPr>
                <a:spcBef>
                  <a:spcPct val="0"/>
                </a:spcBef>
                <a:spcAft>
                  <a:spcPct val="0"/>
                </a:spcAft>
              </a:pPr>
              <a:t>191</a:t>
            </a:fld>
            <a:r>
              <a:rPr lang="en-US" sz="1000" smtClean="0">
                <a:solidFill>
                  <a:schemeClr val="tx1"/>
                </a:solidFill>
                <a:sym typeface="+mn-lt"/>
              </a:rPr>
              <a:t> (</a:t>
            </a:r>
            <a:fld id="{F50B9CFA-CD0C-4370-9589-5C578B3348CC}"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10" name="Rectangle 9"/>
          <p:cNvSpPr/>
          <p:nvPr>
            <p:custDataLst>
              <p:tags r:id="rId9"/>
            </p:custDataLst>
          </p:nvPr>
        </p:nvSpPr>
        <p:spPr bwMode="auto">
          <a:xfrm>
            <a:off x="1433513" y="5591175"/>
            <a:ext cx="331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06EFC8-0CE4-4FB2-B583-58EE0C51088E}" type="datetime'''''''''''''''''''T''i''ky''''''''''''''b''''''a'''">
              <a:rPr lang="en-US" sz="1000">
                <a:solidFill>
                  <a:schemeClr val="tx1"/>
                </a:solidFill>
              </a:rPr>
              <a:pPr algn="r">
                <a:spcBef>
                  <a:spcPct val="0"/>
                </a:spcBef>
                <a:spcAft>
                  <a:spcPct val="0"/>
                </a:spcAft>
              </a:pPr>
              <a:t>Tikyba</a:t>
            </a:fld>
            <a:endParaRPr lang="en-US" sz="1000" dirty="0">
              <a:solidFill>
                <a:schemeClr val="tx1"/>
              </a:solidFill>
              <a:latin typeface="Calibri"/>
              <a:sym typeface="Calibri"/>
            </a:endParaRPr>
          </a:p>
        </p:txBody>
      </p:sp>
      <p:sp>
        <p:nvSpPr>
          <p:cNvPr id="11" name="Rectangle 10"/>
          <p:cNvSpPr/>
          <p:nvPr>
            <p:custDataLst>
              <p:tags r:id="rId10"/>
            </p:custDataLst>
          </p:nvPr>
        </p:nvSpPr>
        <p:spPr bwMode="gray">
          <a:xfrm>
            <a:off x="2368550" y="55911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52F89D3-80DA-475F-B281-03446C00E035}" type="datetime'''1''''''''9''''''''''''''''2'''''''''''''''''''">
              <a:rPr lang="en-US" sz="1000">
                <a:solidFill>
                  <a:schemeClr val="tx1"/>
                </a:solidFill>
              </a:rPr>
              <a:pPr>
                <a:spcBef>
                  <a:spcPct val="0"/>
                </a:spcBef>
                <a:spcAft>
                  <a:spcPct val="0"/>
                </a:spcAft>
              </a:pPr>
              <a:t>192</a:t>
            </a:fld>
            <a:r>
              <a:rPr lang="en-US" sz="1000" smtClean="0">
                <a:solidFill>
                  <a:schemeClr val="tx1"/>
                </a:solidFill>
                <a:sym typeface="+mn-lt"/>
              </a:rPr>
              <a:t> (</a:t>
            </a:r>
            <a:fld id="{16853A0F-4BA8-4DCE-8972-EA19D79D34B7}" type="datetime'''''''1''''''''1''''%'''''''''''''''''''''''''''''''''''">
              <a:rPr lang="en-US" sz="1000">
                <a:solidFill>
                  <a:schemeClr val="tx1"/>
                </a:solidFill>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12" name="Rectangle 11"/>
          <p:cNvSpPr/>
          <p:nvPr>
            <p:custDataLst>
              <p:tags r:id="rId11"/>
            </p:custDataLst>
          </p:nvPr>
        </p:nvSpPr>
        <p:spPr bwMode="auto">
          <a:xfrm>
            <a:off x="785813" y="5262563"/>
            <a:ext cx="9794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D59D277-8C4B-4C64-8EC6-D63E1AF47E08}" type="datetime'Soci''''al''inia''i m''oksl''''ai/''&#10;''''''Sociolo''gija'''''">
              <a:rPr lang="en-US" sz="1000">
                <a:solidFill>
                  <a:schemeClr val="tx1"/>
                </a:solidFill>
              </a:rPr>
              <a:pPr algn="r">
                <a:spcBef>
                  <a:spcPct val="0"/>
                </a:spcBef>
                <a:spcAft>
                  <a:spcPct val="0"/>
                </a:spcAft>
              </a:pPr>
              <a:t>Socialiniai mokslai/
Sociologija</a:t>
            </a:fld>
            <a:endParaRPr lang="en-US" sz="1000" dirty="0">
              <a:solidFill>
                <a:schemeClr val="tx1"/>
              </a:solidFill>
              <a:latin typeface="Calibri"/>
              <a:sym typeface="Calibri"/>
            </a:endParaRPr>
          </a:p>
        </p:txBody>
      </p:sp>
      <p:sp>
        <p:nvSpPr>
          <p:cNvPr id="13" name="Rectangle 12"/>
          <p:cNvSpPr/>
          <p:nvPr>
            <p:custDataLst>
              <p:tags r:id="rId12"/>
            </p:custDataLst>
          </p:nvPr>
        </p:nvSpPr>
        <p:spPr bwMode="gray">
          <a:xfrm>
            <a:off x="2406650" y="53387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1D283B4-B6DE-4FED-AC09-8D3A6733E3E9}" type="datetime'''''''207'''''''''''''''''''''''''''">
              <a:rPr lang="en-US" sz="1000">
                <a:solidFill>
                  <a:schemeClr val="tx1"/>
                </a:solidFill>
              </a:rPr>
              <a:pPr>
                <a:spcBef>
                  <a:spcPct val="0"/>
                </a:spcBef>
                <a:spcAft>
                  <a:spcPct val="0"/>
                </a:spcAft>
              </a:pPr>
              <a:t>207</a:t>
            </a:fld>
            <a:r>
              <a:rPr lang="en-US" sz="1000" smtClean="0">
                <a:solidFill>
                  <a:schemeClr val="tx1"/>
                </a:solidFill>
                <a:sym typeface="+mn-lt"/>
              </a:rPr>
              <a:t> (</a:t>
            </a:r>
            <a:fld id="{27AAD63B-7B54-4493-87FD-D69706BD3FB6}" type="datetime'''''''''1''''1''''''''''''''''''%'''''''''''">
              <a:rPr lang="en-US" sz="1000">
                <a:solidFill>
                  <a:schemeClr val="tx1"/>
                </a:solidFill>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14" name="Rectangle 13"/>
          <p:cNvSpPr/>
          <p:nvPr>
            <p:custDataLst>
              <p:tags r:id="rId13"/>
            </p:custDataLst>
          </p:nvPr>
        </p:nvSpPr>
        <p:spPr bwMode="auto">
          <a:xfrm>
            <a:off x="1352550" y="5081588"/>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D99B0DC-C4BE-466C-A48C-15A060602B38}" type="datetime'''''M''e''''d''''''''''''''''''''''''''''i''''''''j''os'''">
              <a:rPr lang="en-US" sz="1000">
                <a:solidFill>
                  <a:schemeClr val="tx1"/>
                </a:solidFill>
              </a:rPr>
              <a:pPr algn="r">
                <a:spcBef>
                  <a:spcPct val="0"/>
                </a:spcBef>
                <a:spcAft>
                  <a:spcPct val="0"/>
                </a:spcAft>
              </a:pPr>
              <a:t>Medijos</a:t>
            </a:fld>
            <a:endParaRPr lang="en-US" sz="1000" dirty="0">
              <a:solidFill>
                <a:schemeClr val="tx1"/>
              </a:solidFill>
              <a:latin typeface="Calibri"/>
              <a:sym typeface="Calibri"/>
            </a:endParaRPr>
          </a:p>
        </p:txBody>
      </p:sp>
      <p:sp>
        <p:nvSpPr>
          <p:cNvPr id="15" name="Rectangle 14"/>
          <p:cNvSpPr/>
          <p:nvPr>
            <p:custDataLst>
              <p:tags r:id="rId14"/>
            </p:custDataLst>
          </p:nvPr>
        </p:nvSpPr>
        <p:spPr bwMode="gray">
          <a:xfrm>
            <a:off x="2444750" y="50815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734FAD5-72D0-4EA9-97AB-5C2D711D3C4F}" type="datetime'''''''''''''''''''''2''''''2''''''''''''''''''''''4'''">
              <a:rPr lang="en-US" sz="1000">
                <a:solidFill>
                  <a:schemeClr val="tx1"/>
                </a:solidFill>
              </a:rPr>
              <a:pPr>
                <a:spcBef>
                  <a:spcPct val="0"/>
                </a:spcBef>
                <a:spcAft>
                  <a:spcPct val="0"/>
                </a:spcAft>
              </a:pPr>
              <a:t>224</a:t>
            </a:fld>
            <a:r>
              <a:rPr lang="en-US" sz="1000" smtClean="0">
                <a:solidFill>
                  <a:schemeClr val="tx1"/>
                </a:solidFill>
                <a:sym typeface="+mn-lt"/>
              </a:rPr>
              <a:t> (</a:t>
            </a:r>
            <a:fld id="{50AA7A6B-68B5-427C-A7EC-C0214C8BA966}" type="datetime'''''1''''''''''''''''''''2''''''''%'''''''''''''''''''''''">
              <a:rPr lang="en-US" sz="1000">
                <a:solidFill>
                  <a:schemeClr val="tx1"/>
                </a:solidFill>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16" name="Rectangle 15"/>
          <p:cNvSpPr/>
          <p:nvPr>
            <p:custDataLst>
              <p:tags r:id="rId15"/>
            </p:custDataLst>
          </p:nvPr>
        </p:nvSpPr>
        <p:spPr bwMode="auto">
          <a:xfrm>
            <a:off x="1420813" y="4824413"/>
            <a:ext cx="344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BE47F53-4B75-41D9-B44C-92BE60953DDA}" type="datetime'D''''''''''''''''''''''''''''''''''''''''ra''''ma'''''''''''''">
              <a:rPr lang="en-US" sz="1000">
                <a:solidFill>
                  <a:schemeClr val="tx1"/>
                </a:solidFill>
              </a:rPr>
              <a:pPr algn="r">
                <a:spcBef>
                  <a:spcPct val="0"/>
                </a:spcBef>
                <a:spcAft>
                  <a:spcPct val="0"/>
                </a:spcAft>
              </a:pPr>
              <a:t>Drama</a:t>
            </a:fld>
            <a:endParaRPr lang="en-US" sz="1000" dirty="0">
              <a:solidFill>
                <a:schemeClr val="tx1"/>
              </a:solidFill>
              <a:latin typeface="Calibri"/>
              <a:sym typeface="Calibri"/>
            </a:endParaRPr>
          </a:p>
        </p:txBody>
      </p:sp>
      <p:sp>
        <p:nvSpPr>
          <p:cNvPr id="17" name="Rectangle 16"/>
          <p:cNvSpPr/>
          <p:nvPr>
            <p:custDataLst>
              <p:tags r:id="rId16"/>
            </p:custDataLst>
          </p:nvPr>
        </p:nvSpPr>
        <p:spPr bwMode="gray">
          <a:xfrm>
            <a:off x="2663825" y="48244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374B241-89B0-4A75-8C30-64B448771740}" type="datetime'''''''''''''''''''''''''''''''''3''''''''''1''''''''2'''">
              <a:rPr lang="en-US" sz="1000">
                <a:solidFill>
                  <a:schemeClr val="tx1"/>
                </a:solidFill>
              </a:rPr>
              <a:pPr>
                <a:spcBef>
                  <a:spcPct val="0"/>
                </a:spcBef>
                <a:spcAft>
                  <a:spcPct val="0"/>
                </a:spcAft>
              </a:pPr>
              <a:t>312</a:t>
            </a:fld>
            <a:r>
              <a:rPr lang="en-US" sz="1000" smtClean="0">
                <a:solidFill>
                  <a:schemeClr val="tx1"/>
                </a:solidFill>
                <a:sym typeface="+mn-lt"/>
              </a:rPr>
              <a:t> (</a:t>
            </a:r>
            <a:fld id="{E4B7143B-1DF3-44C2-8407-57DE6AFDD1ED}" type="datetime'''''''1''''''''''''7''''''''''''''%'''''''">
              <a:rPr lang="en-US" sz="1000">
                <a:solidFill>
                  <a:schemeClr val="tx1"/>
                </a:solidFill>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18" name="Rectangle 17"/>
          <p:cNvSpPr/>
          <p:nvPr>
            <p:custDataLst>
              <p:tags r:id="rId17"/>
            </p:custDataLst>
          </p:nvPr>
        </p:nvSpPr>
        <p:spPr bwMode="auto">
          <a:xfrm>
            <a:off x="914400" y="4567238"/>
            <a:ext cx="850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F3F58CC-B876-4071-9A0B-BB254E2E616F}" type="datetime'Eur''o''p''''''''''''os s''tu''''''''''d''''''''''ij''o''s'">
              <a:rPr lang="en-US" sz="1000">
                <a:solidFill>
                  <a:schemeClr val="tx1"/>
                </a:solidFill>
              </a:rPr>
              <a:pPr algn="r">
                <a:spcBef>
                  <a:spcPct val="0"/>
                </a:spcBef>
                <a:spcAft>
                  <a:spcPct val="0"/>
                </a:spcAft>
              </a:pPr>
              <a:t>Europos studijos</a:t>
            </a:fld>
            <a:endParaRPr lang="en-US" sz="1000" dirty="0">
              <a:solidFill>
                <a:schemeClr val="tx1"/>
              </a:solidFill>
              <a:latin typeface="Calibri"/>
              <a:sym typeface="Calibri"/>
            </a:endParaRPr>
          </a:p>
        </p:txBody>
      </p:sp>
      <p:sp>
        <p:nvSpPr>
          <p:cNvPr id="19" name="Rectangle 18"/>
          <p:cNvSpPr/>
          <p:nvPr>
            <p:custDataLst>
              <p:tags r:id="rId18"/>
            </p:custDataLst>
          </p:nvPr>
        </p:nvSpPr>
        <p:spPr bwMode="gray">
          <a:xfrm>
            <a:off x="2673350" y="4567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7B7DC3D-A998-4054-8B7B-B74230D20351}" type="datetime'''3''''''''''''''''''''''''''''1''''''''''''''''''6'''''''''">
              <a:rPr lang="en-US" sz="1000">
                <a:solidFill>
                  <a:schemeClr val="tx1"/>
                </a:solidFill>
              </a:rPr>
              <a:pPr>
                <a:spcBef>
                  <a:spcPct val="0"/>
                </a:spcBef>
                <a:spcAft>
                  <a:spcPct val="0"/>
                </a:spcAft>
              </a:pPr>
              <a:t>316</a:t>
            </a:fld>
            <a:r>
              <a:rPr lang="en-US" sz="1000" smtClean="0">
                <a:solidFill>
                  <a:schemeClr val="tx1"/>
                </a:solidFill>
                <a:sym typeface="+mn-lt"/>
              </a:rPr>
              <a:t> (</a:t>
            </a:r>
            <a:fld id="{F37F1F04-04E4-4078-855B-1AFC9379F6F8}" type="datetime'1''''''''''''''''7''''''''''%'''''''''''''">
              <a:rPr lang="en-US" sz="1000">
                <a:solidFill>
                  <a:schemeClr val="tx1"/>
                </a:solidFill>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20" name="Rectangle 19"/>
          <p:cNvSpPr/>
          <p:nvPr>
            <p:custDataLst>
              <p:tags r:id="rId19"/>
            </p:custDataLst>
          </p:nvPr>
        </p:nvSpPr>
        <p:spPr bwMode="auto">
          <a:xfrm>
            <a:off x="1095375" y="4314825"/>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3BA60D4-B788-44EF-93FE-7AF183ABD26B}" type="datetime'Pi''''l''iet''''i''''''''š''''''k''''''''''''um''''''a''''s'''">
              <a:rPr lang="en-US" sz="1000">
                <a:solidFill>
                  <a:schemeClr val="tx1"/>
                </a:solidFill>
              </a:rPr>
              <a:pPr algn="r">
                <a:spcBef>
                  <a:spcPct val="0"/>
                </a:spcBef>
                <a:spcAft>
                  <a:spcPct val="0"/>
                </a:spcAft>
              </a:pPr>
              <a:t>Pilietiškumas</a:t>
            </a:fld>
            <a:endParaRPr lang="en-US" sz="1000" dirty="0">
              <a:solidFill>
                <a:schemeClr val="tx1"/>
              </a:solidFill>
              <a:latin typeface="Calibri"/>
              <a:sym typeface="Calibri"/>
            </a:endParaRPr>
          </a:p>
        </p:txBody>
      </p:sp>
      <p:sp>
        <p:nvSpPr>
          <p:cNvPr id="21" name="Rectangle 20"/>
          <p:cNvSpPr/>
          <p:nvPr>
            <p:custDataLst>
              <p:tags r:id="rId20"/>
            </p:custDataLst>
          </p:nvPr>
        </p:nvSpPr>
        <p:spPr bwMode="gray">
          <a:xfrm>
            <a:off x="2806700" y="431482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A91EC1B-2F88-48D7-BCA2-DBCADD8FE508}" type="datetime'''3''''7''''''''''''''''''''''''''''''''''''''''0'''''">
              <a:rPr lang="en-US" sz="1000">
                <a:solidFill>
                  <a:schemeClr val="tx1"/>
                </a:solidFill>
              </a:rPr>
              <a:pPr>
                <a:spcBef>
                  <a:spcPct val="0"/>
                </a:spcBef>
                <a:spcAft>
                  <a:spcPct val="0"/>
                </a:spcAft>
              </a:pPr>
              <a:t>370</a:t>
            </a:fld>
            <a:r>
              <a:rPr lang="en-US" sz="1000" smtClean="0">
                <a:solidFill>
                  <a:schemeClr val="tx1"/>
                </a:solidFill>
                <a:sym typeface="+mn-lt"/>
              </a:rPr>
              <a:t> (</a:t>
            </a:r>
            <a:fld id="{3C49A823-797F-4848-A0CE-31AB51A862F5}" type="datetime'''''''''''''''''''''''''2''0''''''''''''''''''''''%'''''''">
              <a:rPr lang="en-US" sz="1000">
                <a:solidFill>
                  <a:schemeClr val="tx1"/>
                </a:solidFill>
              </a:rPr>
              <a:pPr>
                <a:spcBef>
                  <a:spcPct val="0"/>
                </a:spcBef>
                <a:spcAft>
                  <a:spcPct val="0"/>
                </a:spcAft>
              </a:pPr>
              <a:t>20%</a:t>
            </a:fld>
            <a:r>
              <a:rPr lang="en-US" sz="1000" smtClean="0">
                <a:solidFill>
                  <a:schemeClr val="tx1"/>
                </a:solidFill>
                <a:sym typeface="+mn-lt"/>
              </a:rPr>
              <a:t>)</a:t>
            </a:r>
            <a:endParaRPr lang="en-US" sz="1000">
              <a:solidFill>
                <a:schemeClr val="tx1"/>
              </a:solidFill>
              <a:sym typeface="+mn-lt"/>
            </a:endParaRPr>
          </a:p>
        </p:txBody>
      </p:sp>
      <p:sp>
        <p:nvSpPr>
          <p:cNvPr id="22" name="Rectangle 21"/>
          <p:cNvSpPr/>
          <p:nvPr>
            <p:custDataLst>
              <p:tags r:id="rId21"/>
            </p:custDataLst>
          </p:nvPr>
        </p:nvSpPr>
        <p:spPr bwMode="auto">
          <a:xfrm>
            <a:off x="1081088" y="4062413"/>
            <a:ext cx="684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2A8DF73-D9F9-4545-855C-D372207B1343}" type="datetime'A''''''pli''nk''''''''''''''o''s''''''''''a''u''ga'''''''''">
              <a:rPr lang="en-US" sz="1000">
                <a:solidFill>
                  <a:schemeClr val="tx1"/>
                </a:solidFill>
              </a:rPr>
              <a:pPr algn="r">
                <a:spcBef>
                  <a:spcPct val="0"/>
                </a:spcBef>
                <a:spcAft>
                  <a:spcPct val="0"/>
                </a:spcAft>
              </a:pPr>
              <a:t>Aplinkosauga</a:t>
            </a:fld>
            <a:endParaRPr lang="en-US" sz="1000" dirty="0">
              <a:solidFill>
                <a:schemeClr val="tx1"/>
              </a:solidFill>
              <a:latin typeface="Calibri"/>
              <a:sym typeface="Calibri"/>
            </a:endParaRPr>
          </a:p>
        </p:txBody>
      </p:sp>
      <p:sp>
        <p:nvSpPr>
          <p:cNvPr id="23" name="Rectangle 22"/>
          <p:cNvSpPr/>
          <p:nvPr>
            <p:custDataLst>
              <p:tags r:id="rId22"/>
            </p:custDataLst>
          </p:nvPr>
        </p:nvSpPr>
        <p:spPr bwMode="gray">
          <a:xfrm>
            <a:off x="2835275" y="40624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3512D39-C4EB-45A7-B3B9-63A2E3F69160}" type="datetime'''''''''3''''''''''''8''1'''''''''''''''''''''''''''">
              <a:rPr lang="en-US" sz="1000">
                <a:solidFill>
                  <a:schemeClr val="tx1"/>
                </a:solidFill>
              </a:rPr>
              <a:pPr>
                <a:spcBef>
                  <a:spcPct val="0"/>
                </a:spcBef>
                <a:spcAft>
                  <a:spcPct val="0"/>
                </a:spcAft>
              </a:pPr>
              <a:t>381</a:t>
            </a:fld>
            <a:r>
              <a:rPr lang="en-US" sz="1000" smtClean="0">
                <a:solidFill>
                  <a:schemeClr val="tx1"/>
                </a:solidFill>
                <a:sym typeface="+mn-lt"/>
              </a:rPr>
              <a:t> (</a:t>
            </a:r>
            <a:fld id="{CC69F467-B22F-4646-B2B9-8528ECF192FD}" type="datetime'''''''''''''''''2''''''''''1''%'''''''''''''''''''''''''''''">
              <a:rPr lang="en-US" sz="1000">
                <a:solidFill>
                  <a:schemeClr val="tx1"/>
                </a:solidFill>
              </a:rPr>
              <a:pPr>
                <a:spcBef>
                  <a:spcPct val="0"/>
                </a:spcBef>
                <a:spcAft>
                  <a:spcPct val="0"/>
                </a:spcAft>
              </a:pPr>
              <a:t>21%</a:t>
            </a:fld>
            <a:r>
              <a:rPr lang="en-US" sz="1000" smtClean="0">
                <a:solidFill>
                  <a:schemeClr val="tx1"/>
                </a:solidFill>
                <a:sym typeface="+mn-lt"/>
              </a:rPr>
              <a:t>)</a:t>
            </a:r>
            <a:endParaRPr lang="en-US" sz="1000">
              <a:solidFill>
                <a:schemeClr val="tx1"/>
              </a:solidFill>
              <a:sym typeface="+mn-lt"/>
            </a:endParaRPr>
          </a:p>
        </p:txBody>
      </p:sp>
      <p:sp>
        <p:nvSpPr>
          <p:cNvPr id="24" name="Rectangle 23"/>
          <p:cNvSpPr/>
          <p:nvPr>
            <p:custDataLst>
              <p:tags r:id="rId23"/>
            </p:custDataLst>
          </p:nvPr>
        </p:nvSpPr>
        <p:spPr bwMode="auto">
          <a:xfrm>
            <a:off x="869950" y="3805238"/>
            <a:ext cx="895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E2BE281-EC92-4208-80B2-467C603DF103}" type="datetime'K''alba'''''''' ''ir ''l''i''''te''''''''ra''t''''''ū''r''''a'">
              <a:rPr lang="en-US" sz="1000">
                <a:solidFill>
                  <a:schemeClr val="tx1"/>
                </a:solidFill>
              </a:rPr>
              <a:pPr algn="r">
                <a:spcBef>
                  <a:spcPct val="0"/>
                </a:spcBef>
                <a:spcAft>
                  <a:spcPct val="0"/>
                </a:spcAft>
              </a:pPr>
              <a:t>Kalba ir literatūra</a:t>
            </a:fld>
            <a:endParaRPr lang="en-US" sz="1000" dirty="0">
              <a:solidFill>
                <a:schemeClr val="tx1"/>
              </a:solidFill>
              <a:latin typeface="Calibri"/>
              <a:sym typeface="Calibri"/>
            </a:endParaRPr>
          </a:p>
        </p:txBody>
      </p:sp>
      <p:sp>
        <p:nvSpPr>
          <p:cNvPr id="25" name="Rectangle 24"/>
          <p:cNvSpPr/>
          <p:nvPr>
            <p:custDataLst>
              <p:tags r:id="rId24"/>
            </p:custDataLst>
          </p:nvPr>
        </p:nvSpPr>
        <p:spPr bwMode="gray">
          <a:xfrm>
            <a:off x="3016250" y="3805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5D3293D-D60F-493A-95C3-5F485B638FB8}" type="datetime'''4''''''''''''''''''5''''''''''''''7'''''''">
              <a:rPr lang="en-US" sz="1000">
                <a:solidFill>
                  <a:schemeClr val="tx1"/>
                </a:solidFill>
              </a:rPr>
              <a:pPr>
                <a:spcBef>
                  <a:spcPct val="0"/>
                </a:spcBef>
                <a:spcAft>
                  <a:spcPct val="0"/>
                </a:spcAft>
              </a:pPr>
              <a:t>457</a:t>
            </a:fld>
            <a:r>
              <a:rPr lang="en-US" sz="1000" smtClean="0">
                <a:solidFill>
                  <a:schemeClr val="tx1"/>
                </a:solidFill>
                <a:sym typeface="+mn-lt"/>
              </a:rPr>
              <a:t> (</a:t>
            </a:r>
            <a:fld id="{2C20FD4C-0C03-41A5-BAC2-89C5125C66C1}" type="datetime'''''''''''''''''''''''''''''25''''''''''''%'''''''''">
              <a:rPr lang="en-US" sz="1000">
                <a:solidFill>
                  <a:schemeClr val="tx1"/>
                </a:solidFill>
              </a:rPr>
              <a:pPr>
                <a:spcBef>
                  <a:spcPct val="0"/>
                </a:spcBef>
                <a:spcAft>
                  <a:spcPct val="0"/>
                </a:spcAft>
              </a:pPr>
              <a:t>25%</a:t>
            </a:fld>
            <a:r>
              <a:rPr lang="en-US" sz="1000" smtClean="0">
                <a:solidFill>
                  <a:schemeClr val="tx1"/>
                </a:solidFill>
                <a:sym typeface="+mn-lt"/>
              </a:rPr>
              <a:t>)</a:t>
            </a:r>
            <a:endParaRPr lang="en-US" sz="1000">
              <a:solidFill>
                <a:schemeClr val="tx1"/>
              </a:solidFill>
              <a:sym typeface="+mn-lt"/>
            </a:endParaRPr>
          </a:p>
        </p:txBody>
      </p:sp>
      <p:sp>
        <p:nvSpPr>
          <p:cNvPr id="26" name="Rectangle 25"/>
          <p:cNvSpPr/>
          <p:nvPr>
            <p:custDataLst>
              <p:tags r:id="rId25"/>
            </p:custDataLst>
          </p:nvPr>
        </p:nvSpPr>
        <p:spPr bwMode="auto">
          <a:xfrm>
            <a:off x="503238" y="3548063"/>
            <a:ext cx="1262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F0E7212-58CB-4A65-A815-DEBB81F3767E}" type="datetime'P''''''''''''rad''i''ni''o ''ug''dym''o ''''da''''ly''''k''ai'">
              <a:rPr lang="en-US" sz="1000">
                <a:solidFill>
                  <a:schemeClr val="tx1"/>
                </a:solidFill>
              </a:rPr>
              <a:pPr algn="r">
                <a:spcBef>
                  <a:spcPct val="0"/>
                </a:spcBef>
                <a:spcAft>
                  <a:spcPct val="0"/>
                </a:spcAft>
              </a:pPr>
              <a:t>Pradinio ugdymo dalykai</a:t>
            </a:fld>
            <a:endParaRPr lang="en-US" sz="1000" dirty="0">
              <a:solidFill>
                <a:schemeClr val="tx1"/>
              </a:solidFill>
              <a:latin typeface="Calibri"/>
              <a:sym typeface="Calibri"/>
            </a:endParaRPr>
          </a:p>
        </p:txBody>
      </p:sp>
      <p:sp>
        <p:nvSpPr>
          <p:cNvPr id="27" name="Rectangle 26"/>
          <p:cNvSpPr/>
          <p:nvPr>
            <p:custDataLst>
              <p:tags r:id="rId26"/>
            </p:custDataLst>
          </p:nvPr>
        </p:nvSpPr>
        <p:spPr bwMode="gray">
          <a:xfrm>
            <a:off x="3054350" y="35480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37FCC8B-8E95-46DB-A002-28C092BB8D4D}" type="datetime'''''''''''''''''''''''''''4''''''7''''1'''''''">
              <a:rPr lang="en-US" sz="1000">
                <a:solidFill>
                  <a:schemeClr val="tx1"/>
                </a:solidFill>
              </a:rPr>
              <a:pPr>
                <a:spcBef>
                  <a:spcPct val="0"/>
                </a:spcBef>
                <a:spcAft>
                  <a:spcPct val="0"/>
                </a:spcAft>
              </a:pPr>
              <a:t>471</a:t>
            </a:fld>
            <a:r>
              <a:rPr lang="en-US" sz="1000" smtClean="0">
                <a:solidFill>
                  <a:schemeClr val="tx1"/>
                </a:solidFill>
                <a:sym typeface="+mn-lt"/>
              </a:rPr>
              <a:t> (</a:t>
            </a:r>
            <a:fld id="{DEC4AD04-AED5-4A84-9E2C-64295B0AC768}"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28" name="Rectangle 27"/>
          <p:cNvSpPr/>
          <p:nvPr>
            <p:custDataLst>
              <p:tags r:id="rId27"/>
            </p:custDataLst>
          </p:nvPr>
        </p:nvSpPr>
        <p:spPr bwMode="auto">
          <a:xfrm>
            <a:off x="1393825" y="3295650"/>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3C76F7B-8F1E-403E-90FB-12CC110D4F31}" type="datetime'M''''''''u''z''''''i''''''''''k''''''''''''''''''a'''''''">
              <a:rPr lang="en-US" sz="1000">
                <a:solidFill>
                  <a:schemeClr val="tx1"/>
                </a:solidFill>
              </a:rPr>
              <a:pPr algn="r">
                <a:spcBef>
                  <a:spcPct val="0"/>
                </a:spcBef>
                <a:spcAft>
                  <a:spcPct val="0"/>
                </a:spcAft>
              </a:pPr>
              <a:t>Muzika</a:t>
            </a:fld>
            <a:endParaRPr lang="en-US" sz="1000" dirty="0">
              <a:solidFill>
                <a:schemeClr val="tx1"/>
              </a:solidFill>
              <a:latin typeface="Calibri"/>
              <a:sym typeface="Calibri"/>
            </a:endParaRPr>
          </a:p>
        </p:txBody>
      </p:sp>
      <p:sp>
        <p:nvSpPr>
          <p:cNvPr id="29" name="Rectangle 28"/>
          <p:cNvSpPr/>
          <p:nvPr>
            <p:custDataLst>
              <p:tags r:id="rId28"/>
            </p:custDataLst>
          </p:nvPr>
        </p:nvSpPr>
        <p:spPr bwMode="gray">
          <a:xfrm>
            <a:off x="3063875" y="32956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BBE0F10-70F6-4E8E-A12E-2BEA905428FE}" type="datetime'''''''4''7''''''''''''''7'''''''''''''">
              <a:rPr lang="en-US" sz="1000">
                <a:solidFill>
                  <a:schemeClr val="tx1"/>
                </a:solidFill>
              </a:rPr>
              <a:pPr>
                <a:spcBef>
                  <a:spcPct val="0"/>
                </a:spcBef>
                <a:spcAft>
                  <a:spcPct val="0"/>
                </a:spcAft>
              </a:pPr>
              <a:t>477</a:t>
            </a:fld>
            <a:r>
              <a:rPr lang="en-US" sz="1000" smtClean="0">
                <a:solidFill>
                  <a:schemeClr val="tx1"/>
                </a:solidFill>
                <a:sym typeface="+mn-lt"/>
              </a:rPr>
              <a:t> (</a:t>
            </a:r>
            <a:fld id="{344831C8-4183-459E-A12B-C6F55A7E443E}"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30" name="Rectangle 29"/>
          <p:cNvSpPr/>
          <p:nvPr>
            <p:custDataLst>
              <p:tags r:id="rId29"/>
            </p:custDataLst>
          </p:nvPr>
        </p:nvSpPr>
        <p:spPr bwMode="auto">
          <a:xfrm>
            <a:off x="1411288" y="3043238"/>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56C67FB-EC90-4A2E-B9C1-0F3DE5C0F6A6}" type="datetime'''''''''''''''Ist''''o''''''''''''r''''''''''i''j''''''a'''''">
              <a:rPr lang="en-US" sz="1000">
                <a:solidFill>
                  <a:schemeClr val="tx1"/>
                </a:solidFill>
              </a:rPr>
              <a:pPr algn="r">
                <a:spcBef>
                  <a:spcPct val="0"/>
                </a:spcBef>
                <a:spcAft>
                  <a:spcPct val="0"/>
                </a:spcAft>
              </a:pPr>
              <a:t>Istorija</a:t>
            </a:fld>
            <a:endParaRPr lang="en-US" sz="1000" dirty="0">
              <a:solidFill>
                <a:schemeClr val="tx1"/>
              </a:solidFill>
              <a:latin typeface="Calibri"/>
              <a:sym typeface="Calibri"/>
            </a:endParaRPr>
          </a:p>
        </p:txBody>
      </p:sp>
      <p:sp>
        <p:nvSpPr>
          <p:cNvPr id="31" name="Rectangle 30"/>
          <p:cNvSpPr/>
          <p:nvPr>
            <p:custDataLst>
              <p:tags r:id="rId30"/>
            </p:custDataLst>
          </p:nvPr>
        </p:nvSpPr>
        <p:spPr bwMode="gray">
          <a:xfrm>
            <a:off x="3073400" y="3043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3771561-58EF-423B-B812-E5B6FA0CE957}" type="datetime'''''''''''''''''''4''''''''''''7''''''''''''''''8'''''''''''">
              <a:rPr lang="en-US" sz="1000">
                <a:solidFill>
                  <a:schemeClr val="tx1"/>
                </a:solidFill>
              </a:rPr>
              <a:pPr>
                <a:spcBef>
                  <a:spcPct val="0"/>
                </a:spcBef>
                <a:spcAft>
                  <a:spcPct val="0"/>
                </a:spcAft>
              </a:pPr>
              <a:t>478</a:t>
            </a:fld>
            <a:r>
              <a:rPr lang="en-US" sz="1000" smtClean="0">
                <a:solidFill>
                  <a:schemeClr val="tx1"/>
                </a:solidFill>
                <a:sym typeface="+mn-lt"/>
              </a:rPr>
              <a:t> (</a:t>
            </a:r>
            <a:fld id="{46A718ED-5773-416D-B4F0-338106E93C0E}"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32" name="Rectangle 31"/>
          <p:cNvSpPr/>
          <p:nvPr>
            <p:custDataLst>
              <p:tags r:id="rId31"/>
            </p:custDataLst>
          </p:nvPr>
        </p:nvSpPr>
        <p:spPr bwMode="auto">
          <a:xfrm>
            <a:off x="550863" y="2786063"/>
            <a:ext cx="12144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943226A-3178-436B-A895-3129DE0254EC}" type="datetime'''Darp''d''a''''l''y''''k''i''''n''''i''''s'' mok''''ymas'">
              <a:rPr lang="en-US" sz="1000">
                <a:solidFill>
                  <a:schemeClr val="tx1"/>
                </a:solidFill>
              </a:rPr>
              <a:pPr algn="r">
                <a:spcBef>
                  <a:spcPct val="0"/>
                </a:spcBef>
                <a:spcAft>
                  <a:spcPct val="0"/>
                </a:spcAft>
              </a:pPr>
              <a:t>Darpdalykinis mokymas</a:t>
            </a:fld>
            <a:endParaRPr lang="en-US" sz="1000" dirty="0">
              <a:solidFill>
                <a:schemeClr val="tx1"/>
              </a:solidFill>
              <a:latin typeface="Calibri"/>
              <a:sym typeface="Calibri"/>
            </a:endParaRPr>
          </a:p>
        </p:txBody>
      </p:sp>
      <p:sp>
        <p:nvSpPr>
          <p:cNvPr id="33" name="Rectangle 32"/>
          <p:cNvSpPr/>
          <p:nvPr>
            <p:custDataLst>
              <p:tags r:id="rId32"/>
            </p:custDataLst>
          </p:nvPr>
        </p:nvSpPr>
        <p:spPr bwMode="gray">
          <a:xfrm>
            <a:off x="3121025" y="27860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E06BD1C-4676-4FF9-846E-D30315D8F98D}" type="datetime'''''''''''''''''''''''''4''9''''''''''''''9'">
              <a:rPr lang="en-US" sz="1000">
                <a:solidFill>
                  <a:schemeClr val="tx1"/>
                </a:solidFill>
              </a:rPr>
              <a:pPr>
                <a:spcBef>
                  <a:spcPct val="0"/>
                </a:spcBef>
                <a:spcAft>
                  <a:spcPct val="0"/>
                </a:spcAft>
              </a:pPr>
              <a:t>499</a:t>
            </a:fld>
            <a:r>
              <a:rPr lang="en-US" sz="1000" smtClean="0">
                <a:solidFill>
                  <a:schemeClr val="tx1"/>
                </a:solidFill>
                <a:sym typeface="+mn-lt"/>
              </a:rPr>
              <a:t> (</a:t>
            </a:r>
            <a:fld id="{0D88967D-9891-4E80-B27A-406AD3AAD61A}" type="datetime'''''2''''''''''''''''7''''''''''%'">
              <a:rPr lang="en-US" sz="1000">
                <a:solidFill>
                  <a:schemeClr val="tx1"/>
                </a:solidFill>
              </a:rPr>
              <a:pPr>
                <a:spcBef>
                  <a:spcPct val="0"/>
                </a:spcBef>
                <a:spcAft>
                  <a:spcPct val="0"/>
                </a:spcAft>
              </a:pPr>
              <a:t>27%</a:t>
            </a:fld>
            <a:r>
              <a:rPr lang="en-US" sz="1000" smtClean="0">
                <a:solidFill>
                  <a:schemeClr val="tx1"/>
                </a:solidFill>
                <a:sym typeface="+mn-lt"/>
              </a:rPr>
              <a:t>)</a:t>
            </a:r>
            <a:endParaRPr lang="en-US" sz="1000">
              <a:solidFill>
                <a:schemeClr val="tx1"/>
              </a:solidFill>
              <a:sym typeface="+mn-lt"/>
            </a:endParaRPr>
          </a:p>
        </p:txBody>
      </p:sp>
      <p:sp>
        <p:nvSpPr>
          <p:cNvPr id="34" name="Rectangle 33"/>
          <p:cNvSpPr/>
          <p:nvPr>
            <p:custDataLst>
              <p:tags r:id="rId33"/>
            </p:custDataLst>
          </p:nvPr>
        </p:nvSpPr>
        <p:spPr bwMode="auto">
          <a:xfrm>
            <a:off x="925513" y="2528888"/>
            <a:ext cx="839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7ADDC8B-20F8-445C-9A51-57ADDEE3294F}" type="datetime'K''''ul''''''''tū''''r''''o''s'''' isto''''''r''i''''''ja'">
              <a:rPr lang="en-US" sz="1000" b="1">
                <a:solidFill>
                  <a:schemeClr val="tx1"/>
                </a:solidFill>
              </a:rPr>
              <a:pPr algn="r">
                <a:spcBef>
                  <a:spcPct val="0"/>
                </a:spcBef>
                <a:spcAft>
                  <a:spcPct val="0"/>
                </a:spcAft>
              </a:pPr>
              <a:t>Kultūros istorija</a:t>
            </a:fld>
            <a:endParaRPr lang="en-US" sz="1000" b="1" dirty="0">
              <a:solidFill>
                <a:schemeClr val="tx1"/>
              </a:solidFill>
              <a:latin typeface="Calibri"/>
              <a:sym typeface="Calibri"/>
            </a:endParaRPr>
          </a:p>
        </p:txBody>
      </p:sp>
      <p:sp>
        <p:nvSpPr>
          <p:cNvPr id="35" name="Rectangle 34"/>
          <p:cNvSpPr/>
          <p:nvPr>
            <p:custDataLst>
              <p:tags r:id="rId34"/>
            </p:custDataLst>
          </p:nvPr>
        </p:nvSpPr>
        <p:spPr bwMode="gray">
          <a:xfrm>
            <a:off x="3225800" y="25288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EBB4E26-C332-4BDD-B929-DD495BC483D6}" type="datetime'''5''''''''''''''4''''''''''''''''''''''''''''''''''2'''">
              <a:rPr lang="en-US" sz="1000">
                <a:solidFill>
                  <a:schemeClr val="tx1"/>
                </a:solidFill>
              </a:rPr>
              <a:pPr>
                <a:spcBef>
                  <a:spcPct val="0"/>
                </a:spcBef>
                <a:spcAft>
                  <a:spcPct val="0"/>
                </a:spcAft>
              </a:pPr>
              <a:t>542</a:t>
            </a:fld>
            <a:r>
              <a:rPr lang="en-US" sz="1000" smtClean="0">
                <a:solidFill>
                  <a:schemeClr val="tx1"/>
                </a:solidFill>
                <a:sym typeface="+mn-lt"/>
              </a:rPr>
              <a:t> (</a:t>
            </a:r>
            <a:fld id="{E866081A-1EB8-4DE9-AB5D-E347E32637F3}" type="datetime'''''''''''''''''''3''''0''''%'''''''''''''''''''''''">
              <a:rPr lang="en-US" sz="1000">
                <a:solidFill>
                  <a:schemeClr val="tx1"/>
                </a:solidFill>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36" name="Rectangle 35"/>
          <p:cNvSpPr/>
          <p:nvPr>
            <p:custDataLst>
              <p:tags r:id="rId35"/>
            </p:custDataLst>
          </p:nvPr>
        </p:nvSpPr>
        <p:spPr bwMode="auto">
          <a:xfrm>
            <a:off x="1220788" y="2271713"/>
            <a:ext cx="5445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01BFD74-9F87-4B2A-9D47-D74F9D92B7E6}" type="datetime'''G''''''''e''og''r''''''''af''''''''''''i''''''j''''''''a'''">
              <a:rPr lang="en-US" sz="1000" b="1">
                <a:solidFill>
                  <a:schemeClr val="tx1"/>
                </a:solidFill>
              </a:rPr>
              <a:pPr algn="r">
                <a:spcBef>
                  <a:spcPct val="0"/>
                </a:spcBef>
                <a:spcAft>
                  <a:spcPct val="0"/>
                </a:spcAft>
              </a:pPr>
              <a:t>Geografija</a:t>
            </a:fld>
            <a:endParaRPr lang="en-US" sz="1000" b="1" dirty="0">
              <a:solidFill>
                <a:schemeClr val="tx1"/>
              </a:solidFill>
              <a:latin typeface="Calibri"/>
              <a:sym typeface="Calibri"/>
            </a:endParaRPr>
          </a:p>
        </p:txBody>
      </p:sp>
      <p:sp>
        <p:nvSpPr>
          <p:cNvPr id="37" name="Rectangle 36"/>
          <p:cNvSpPr/>
          <p:nvPr>
            <p:custDataLst>
              <p:tags r:id="rId36"/>
            </p:custDataLst>
          </p:nvPr>
        </p:nvSpPr>
        <p:spPr bwMode="gray">
          <a:xfrm>
            <a:off x="3254375" y="22717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AAF08CB-7F69-462F-BB18-999784EB3FD8}" type="datetime'''''''''''''''''''5''''''''''''''''''''5''''''3'''''''''''''">
              <a:rPr lang="en-US" sz="1000">
                <a:solidFill>
                  <a:schemeClr val="tx1"/>
                </a:solidFill>
              </a:rPr>
              <a:pPr>
                <a:spcBef>
                  <a:spcPct val="0"/>
                </a:spcBef>
                <a:spcAft>
                  <a:spcPct val="0"/>
                </a:spcAft>
              </a:pPr>
              <a:t>553</a:t>
            </a:fld>
            <a:r>
              <a:rPr lang="en-US" sz="1000" smtClean="0">
                <a:solidFill>
                  <a:schemeClr val="tx1"/>
                </a:solidFill>
                <a:sym typeface="+mn-lt"/>
              </a:rPr>
              <a:t> (</a:t>
            </a:r>
            <a:fld id="{C538863C-F66C-4337-8E09-41C1D999EA49}" type="datetime'3''''''''''''''''''''''''0''''''''''%'''''''''''''''''''''''''">
              <a:rPr lang="en-US" sz="1000">
                <a:solidFill>
                  <a:schemeClr val="tx1"/>
                </a:solidFill>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38" name="Rectangle 37"/>
          <p:cNvSpPr/>
          <p:nvPr>
            <p:custDataLst>
              <p:tags r:id="rId37"/>
            </p:custDataLst>
          </p:nvPr>
        </p:nvSpPr>
        <p:spPr bwMode="auto">
          <a:xfrm>
            <a:off x="1497013" y="2019300"/>
            <a:ext cx="268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90B92B1-8F64-4ED4-9A02-78C728DC57AF}" type="datetime'''''''''D''a''''''i''l''''''''''''''''ė'">
              <a:rPr lang="en-US" sz="1000" b="1">
                <a:solidFill>
                  <a:schemeClr val="tx1"/>
                </a:solidFill>
              </a:rPr>
              <a:pPr algn="r">
                <a:spcBef>
                  <a:spcPct val="0"/>
                </a:spcBef>
                <a:spcAft>
                  <a:spcPct val="0"/>
                </a:spcAft>
              </a:pPr>
              <a:t>Dailė</a:t>
            </a:fld>
            <a:endParaRPr lang="en-US" sz="1000" b="1" dirty="0">
              <a:solidFill>
                <a:schemeClr val="tx1"/>
              </a:solidFill>
              <a:latin typeface="Calibri"/>
              <a:sym typeface="Calibri"/>
            </a:endParaRPr>
          </a:p>
        </p:txBody>
      </p:sp>
      <p:sp>
        <p:nvSpPr>
          <p:cNvPr id="39" name="Rectangle 38"/>
          <p:cNvSpPr/>
          <p:nvPr>
            <p:custDataLst>
              <p:tags r:id="rId38"/>
            </p:custDataLst>
          </p:nvPr>
        </p:nvSpPr>
        <p:spPr bwMode="gray">
          <a:xfrm>
            <a:off x="3854450" y="20193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E70DD97-FCDB-4765-B805-A7F696682573}" type="datetime'''''''''7''9''''5'''''''''''''''''''''''''''''''">
              <a:rPr lang="en-US" sz="1000">
                <a:solidFill>
                  <a:schemeClr val="tx1"/>
                </a:solidFill>
              </a:rPr>
              <a:pPr>
                <a:spcBef>
                  <a:spcPct val="0"/>
                </a:spcBef>
                <a:spcAft>
                  <a:spcPct val="0"/>
                </a:spcAft>
              </a:pPr>
              <a:t>795</a:t>
            </a:fld>
            <a:r>
              <a:rPr lang="en-US" sz="1000" smtClean="0">
                <a:solidFill>
                  <a:schemeClr val="tx1"/>
                </a:solidFill>
                <a:sym typeface="+mn-lt"/>
              </a:rPr>
              <a:t> (</a:t>
            </a:r>
            <a:fld id="{710E5758-CD45-4776-8F66-B93D66ADF6CE}" type="datetime'''''''''4''''''4''%'''''''''''''''''''''">
              <a:rPr lang="en-US" sz="1000">
                <a:solidFill>
                  <a:schemeClr val="tx1"/>
                </a:solidFill>
              </a:rPr>
              <a:pPr>
                <a:spcBef>
                  <a:spcPct val="0"/>
                </a:spcBef>
                <a:spcAft>
                  <a:spcPct val="0"/>
                </a:spcAft>
              </a:pPr>
              <a:t>44%</a:t>
            </a:fld>
            <a:r>
              <a:rPr lang="en-US" sz="1000" smtClean="0">
                <a:solidFill>
                  <a:schemeClr val="tx1"/>
                </a:solidFill>
                <a:sym typeface="+mn-lt"/>
              </a:rPr>
              <a:t>)</a:t>
            </a:r>
            <a:endParaRPr lang="en-US" sz="1000">
              <a:solidFill>
                <a:schemeClr val="tx1"/>
              </a:solidFill>
              <a:sym typeface="+mn-lt"/>
            </a:endParaRPr>
          </a:p>
        </p:txBody>
      </p:sp>
      <p:sp>
        <p:nvSpPr>
          <p:cNvPr id="40" name="Rectangle 39"/>
          <p:cNvSpPr/>
          <p:nvPr>
            <p:custDataLst>
              <p:tags r:id="rId39"/>
            </p:custDataLst>
          </p:nvPr>
        </p:nvSpPr>
        <p:spPr bwMode="auto">
          <a:xfrm>
            <a:off x="927100" y="1766888"/>
            <a:ext cx="838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97B165-2811-43FC-8756-222DB39B8360}" type="datetime'I''''''nf''o''rm''ati''k''''''a/''''I''''K''''''''''T'''''''">
              <a:rPr lang="en-US" sz="1000" b="1">
                <a:solidFill>
                  <a:schemeClr val="tx1"/>
                </a:solidFill>
              </a:rPr>
              <a:pPr algn="r">
                <a:spcBef>
                  <a:spcPct val="0"/>
                </a:spcBef>
                <a:spcAft>
                  <a:spcPct val="0"/>
                </a:spcAft>
              </a:pPr>
              <a:t>Informatika/IKT</a:t>
            </a:fld>
            <a:endParaRPr lang="en-US" sz="1000" b="1" dirty="0">
              <a:solidFill>
                <a:schemeClr val="tx1"/>
              </a:solidFill>
              <a:latin typeface="Calibri"/>
              <a:sym typeface="Calibri"/>
            </a:endParaRPr>
          </a:p>
        </p:txBody>
      </p:sp>
      <p:sp>
        <p:nvSpPr>
          <p:cNvPr id="41" name="Rectangle 40"/>
          <p:cNvSpPr/>
          <p:nvPr>
            <p:custDataLst>
              <p:tags r:id="rId40"/>
            </p:custDataLst>
          </p:nvPr>
        </p:nvSpPr>
        <p:spPr bwMode="gray">
          <a:xfrm>
            <a:off x="3930650" y="17668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D82A529-BDE9-48BA-BA04-4AF485AAC841}" type="datetime'''8''''''''''2''''''''''''''''''''''''''''''''''7'''''''">
              <a:rPr lang="en-US" sz="1000">
                <a:solidFill>
                  <a:schemeClr val="tx1"/>
                </a:solidFill>
              </a:rPr>
              <a:pPr>
                <a:spcBef>
                  <a:spcPct val="0"/>
                </a:spcBef>
                <a:spcAft>
                  <a:spcPct val="0"/>
                </a:spcAft>
              </a:pPr>
              <a:t>827</a:t>
            </a:fld>
            <a:r>
              <a:rPr lang="en-US" sz="1000" smtClean="0">
                <a:solidFill>
                  <a:schemeClr val="tx1"/>
                </a:solidFill>
                <a:sym typeface="+mn-lt"/>
              </a:rPr>
              <a:t> (</a:t>
            </a:r>
            <a:fld id="{7A992025-6F62-481C-B7C1-88A5BD5A71B5}" type="datetime'''''''''''''''''''''4''''''''''''''''''''''''''''''5%'">
              <a:rPr lang="en-US" sz="1000">
                <a:solidFill>
                  <a:schemeClr val="tx1"/>
                </a:solidFill>
              </a:rPr>
              <a:pPr>
                <a:spcBef>
                  <a:spcPct val="0"/>
                </a:spcBef>
                <a:spcAft>
                  <a:spcPct val="0"/>
                </a:spcAft>
              </a:pPr>
              <a:t>45%</a:t>
            </a:fld>
            <a:r>
              <a:rPr lang="en-US" sz="1000" smtClean="0">
                <a:solidFill>
                  <a:schemeClr val="tx1"/>
                </a:solidFill>
                <a:sym typeface="+mn-lt"/>
              </a:rPr>
              <a:t>)</a:t>
            </a:r>
            <a:endParaRPr lang="en-US" sz="1000">
              <a:solidFill>
                <a:schemeClr val="tx1"/>
              </a:solidFill>
              <a:sym typeface="+mn-lt"/>
            </a:endParaRPr>
          </a:p>
        </p:txBody>
      </p:sp>
      <p:sp>
        <p:nvSpPr>
          <p:cNvPr id="42" name="Rectangle 41"/>
          <p:cNvSpPr/>
          <p:nvPr>
            <p:custDataLst>
              <p:tags r:id="rId41"/>
            </p:custDataLst>
          </p:nvPr>
        </p:nvSpPr>
        <p:spPr bwMode="auto">
          <a:xfrm>
            <a:off x="947738" y="1509713"/>
            <a:ext cx="81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AEC6A46-B2B9-49D4-9370-7CC3FDF3DBA9}" type="datetime'''U''ž''''''''''''''si''''e''ni''''o'' ''''''''k''al''b''os'">
              <a:rPr lang="en-US" sz="1000" b="1">
                <a:solidFill>
                  <a:schemeClr val="tx1"/>
                </a:solidFill>
              </a:rPr>
              <a:pPr algn="r">
                <a:spcBef>
                  <a:spcPct val="0"/>
                </a:spcBef>
                <a:spcAft>
                  <a:spcPct val="0"/>
                </a:spcAft>
              </a:pPr>
              <a:t>Užsienio kalbos</a:t>
            </a:fld>
            <a:endParaRPr lang="en-US" sz="1000" b="1" dirty="0">
              <a:solidFill>
                <a:schemeClr val="tx1"/>
              </a:solidFill>
              <a:latin typeface="Calibri"/>
              <a:sym typeface="Calibri"/>
            </a:endParaRPr>
          </a:p>
        </p:txBody>
      </p:sp>
      <p:sp>
        <p:nvSpPr>
          <p:cNvPr id="43" name="Rectangle 42"/>
          <p:cNvSpPr/>
          <p:nvPr>
            <p:custDataLst>
              <p:tags r:id="rId42"/>
            </p:custDataLst>
          </p:nvPr>
        </p:nvSpPr>
        <p:spPr bwMode="gray">
          <a:xfrm>
            <a:off x="4930775" y="1509713"/>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7C1F6E-5F66-476B-AE5A-6D71E019E8C2}" type="datetime'''1'',''''''''2''''''''''''''''''''''''3''''''''3'''''">
              <a:rPr lang="en-US" sz="1000">
                <a:solidFill>
                  <a:schemeClr val="tx1"/>
                </a:solidFill>
              </a:rPr>
              <a:pPr>
                <a:spcBef>
                  <a:spcPct val="0"/>
                </a:spcBef>
                <a:spcAft>
                  <a:spcPct val="0"/>
                </a:spcAft>
              </a:pPr>
              <a:t>1,233</a:t>
            </a:fld>
            <a:r>
              <a:rPr lang="en-US" sz="1000" smtClean="0">
                <a:solidFill>
                  <a:schemeClr val="tx1"/>
                </a:solidFill>
                <a:sym typeface="+mn-lt"/>
              </a:rPr>
              <a:t> (</a:t>
            </a:r>
            <a:fld id="{DB4A6886-F665-44BE-8A81-442E0C588D6C}" type="datetime'''''''''''''''''''''6''8''''''''''''''''''''%'''''''''''">
              <a:rPr lang="en-US" sz="1000">
                <a:solidFill>
                  <a:schemeClr val="tx1"/>
                </a:solidFill>
              </a:rPr>
              <a:pPr>
                <a:spcBef>
                  <a:spcPct val="0"/>
                </a:spcBef>
                <a:spcAft>
                  <a:spcPct val="0"/>
                </a:spcAft>
              </a:pPr>
              <a:t>68%</a:t>
            </a:fld>
            <a:r>
              <a:rPr lang="en-US" sz="1000" smtClean="0">
                <a:solidFill>
                  <a:schemeClr val="tx1"/>
                </a:solidFill>
                <a:sym typeface="+mn-lt"/>
              </a:rPr>
              <a:t>)</a:t>
            </a:r>
            <a:endParaRPr lang="en-US" sz="1000" dirty="0">
              <a:solidFill>
                <a:schemeClr val="tx1"/>
              </a:solidFill>
              <a:sym typeface="+mn-lt"/>
            </a:endParaRPr>
          </a:p>
        </p:txBody>
      </p:sp>
      <p:graphicFrame>
        <p:nvGraphicFramePr>
          <p:cNvPr id="44" name="Object 43"/>
          <p:cNvGraphicFramePr>
            <a:graphicFrameLocks/>
          </p:cNvGraphicFramePr>
          <p:nvPr>
            <p:custDataLst>
              <p:tags r:id="rId43"/>
            </p:custDataLst>
            <p:extLst>
              <p:ext uri="{D42A27DB-BD31-4B8C-83A1-F6EECF244321}">
                <p14:modId xmlns:p14="http://schemas.microsoft.com/office/powerpoint/2010/main" val="2282290124"/>
              </p:ext>
            </p:extLst>
          </p:nvPr>
        </p:nvGraphicFramePr>
        <p:xfrm>
          <a:off x="6591301" y="1333500"/>
          <a:ext cx="1866889" cy="5076810"/>
        </p:xfrm>
        <a:graphic>
          <a:graphicData uri="http://schemas.openxmlformats.org/presentationml/2006/ole">
            <mc:AlternateContent xmlns:mc="http://schemas.openxmlformats.org/markup-compatibility/2006">
              <mc:Choice xmlns:v="urn:schemas-microsoft-com:vml" Requires="v">
                <p:oleObj spid="_x0000_s23589" name="Chart" r:id="rId87" imgW="1867061" imgH="5076792" progId="MSGraph.Chart.8">
                  <p:embed followColorScheme="full"/>
                </p:oleObj>
              </mc:Choice>
              <mc:Fallback>
                <p:oleObj name="Chart" r:id="rId87" imgW="1867061" imgH="5076792" progId="MSGraph.Chart.8">
                  <p:embed followColorScheme="full"/>
                  <p:pic>
                    <p:nvPicPr>
                      <p:cNvPr id="0" name=""/>
                      <p:cNvPicPr/>
                      <p:nvPr/>
                    </p:nvPicPr>
                    <p:blipFill>
                      <a:blip r:embed="rId88"/>
                      <a:stretch>
                        <a:fillRect/>
                      </a:stretch>
                    </p:blipFill>
                    <p:spPr>
                      <a:xfrm>
                        <a:off x="6591301" y="1333500"/>
                        <a:ext cx="1866889" cy="5076810"/>
                      </a:xfrm>
                      <a:prstGeom prst="rect">
                        <a:avLst/>
                      </a:prstGeom>
                    </p:spPr>
                  </p:pic>
                </p:oleObj>
              </mc:Fallback>
            </mc:AlternateContent>
          </a:graphicData>
        </a:graphic>
      </p:graphicFrame>
      <p:sp>
        <p:nvSpPr>
          <p:cNvPr id="57" name="Rectangle 56"/>
          <p:cNvSpPr/>
          <p:nvPr>
            <p:custDataLst>
              <p:tags r:id="rId44"/>
            </p:custDataLst>
          </p:nvPr>
        </p:nvSpPr>
        <p:spPr bwMode="auto">
          <a:xfrm>
            <a:off x="4848225" y="6100763"/>
            <a:ext cx="1736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C2A2229-30CB-480F-A30D-02C836FBE758}" type="datetime'K''la''si''''''kinės kalbos (lotynų'' ''''ir gra''''''''ikų)'">
              <a:rPr lang="en-US" sz="1000">
                <a:solidFill>
                  <a:schemeClr val="tx1"/>
                </a:solidFill>
              </a:rPr>
              <a:pPr algn="r">
                <a:spcBef>
                  <a:spcPct val="0"/>
                </a:spcBef>
                <a:spcAft>
                  <a:spcPct val="0"/>
                </a:spcAft>
              </a:pPr>
              <a:t>Klasikinės kalbos (lotynų ir graikų)</a:t>
            </a:fld>
            <a:endParaRPr lang="en-US" sz="1000" dirty="0">
              <a:solidFill>
                <a:schemeClr val="tx1"/>
              </a:solidFill>
              <a:latin typeface="Calibri"/>
              <a:sym typeface="Calibri"/>
            </a:endParaRPr>
          </a:p>
        </p:txBody>
      </p:sp>
      <p:sp>
        <p:nvSpPr>
          <p:cNvPr id="58" name="Rectangle 57"/>
          <p:cNvSpPr/>
          <p:nvPr>
            <p:custDataLst>
              <p:tags r:id="rId45"/>
            </p:custDataLst>
          </p:nvPr>
        </p:nvSpPr>
        <p:spPr bwMode="auto">
          <a:xfrm>
            <a:off x="6318250" y="5843588"/>
            <a:ext cx="266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471AE7E-3101-4CEB-8324-E05EC5C74AA3}" type="datetime'''''''''T''''''''e''i''''''''''''''''''''''sė'''''''">
              <a:rPr lang="en-US" sz="1000">
                <a:solidFill>
                  <a:schemeClr val="tx1"/>
                </a:solidFill>
              </a:rPr>
              <a:pPr algn="r">
                <a:spcBef>
                  <a:spcPct val="0"/>
                </a:spcBef>
                <a:spcAft>
                  <a:spcPct val="0"/>
                </a:spcAft>
              </a:pPr>
              <a:t>Teisė</a:t>
            </a:fld>
            <a:endParaRPr lang="en-US" sz="1000" dirty="0">
              <a:solidFill>
                <a:schemeClr val="tx1"/>
              </a:solidFill>
              <a:latin typeface="Calibri"/>
              <a:sym typeface="Calibri"/>
            </a:endParaRPr>
          </a:p>
        </p:txBody>
      </p:sp>
      <p:sp>
        <p:nvSpPr>
          <p:cNvPr id="59" name="Rectangle 58"/>
          <p:cNvSpPr/>
          <p:nvPr>
            <p:custDataLst>
              <p:tags r:id="rId46"/>
            </p:custDataLst>
          </p:nvPr>
        </p:nvSpPr>
        <p:spPr bwMode="gray">
          <a:xfrm>
            <a:off x="6854825" y="61007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1ED3E90-1B5F-457B-8545-7752A6ED8E80}" type="datetime'''''''''1''''''''''''5'''''''''''''''''''''''''">
              <a:rPr lang="en-US" sz="1000">
                <a:solidFill>
                  <a:schemeClr val="tx1"/>
                </a:solidFill>
              </a:rPr>
              <a:pPr>
                <a:spcBef>
                  <a:spcPct val="0"/>
                </a:spcBef>
                <a:spcAft>
                  <a:spcPct val="0"/>
                </a:spcAft>
              </a:pPr>
              <a:t>15</a:t>
            </a:fld>
            <a:r>
              <a:rPr lang="en-US" sz="1000" smtClean="0">
                <a:solidFill>
                  <a:schemeClr val="tx1"/>
                </a:solidFill>
                <a:latin typeface="Calibri"/>
                <a:sym typeface="Calibri"/>
              </a:rPr>
              <a:t> (</a:t>
            </a:r>
            <a:fld id="{16C31140-6A11-4C6A-A89E-0F6AF2C18AD9}"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3" name="Rectangle 52"/>
          <p:cNvSpPr/>
          <p:nvPr>
            <p:custDataLst>
              <p:tags r:id="rId47"/>
            </p:custDataLst>
          </p:nvPr>
        </p:nvSpPr>
        <p:spPr bwMode="gray">
          <a:xfrm>
            <a:off x="6931025" y="58435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D1F5C3-ACF5-4565-B068-6796CA89E731}" type="datetime'''''''''''''''''''''''''''''''''''''''2''''4'''''''''''">
              <a:rPr lang="en-US" sz="1000">
                <a:solidFill>
                  <a:schemeClr val="tx1"/>
                </a:solidFill>
              </a:rPr>
              <a:pPr>
                <a:spcBef>
                  <a:spcPct val="0"/>
                </a:spcBef>
                <a:spcAft>
                  <a:spcPct val="0"/>
                </a:spcAft>
              </a:pPr>
              <a:t>24</a:t>
            </a:fld>
            <a:r>
              <a:rPr lang="en-US" sz="1000" smtClean="0">
                <a:solidFill>
                  <a:schemeClr val="tx1"/>
                </a:solidFill>
                <a:sym typeface="+mn-lt"/>
              </a:rPr>
              <a:t> (</a:t>
            </a:r>
            <a:fld id="{D55C96D5-255A-4795-85FC-35AD71C1CD71}" type="datetime'''''''''''''''''''''1''''''''''''''''''''''''%'''''''">
              <a:rPr lang="en-US" sz="1000">
                <a:solidFill>
                  <a:schemeClr val="tx1"/>
                </a:solidFill>
              </a:rPr>
              <a:pP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56" name="Rectangle 55"/>
          <p:cNvSpPr/>
          <p:nvPr>
            <p:custDataLst>
              <p:tags r:id="rId48"/>
            </p:custDataLst>
          </p:nvPr>
        </p:nvSpPr>
        <p:spPr bwMode="auto">
          <a:xfrm>
            <a:off x="5954713" y="5591175"/>
            <a:ext cx="63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6022CA2-1520-4474-8C36-FB552C825B2F}" type="datetime'''A''st''''''''r''''ono''''''''''''''m''i''''j''''''''a'''''">
              <a:rPr lang="en-US" sz="1000">
                <a:solidFill>
                  <a:schemeClr val="tx1"/>
                </a:solidFill>
              </a:rPr>
              <a:pPr algn="r">
                <a:spcBef>
                  <a:spcPct val="0"/>
                </a:spcBef>
                <a:spcAft>
                  <a:spcPct val="0"/>
                </a:spcAft>
              </a:pPr>
              <a:t>Astronomija</a:t>
            </a:fld>
            <a:endParaRPr lang="en-US" sz="1000" dirty="0">
              <a:solidFill>
                <a:schemeClr val="tx1"/>
              </a:solidFill>
              <a:latin typeface="Calibri"/>
              <a:sym typeface="Calibri"/>
            </a:endParaRPr>
          </a:p>
        </p:txBody>
      </p:sp>
      <p:sp>
        <p:nvSpPr>
          <p:cNvPr id="52" name="Rectangle 51"/>
          <p:cNvSpPr/>
          <p:nvPr>
            <p:custDataLst>
              <p:tags r:id="rId49"/>
            </p:custDataLst>
          </p:nvPr>
        </p:nvSpPr>
        <p:spPr bwMode="gray">
          <a:xfrm>
            <a:off x="6969125" y="55911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0F0AEB2-A229-4564-BC13-E36A16394272}" type="datetime'''''''''2''''''8'''''''''''''''''''''''''''''''''''''''''''''">
              <a:rPr lang="en-US" sz="1000">
                <a:solidFill>
                  <a:schemeClr val="tx1"/>
                </a:solidFill>
              </a:rPr>
              <a:pPr>
                <a:spcBef>
                  <a:spcPct val="0"/>
                </a:spcBef>
                <a:spcAft>
                  <a:spcPct val="0"/>
                </a:spcAft>
              </a:pPr>
              <a:t>28</a:t>
            </a:fld>
            <a:r>
              <a:rPr lang="en-US" sz="1000" smtClean="0">
                <a:solidFill>
                  <a:schemeClr val="tx1"/>
                </a:solidFill>
                <a:sym typeface="+mn-lt"/>
              </a:rPr>
              <a:t> (</a:t>
            </a:r>
            <a:fld id="{93363B90-ACD7-4C17-98FC-5160A101EABB}"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55" name="Rectangle 54"/>
          <p:cNvSpPr/>
          <p:nvPr>
            <p:custDataLst>
              <p:tags r:id="rId50"/>
            </p:custDataLst>
          </p:nvPr>
        </p:nvSpPr>
        <p:spPr bwMode="auto">
          <a:xfrm>
            <a:off x="6100763" y="5338763"/>
            <a:ext cx="484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AAC64FD-502A-4517-843A-AA865407E340}" type="datetime'''G''''e''''olo''''''''''''''''''''''g''i''''''j''''a'''">
              <a:rPr lang="en-US" sz="1000">
                <a:solidFill>
                  <a:schemeClr val="tx1"/>
                </a:solidFill>
              </a:rPr>
              <a:pPr algn="r">
                <a:spcBef>
                  <a:spcPct val="0"/>
                </a:spcBef>
                <a:spcAft>
                  <a:spcPct val="0"/>
                </a:spcAft>
              </a:pPr>
              <a:t>Geologija</a:t>
            </a:fld>
            <a:endParaRPr lang="en-US" sz="1000" dirty="0">
              <a:solidFill>
                <a:schemeClr val="tx1"/>
              </a:solidFill>
              <a:latin typeface="Calibri"/>
              <a:sym typeface="Calibri"/>
            </a:endParaRPr>
          </a:p>
        </p:txBody>
      </p:sp>
      <p:sp>
        <p:nvSpPr>
          <p:cNvPr id="54" name="Rectangle 53"/>
          <p:cNvSpPr/>
          <p:nvPr>
            <p:custDataLst>
              <p:tags r:id="rId51"/>
            </p:custDataLst>
          </p:nvPr>
        </p:nvSpPr>
        <p:spPr bwMode="gray">
          <a:xfrm>
            <a:off x="7073900" y="53387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9A722D-1C9F-4010-8924-E4825DD0AE14}" type="datetime'''''''''''''''''''3''''9'''''''''''''''''''''''''">
              <a:rPr lang="en-US" sz="1000">
                <a:solidFill>
                  <a:schemeClr val="tx1"/>
                </a:solidFill>
              </a:rPr>
              <a:pPr>
                <a:spcBef>
                  <a:spcPct val="0"/>
                </a:spcBef>
                <a:spcAft>
                  <a:spcPct val="0"/>
                </a:spcAft>
              </a:pPr>
              <a:t>39</a:t>
            </a:fld>
            <a:r>
              <a:rPr lang="en-US" sz="1000" smtClean="0">
                <a:solidFill>
                  <a:schemeClr val="tx1"/>
                </a:solidFill>
                <a:sym typeface="+mn-lt"/>
              </a:rPr>
              <a:t> (</a:t>
            </a:r>
            <a:fld id="{BB7553FB-0620-4156-A5BB-D087D7856ED7}"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5" name="Rectangle 64"/>
          <p:cNvSpPr/>
          <p:nvPr>
            <p:custDataLst>
              <p:tags r:id="rId52"/>
            </p:custDataLst>
          </p:nvPr>
        </p:nvSpPr>
        <p:spPr bwMode="auto">
          <a:xfrm>
            <a:off x="5980113" y="5081588"/>
            <a:ext cx="604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FEDBB10-AFFD-4148-933F-0A5C5F09D547}" type="datetime'P''''s''i''''c''''h''o''''l''''''''o''''''''gi''''''j''''a'">
              <a:rPr lang="en-US" sz="1000">
                <a:solidFill>
                  <a:schemeClr val="tx1"/>
                </a:solidFill>
              </a:rPr>
              <a:pPr algn="r">
                <a:spcBef>
                  <a:spcPct val="0"/>
                </a:spcBef>
                <a:spcAft>
                  <a:spcPct val="0"/>
                </a:spcAft>
              </a:pPr>
              <a:t>Psichologija</a:t>
            </a:fld>
            <a:endParaRPr lang="en-US" sz="1000" dirty="0">
              <a:solidFill>
                <a:schemeClr val="tx1"/>
              </a:solidFill>
              <a:latin typeface="Calibri"/>
              <a:sym typeface="Calibri"/>
            </a:endParaRPr>
          </a:p>
        </p:txBody>
      </p:sp>
      <p:sp>
        <p:nvSpPr>
          <p:cNvPr id="67" name="Rectangle 66"/>
          <p:cNvSpPr/>
          <p:nvPr>
            <p:custDataLst>
              <p:tags r:id="rId53"/>
            </p:custDataLst>
          </p:nvPr>
        </p:nvSpPr>
        <p:spPr bwMode="gray">
          <a:xfrm>
            <a:off x="7102475" y="50815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C3FFCB8-E229-4FA1-AE48-A922224359B3}" type="datetime'''''''''''''''''''''''''4''''''''''''''''2'''''''''">
              <a:rPr lang="en-US" sz="1000">
                <a:solidFill>
                  <a:schemeClr val="tx1"/>
                </a:solidFill>
              </a:rPr>
              <a:pPr>
                <a:spcBef>
                  <a:spcPct val="0"/>
                </a:spcBef>
                <a:spcAft>
                  <a:spcPct val="0"/>
                </a:spcAft>
              </a:pPr>
              <a:t>42</a:t>
            </a:fld>
            <a:r>
              <a:rPr lang="en-US" sz="1000" smtClean="0">
                <a:solidFill>
                  <a:schemeClr val="tx1"/>
                </a:solidFill>
                <a:sym typeface="+mn-lt"/>
              </a:rPr>
              <a:t> (</a:t>
            </a:r>
            <a:fld id="{19D4AD07-2717-4486-9077-D8E53609C8B2}"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2" name="Rectangle 61"/>
          <p:cNvSpPr/>
          <p:nvPr>
            <p:custDataLst>
              <p:tags r:id="rId54"/>
            </p:custDataLst>
          </p:nvPr>
        </p:nvSpPr>
        <p:spPr bwMode="auto">
          <a:xfrm>
            <a:off x="6165850" y="4824413"/>
            <a:ext cx="419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1201A75-4946-48CF-85EC-63D64AEDBCD5}" type="datetime'C''''''''h''''e''''''''''''''''''''''''''''m''''i''j''''a'''">
              <a:rPr lang="en-US" sz="1000">
                <a:solidFill>
                  <a:schemeClr val="tx1"/>
                </a:solidFill>
              </a:rPr>
              <a:pPr algn="r">
                <a:spcBef>
                  <a:spcPct val="0"/>
                </a:spcBef>
                <a:spcAft>
                  <a:spcPct val="0"/>
                </a:spcAft>
              </a:pPr>
              <a:t>Chemija</a:t>
            </a:fld>
            <a:endParaRPr lang="en-US" sz="1000" dirty="0">
              <a:solidFill>
                <a:schemeClr val="tx1"/>
              </a:solidFill>
              <a:latin typeface="Calibri"/>
              <a:sym typeface="Calibri"/>
            </a:endParaRPr>
          </a:p>
        </p:txBody>
      </p:sp>
      <p:sp>
        <p:nvSpPr>
          <p:cNvPr id="68" name="Rectangle 67"/>
          <p:cNvSpPr/>
          <p:nvPr>
            <p:custDataLst>
              <p:tags r:id="rId55"/>
            </p:custDataLst>
          </p:nvPr>
        </p:nvSpPr>
        <p:spPr bwMode="gray">
          <a:xfrm>
            <a:off x="7112000" y="48244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BBDA0E-4272-4EE0-BC60-23B67B5DE533}" type="datetime'''''''''''''''''''4''3'''''''">
              <a:rPr lang="en-US" sz="1000">
                <a:solidFill>
                  <a:schemeClr val="tx1"/>
                </a:solidFill>
              </a:rPr>
              <a:pPr>
                <a:spcBef>
                  <a:spcPct val="0"/>
                </a:spcBef>
                <a:spcAft>
                  <a:spcPct val="0"/>
                </a:spcAft>
              </a:pPr>
              <a:t>43</a:t>
            </a:fld>
            <a:r>
              <a:rPr lang="en-US" sz="1000" smtClean="0">
                <a:solidFill>
                  <a:schemeClr val="tx1"/>
                </a:solidFill>
                <a:sym typeface="+mn-lt"/>
              </a:rPr>
              <a:t> (</a:t>
            </a:r>
            <a:fld id="{BEF5ECFA-FF3C-478C-86F6-88846DB849B7}"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3" name="Rectangle 62"/>
          <p:cNvSpPr/>
          <p:nvPr>
            <p:custDataLst>
              <p:tags r:id="rId56"/>
            </p:custDataLst>
          </p:nvPr>
        </p:nvSpPr>
        <p:spPr bwMode="auto">
          <a:xfrm>
            <a:off x="6207125" y="4567238"/>
            <a:ext cx="377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E7E02C-D4EB-4526-9B68-030CFA6CBD1C}" type="datetime'''''''''P''''''''''''ol''''''i''''''''''''''''ti''k''''a'">
              <a:rPr lang="en-US" sz="1000">
                <a:solidFill>
                  <a:schemeClr val="tx1"/>
                </a:solidFill>
              </a:rPr>
              <a:pPr algn="r">
                <a:spcBef>
                  <a:spcPct val="0"/>
                </a:spcBef>
                <a:spcAft>
                  <a:spcPct val="0"/>
                </a:spcAft>
              </a:pPr>
              <a:t>Politika</a:t>
            </a:fld>
            <a:endParaRPr lang="en-US" sz="1000" dirty="0">
              <a:solidFill>
                <a:schemeClr val="tx1"/>
              </a:solidFill>
              <a:latin typeface="Calibri"/>
              <a:sym typeface="Calibri"/>
            </a:endParaRPr>
          </a:p>
        </p:txBody>
      </p:sp>
      <p:sp>
        <p:nvSpPr>
          <p:cNvPr id="69" name="Rectangle 68"/>
          <p:cNvSpPr/>
          <p:nvPr>
            <p:custDataLst>
              <p:tags r:id="rId57"/>
            </p:custDataLst>
          </p:nvPr>
        </p:nvSpPr>
        <p:spPr bwMode="gray">
          <a:xfrm>
            <a:off x="7159625" y="456723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D981370-3D59-48AA-B2D4-B8DBB74DD0D1}" type="datetime'''''''''''''''''''''''''''''4''''8'''''''''''''''''''''">
              <a:rPr lang="en-US" sz="1000">
                <a:solidFill>
                  <a:schemeClr val="tx1"/>
                </a:solidFill>
              </a:rPr>
              <a:pPr>
                <a:spcBef>
                  <a:spcPct val="0"/>
                </a:spcBef>
                <a:spcAft>
                  <a:spcPct val="0"/>
                </a:spcAft>
              </a:pPr>
              <a:t>48</a:t>
            </a:fld>
            <a:r>
              <a:rPr lang="en-US" sz="1000" smtClean="0">
                <a:solidFill>
                  <a:schemeClr val="tx1"/>
                </a:solidFill>
                <a:sym typeface="+mn-lt"/>
              </a:rPr>
              <a:t> (</a:t>
            </a:r>
            <a:fld id="{811E7234-5649-4008-84D0-50F432A15C02}"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66" name="Rectangle 65"/>
          <p:cNvSpPr/>
          <p:nvPr>
            <p:custDataLst>
              <p:tags r:id="rId58"/>
            </p:custDataLst>
          </p:nvPr>
        </p:nvSpPr>
        <p:spPr bwMode="auto">
          <a:xfrm>
            <a:off x="6300788" y="4314825"/>
            <a:ext cx="284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ADD0FB-97DF-4158-AEE6-21236F021866}" type="datetime'''''''''''F''''''i''''''''''''''''z''i''''''''''''k''a'''''">
              <a:rPr lang="en-US" sz="1000">
                <a:solidFill>
                  <a:schemeClr val="tx1"/>
                </a:solidFill>
              </a:rPr>
              <a:pPr algn="r">
                <a:spcBef>
                  <a:spcPct val="0"/>
                </a:spcBef>
                <a:spcAft>
                  <a:spcPct val="0"/>
                </a:spcAft>
              </a:pPr>
              <a:t>Fizika</a:t>
            </a:fld>
            <a:endParaRPr lang="en-US" sz="1000" dirty="0">
              <a:solidFill>
                <a:schemeClr val="tx1"/>
              </a:solidFill>
              <a:latin typeface="Calibri"/>
              <a:sym typeface="Calibri"/>
            </a:endParaRPr>
          </a:p>
        </p:txBody>
      </p:sp>
      <p:sp>
        <p:nvSpPr>
          <p:cNvPr id="64" name="Rectangle 63"/>
          <p:cNvSpPr/>
          <p:nvPr>
            <p:custDataLst>
              <p:tags r:id="rId59"/>
            </p:custDataLst>
          </p:nvPr>
        </p:nvSpPr>
        <p:spPr bwMode="gray">
          <a:xfrm>
            <a:off x="7207250" y="43148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3D07CF6-2246-4160-A306-1F7527E885BF}" type="datetime'''''''''''''5''''3'''''''''''''''''''''''''''''''''''''''''">
              <a:rPr lang="en-US" sz="1000">
                <a:solidFill>
                  <a:schemeClr val="tx1"/>
                </a:solidFill>
              </a:rPr>
              <a:pPr>
                <a:spcBef>
                  <a:spcPct val="0"/>
                </a:spcBef>
                <a:spcAft>
                  <a:spcPct val="0"/>
                </a:spcAft>
              </a:pPr>
              <a:t>53</a:t>
            </a:fld>
            <a:r>
              <a:rPr lang="en-US" sz="1000" smtClean="0">
                <a:solidFill>
                  <a:schemeClr val="tx1"/>
                </a:solidFill>
                <a:sym typeface="+mn-lt"/>
              </a:rPr>
              <a:t> (</a:t>
            </a:r>
            <a:fld id="{1BA19514-D390-44F7-9897-444D569EE00D}"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77" name="Rectangle 76"/>
          <p:cNvSpPr/>
          <p:nvPr>
            <p:custDataLst>
              <p:tags r:id="rId60"/>
            </p:custDataLst>
          </p:nvPr>
        </p:nvSpPr>
        <p:spPr bwMode="auto">
          <a:xfrm>
            <a:off x="5676900" y="4062413"/>
            <a:ext cx="908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684A68C-D888-48F9-B463-CFD8861D2028}" type="datetime'''''''Na''''''''''mų'''''''''' ''''''''''ekono''m''ik''''a'''">
              <a:rPr lang="en-US" sz="1000">
                <a:solidFill>
                  <a:schemeClr val="tx1"/>
                </a:solidFill>
              </a:rPr>
              <a:pPr algn="r">
                <a:spcBef>
                  <a:spcPct val="0"/>
                </a:spcBef>
                <a:spcAft>
                  <a:spcPct val="0"/>
                </a:spcAft>
              </a:pPr>
              <a:t>Namų ekonomika</a:t>
            </a:fld>
            <a:endParaRPr lang="en-US" sz="1000" dirty="0">
              <a:solidFill>
                <a:schemeClr val="tx1"/>
              </a:solidFill>
              <a:latin typeface="Calibri"/>
              <a:sym typeface="Calibri"/>
            </a:endParaRPr>
          </a:p>
        </p:txBody>
      </p:sp>
      <p:sp>
        <p:nvSpPr>
          <p:cNvPr id="76" name="Rectangle 75"/>
          <p:cNvSpPr/>
          <p:nvPr>
            <p:custDataLst>
              <p:tags r:id="rId61"/>
            </p:custDataLst>
          </p:nvPr>
        </p:nvSpPr>
        <p:spPr bwMode="gray">
          <a:xfrm>
            <a:off x="7235825" y="40624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81D451C-CA17-43AA-9B29-03127BF40A58}" type="datetime'''''''''5''''''''''''''''''''''''''''''''''''7'''''''''''''''">
              <a:rPr lang="en-US" sz="1000">
                <a:solidFill>
                  <a:schemeClr val="tx1"/>
                </a:solidFill>
              </a:rPr>
              <a:pPr>
                <a:spcBef>
                  <a:spcPct val="0"/>
                </a:spcBef>
                <a:spcAft>
                  <a:spcPct val="0"/>
                </a:spcAft>
              </a:pPr>
              <a:t>57</a:t>
            </a:fld>
            <a:r>
              <a:rPr lang="en-US" sz="1000" smtClean="0">
                <a:solidFill>
                  <a:schemeClr val="tx1"/>
                </a:solidFill>
                <a:sym typeface="+mn-lt"/>
              </a:rPr>
              <a:t> (</a:t>
            </a:r>
            <a:fld id="{E8F05BE6-F445-4931-ACD3-F71850AC8320}"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80" name="Rectangle 79"/>
          <p:cNvSpPr/>
          <p:nvPr>
            <p:custDataLst>
              <p:tags r:id="rId62"/>
            </p:custDataLst>
          </p:nvPr>
        </p:nvSpPr>
        <p:spPr bwMode="auto">
          <a:xfrm>
            <a:off x="6018213" y="3805238"/>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6ED1DE-6454-4C7B-9B84-C1C671D176BB}" type="datetime'''''''''E''''''''''k''o''no''mi''''''''''''''''''''k''''a'''''">
              <a:rPr lang="en-US" sz="1000">
                <a:solidFill>
                  <a:schemeClr val="tx1"/>
                </a:solidFill>
              </a:rPr>
              <a:pPr algn="r">
                <a:spcBef>
                  <a:spcPct val="0"/>
                </a:spcBef>
                <a:spcAft>
                  <a:spcPct val="0"/>
                </a:spcAft>
              </a:pPr>
              <a:t>Ekonomika</a:t>
            </a:fld>
            <a:endParaRPr lang="en-US" sz="1000" dirty="0">
              <a:solidFill>
                <a:schemeClr val="tx1"/>
              </a:solidFill>
              <a:latin typeface="Calibri"/>
              <a:sym typeface="Calibri"/>
            </a:endParaRPr>
          </a:p>
        </p:txBody>
      </p:sp>
      <p:sp>
        <p:nvSpPr>
          <p:cNvPr id="79" name="Rectangle 78"/>
          <p:cNvSpPr/>
          <p:nvPr>
            <p:custDataLst>
              <p:tags r:id="rId63"/>
            </p:custDataLst>
          </p:nvPr>
        </p:nvSpPr>
        <p:spPr bwMode="gray">
          <a:xfrm>
            <a:off x="7254875" y="380523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2A0F68D-AAF9-4B74-B22A-0C1F157AA708}" type="datetime'''''''''''5''''''''''''''''9'''''''''''''''''">
              <a:rPr lang="en-US" sz="1000">
                <a:solidFill>
                  <a:schemeClr val="tx1"/>
                </a:solidFill>
              </a:rPr>
              <a:pPr>
                <a:spcBef>
                  <a:spcPct val="0"/>
                </a:spcBef>
                <a:spcAft>
                  <a:spcPct val="0"/>
                </a:spcAft>
              </a:pPr>
              <a:t>59</a:t>
            </a:fld>
            <a:r>
              <a:rPr lang="en-US" sz="1000" smtClean="0">
                <a:solidFill>
                  <a:schemeClr val="tx1"/>
                </a:solidFill>
                <a:sym typeface="+mn-lt"/>
              </a:rPr>
              <a:t> (</a:t>
            </a:r>
            <a:fld id="{950697C9-0F23-445B-B548-417CA654DC3E}"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78" name="Rectangle 77"/>
          <p:cNvSpPr/>
          <p:nvPr>
            <p:custDataLst>
              <p:tags r:id="rId64"/>
            </p:custDataLst>
          </p:nvPr>
        </p:nvSpPr>
        <p:spPr bwMode="auto">
          <a:xfrm>
            <a:off x="5753100" y="3548063"/>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3B139B3-A676-40BF-A217-7E1FDBCD002C}" type="datetime'F''il''o''s''o''''''f''''''''''''''ija''''/''''''L''''og''ika'">
              <a:rPr lang="en-US" sz="1000">
                <a:solidFill>
                  <a:schemeClr val="tx1"/>
                </a:solidFill>
              </a:rPr>
              <a:pPr algn="r">
                <a:spcBef>
                  <a:spcPct val="0"/>
                </a:spcBef>
                <a:spcAft>
                  <a:spcPct val="0"/>
                </a:spcAft>
              </a:pPr>
              <a:t>Filosofija/Logika</a:t>
            </a:fld>
            <a:endParaRPr lang="en-US" sz="1000" dirty="0">
              <a:solidFill>
                <a:schemeClr val="tx1"/>
              </a:solidFill>
              <a:latin typeface="Calibri"/>
              <a:sym typeface="Calibri"/>
            </a:endParaRPr>
          </a:p>
        </p:txBody>
      </p:sp>
      <p:sp>
        <p:nvSpPr>
          <p:cNvPr id="48" name="Rectangle 47"/>
          <p:cNvSpPr/>
          <p:nvPr>
            <p:custDataLst>
              <p:tags r:id="rId65"/>
            </p:custDataLst>
          </p:nvPr>
        </p:nvSpPr>
        <p:spPr bwMode="gray">
          <a:xfrm>
            <a:off x="7350125" y="35480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665E0EA-C70C-45AB-BD0B-B8741D2CA6C3}" type="datetime'''''''''''''''''6''''''''9'">
              <a:rPr lang="en-US" sz="1000">
                <a:solidFill>
                  <a:schemeClr val="tx1"/>
                </a:solidFill>
              </a:rPr>
              <a:pPr>
                <a:spcBef>
                  <a:spcPct val="0"/>
                </a:spcBef>
                <a:spcAft>
                  <a:spcPct val="0"/>
                </a:spcAft>
              </a:pPr>
              <a:t>69</a:t>
            </a:fld>
            <a:r>
              <a:rPr lang="en-US" sz="1000" smtClean="0">
                <a:solidFill>
                  <a:schemeClr val="tx1"/>
                </a:solidFill>
                <a:sym typeface="+mn-lt"/>
              </a:rPr>
              <a:t> (</a:t>
            </a:r>
            <a:fld id="{B67F3D28-30F6-4356-9F5F-E158CBF6D18C}" type="datetime'''''''4''''''''''''''''''''%'''''''''''">
              <a:rPr lang="en-US" sz="1000">
                <a:solidFill>
                  <a:schemeClr val="tx1"/>
                </a:solidFill>
              </a:rPr>
              <a:pPr>
                <a:spcBef>
                  <a:spcPct val="0"/>
                </a:spcBef>
                <a:spcAft>
                  <a:spcPct val="0"/>
                </a:spcAft>
              </a:pPr>
              <a:t>4%</a:t>
            </a:fld>
            <a:r>
              <a:rPr lang="en-US" sz="1000" smtClean="0">
                <a:solidFill>
                  <a:schemeClr val="tx1"/>
                </a:solidFill>
                <a:sym typeface="+mn-lt"/>
              </a:rPr>
              <a:t>)</a:t>
            </a:r>
            <a:endParaRPr lang="en-US" sz="1000">
              <a:solidFill>
                <a:schemeClr val="tx1"/>
              </a:solidFill>
              <a:sym typeface="+mn-lt"/>
            </a:endParaRPr>
          </a:p>
        </p:txBody>
      </p:sp>
      <p:sp>
        <p:nvSpPr>
          <p:cNvPr id="46" name="Rectangle 45"/>
          <p:cNvSpPr/>
          <p:nvPr>
            <p:custDataLst>
              <p:tags r:id="rId66"/>
            </p:custDataLst>
          </p:nvPr>
        </p:nvSpPr>
        <p:spPr bwMode="auto">
          <a:xfrm>
            <a:off x="5432425" y="3219450"/>
            <a:ext cx="11525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F856815-51B9-4F1B-B1A3-B9997AB0CADB}" type="datetime'''S''pec. ''poreikių ''turinči''''ų&#10;m''o''ki''nių ugd''yma''s'">
              <a:rPr lang="en-US" sz="1000">
                <a:solidFill>
                  <a:schemeClr val="tx1"/>
                </a:solidFill>
              </a:rPr>
              <a:pPr algn="r">
                <a:spcBef>
                  <a:spcPct val="0"/>
                </a:spcBef>
                <a:spcAft>
                  <a:spcPct val="0"/>
                </a:spcAft>
              </a:pPr>
              <a:t>Spec. poreikių turinčių
mokinių ugdymas</a:t>
            </a:fld>
            <a:endParaRPr lang="en-US" sz="1000" dirty="0">
              <a:solidFill>
                <a:schemeClr val="tx1"/>
              </a:solidFill>
              <a:latin typeface="Calibri"/>
              <a:sym typeface="Calibri"/>
            </a:endParaRPr>
          </a:p>
        </p:txBody>
      </p:sp>
      <p:sp>
        <p:nvSpPr>
          <p:cNvPr id="47" name="Rectangle 46"/>
          <p:cNvSpPr/>
          <p:nvPr>
            <p:custDataLst>
              <p:tags r:id="rId67"/>
            </p:custDataLst>
          </p:nvPr>
        </p:nvSpPr>
        <p:spPr bwMode="gray">
          <a:xfrm>
            <a:off x="7693025" y="329565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D877E72-B0A2-4BA3-BB44-AA93929324BE}" type="datetime'1''''''''''''''''''''''''''''''''0''''''''''''6'''''''''''''">
              <a:rPr lang="en-US" sz="1000">
                <a:solidFill>
                  <a:schemeClr val="tx1"/>
                </a:solidFill>
              </a:rPr>
              <a:pPr>
                <a:spcBef>
                  <a:spcPct val="0"/>
                </a:spcBef>
                <a:spcAft>
                  <a:spcPct val="0"/>
                </a:spcAft>
              </a:pPr>
              <a:t>106</a:t>
            </a:fld>
            <a:r>
              <a:rPr lang="en-US" sz="1000" smtClean="0">
                <a:solidFill>
                  <a:schemeClr val="tx1"/>
                </a:solidFill>
                <a:sym typeface="+mn-lt"/>
              </a:rPr>
              <a:t> (</a:t>
            </a:r>
            <a:fld id="{A9180CC7-179A-4497-9282-1554704D552E}" type="datetime'''''''''''''''''''''''''''''''''6''''''''%'''''''''''''''''">
              <a:rPr lang="en-US" sz="1000">
                <a:solidFill>
                  <a:schemeClr val="tx1"/>
                </a:solidFill>
              </a:rPr>
              <a:pPr>
                <a:spcBef>
                  <a:spcPct val="0"/>
                </a:spcBef>
                <a:spcAft>
                  <a:spcPct val="0"/>
                </a:spcAft>
              </a:pPr>
              <a:t>6%</a:t>
            </a:fld>
            <a:r>
              <a:rPr lang="en-US" sz="1000" smtClean="0">
                <a:solidFill>
                  <a:schemeClr val="tx1"/>
                </a:solidFill>
                <a:sym typeface="+mn-lt"/>
              </a:rPr>
              <a:t>)</a:t>
            </a:r>
            <a:endParaRPr lang="en-US" sz="1000">
              <a:solidFill>
                <a:schemeClr val="tx1"/>
              </a:solidFill>
              <a:sym typeface="+mn-lt"/>
            </a:endParaRPr>
          </a:p>
        </p:txBody>
      </p:sp>
      <p:sp>
        <p:nvSpPr>
          <p:cNvPr id="45" name="Rectangle 44"/>
          <p:cNvSpPr/>
          <p:nvPr>
            <p:custDataLst>
              <p:tags r:id="rId68"/>
            </p:custDataLst>
          </p:nvPr>
        </p:nvSpPr>
        <p:spPr bwMode="auto">
          <a:xfrm>
            <a:off x="6145213" y="3043238"/>
            <a:ext cx="439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0E8ECD2-86A6-44CC-9FE2-C16BA3000F89}" type="datetime'B''''i''''''ol''''''''o''''''''''''''''g''''''''''''ija'''">
              <a:rPr lang="en-US" sz="1000">
                <a:solidFill>
                  <a:schemeClr val="tx1"/>
                </a:solidFill>
              </a:rPr>
              <a:pPr algn="r">
                <a:spcBef>
                  <a:spcPct val="0"/>
                </a:spcBef>
                <a:spcAft>
                  <a:spcPct val="0"/>
                </a:spcAft>
              </a:pPr>
              <a:t>Biologija</a:t>
            </a:fld>
            <a:endParaRPr lang="en-US" sz="1000" dirty="0">
              <a:solidFill>
                <a:schemeClr val="tx1"/>
              </a:solidFill>
              <a:latin typeface="Calibri"/>
              <a:sym typeface="Calibri"/>
            </a:endParaRPr>
          </a:p>
        </p:txBody>
      </p:sp>
      <p:sp>
        <p:nvSpPr>
          <p:cNvPr id="71" name="Rectangle 70"/>
          <p:cNvSpPr/>
          <p:nvPr>
            <p:custDataLst>
              <p:tags r:id="rId69"/>
            </p:custDataLst>
          </p:nvPr>
        </p:nvSpPr>
        <p:spPr bwMode="gray">
          <a:xfrm>
            <a:off x="7921625" y="304323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A3120E7-C98D-424A-A407-14E7A7873DBD}" type="datetime'''''''''''''''''''''''13''''''''''''''''''''''''1'">
              <a:rPr lang="en-US" sz="1000">
                <a:solidFill>
                  <a:schemeClr val="tx1"/>
                </a:solidFill>
              </a:rPr>
              <a:pPr>
                <a:spcBef>
                  <a:spcPct val="0"/>
                </a:spcBef>
                <a:spcAft>
                  <a:spcPct val="0"/>
                </a:spcAft>
              </a:pPr>
              <a:t>131</a:t>
            </a:fld>
            <a:r>
              <a:rPr lang="en-US" sz="1000" smtClean="0">
                <a:solidFill>
                  <a:schemeClr val="tx1"/>
                </a:solidFill>
                <a:sym typeface="+mn-lt"/>
              </a:rPr>
              <a:t> (</a:t>
            </a:r>
            <a:fld id="{1F80C28B-0042-47F2-9397-CB8ABB007C87}" type="datetime'''''''''''''''''''''''''''''''''''''''7''''''''''''''''%'''">
              <a:rPr lang="en-US" sz="1000">
                <a:solidFill>
                  <a:schemeClr val="tx1"/>
                </a:solidFill>
              </a:rPr>
              <a:pPr>
                <a:spcBef>
                  <a:spcPct val="0"/>
                </a:spcBef>
                <a:spcAft>
                  <a:spcPct val="0"/>
                </a:spcAft>
              </a:pPr>
              <a:t>7%</a:t>
            </a:fld>
            <a:r>
              <a:rPr lang="en-US" sz="1000" smtClean="0">
                <a:solidFill>
                  <a:schemeClr val="tx1"/>
                </a:solidFill>
                <a:sym typeface="+mn-lt"/>
              </a:rPr>
              <a:t>)</a:t>
            </a:r>
            <a:endParaRPr lang="en-US" sz="1000">
              <a:solidFill>
                <a:schemeClr val="tx1"/>
              </a:solidFill>
              <a:sym typeface="+mn-lt"/>
            </a:endParaRPr>
          </a:p>
        </p:txBody>
      </p:sp>
      <p:sp>
        <p:nvSpPr>
          <p:cNvPr id="72" name="Rectangle 71"/>
          <p:cNvSpPr/>
          <p:nvPr>
            <p:custDataLst>
              <p:tags r:id="rId70"/>
            </p:custDataLst>
          </p:nvPr>
        </p:nvSpPr>
        <p:spPr bwMode="auto">
          <a:xfrm>
            <a:off x="5329238" y="2786063"/>
            <a:ext cx="1255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F114A3-3F55-4C5C-B55B-D1AE75F4BA28}" type="datetime'Ma''''''t''''emati''''''''k''''''''''a''/''''G''eometrija'''">
              <a:rPr lang="en-US" sz="1000">
                <a:solidFill>
                  <a:schemeClr val="tx1"/>
                </a:solidFill>
              </a:rPr>
              <a:pPr algn="r">
                <a:spcBef>
                  <a:spcPct val="0"/>
                </a:spcBef>
                <a:spcAft>
                  <a:spcPct val="0"/>
                </a:spcAft>
              </a:pPr>
              <a:t>Matematika/Geometrija</a:t>
            </a:fld>
            <a:endParaRPr lang="en-US" sz="1000" dirty="0">
              <a:solidFill>
                <a:schemeClr val="tx1"/>
              </a:solidFill>
              <a:latin typeface="Calibri"/>
              <a:sym typeface="Calibri"/>
            </a:endParaRPr>
          </a:p>
        </p:txBody>
      </p:sp>
      <p:sp>
        <p:nvSpPr>
          <p:cNvPr id="70" name="Rectangle 69"/>
          <p:cNvSpPr/>
          <p:nvPr>
            <p:custDataLst>
              <p:tags r:id="rId71"/>
            </p:custDataLst>
          </p:nvPr>
        </p:nvSpPr>
        <p:spPr bwMode="gray">
          <a:xfrm>
            <a:off x="8064500" y="278606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E43451D-5A8E-46AC-A9F6-2086B7010A84}" type="datetime'''''''''''''''''1''''''''''''4''''''''''''''''''''''6'''''''''">
              <a:rPr lang="en-US" sz="1000">
                <a:solidFill>
                  <a:schemeClr val="tx1"/>
                </a:solidFill>
              </a:rPr>
              <a:pPr>
                <a:spcBef>
                  <a:spcPct val="0"/>
                </a:spcBef>
                <a:spcAft>
                  <a:spcPct val="0"/>
                </a:spcAft>
              </a:pPr>
              <a:t>146</a:t>
            </a:fld>
            <a:r>
              <a:rPr lang="en-US" sz="1000" smtClean="0">
                <a:solidFill>
                  <a:schemeClr val="tx1"/>
                </a:solidFill>
                <a:sym typeface="+mn-lt"/>
              </a:rPr>
              <a:t> (</a:t>
            </a:r>
            <a:fld id="{F4F2149C-AA67-4E31-B339-753F42CDF7EF}"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73" name="Rectangle 72"/>
          <p:cNvSpPr/>
          <p:nvPr>
            <p:custDataLst>
              <p:tags r:id="rId72"/>
            </p:custDataLst>
          </p:nvPr>
        </p:nvSpPr>
        <p:spPr bwMode="auto">
          <a:xfrm>
            <a:off x="5922963" y="2528888"/>
            <a:ext cx="661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34035CB-588E-48CD-B613-5AA0E1FE57F8}" type="datetime'''''K''''''''ū''n''o ku''l''tū''''''''''r''a'''''''''''''''''">
              <a:rPr lang="en-US" sz="1000">
                <a:solidFill>
                  <a:schemeClr val="tx1"/>
                </a:solidFill>
              </a:rPr>
              <a:pPr algn="r">
                <a:spcBef>
                  <a:spcPct val="0"/>
                </a:spcBef>
                <a:spcAft>
                  <a:spcPct val="0"/>
                </a:spcAft>
              </a:pPr>
              <a:t>Kūno kultūra</a:t>
            </a:fld>
            <a:endParaRPr lang="en-US" sz="1000" dirty="0">
              <a:solidFill>
                <a:schemeClr val="tx1"/>
              </a:solidFill>
              <a:latin typeface="Calibri"/>
              <a:sym typeface="Calibri"/>
            </a:endParaRPr>
          </a:p>
        </p:txBody>
      </p:sp>
      <p:sp>
        <p:nvSpPr>
          <p:cNvPr id="74" name="Rectangle 73"/>
          <p:cNvSpPr/>
          <p:nvPr>
            <p:custDataLst>
              <p:tags r:id="rId73"/>
            </p:custDataLst>
          </p:nvPr>
        </p:nvSpPr>
        <p:spPr bwMode="gray">
          <a:xfrm>
            <a:off x="8074025" y="25288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4A305F-09DB-4B80-A030-7FE978ACABE4}" type="datetime'''''''''''''''''''1''''4''''''''''''''''''7'''''''">
              <a:rPr lang="en-US" sz="1000">
                <a:solidFill>
                  <a:schemeClr val="tx1"/>
                </a:solidFill>
              </a:rPr>
              <a:pPr>
                <a:spcBef>
                  <a:spcPct val="0"/>
                </a:spcBef>
                <a:spcAft>
                  <a:spcPct val="0"/>
                </a:spcAft>
              </a:pPr>
              <a:t>147</a:t>
            </a:fld>
            <a:r>
              <a:rPr lang="en-US" sz="1000" smtClean="0">
                <a:solidFill>
                  <a:schemeClr val="tx1"/>
                </a:solidFill>
                <a:sym typeface="+mn-lt"/>
              </a:rPr>
              <a:t> (</a:t>
            </a:r>
            <a:fld id="{631D109E-8A65-4598-82A9-95E64F8C5D6E}"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75" name="Rectangle 74"/>
          <p:cNvSpPr/>
          <p:nvPr>
            <p:custDataLst>
              <p:tags r:id="rId74"/>
            </p:custDataLst>
          </p:nvPr>
        </p:nvSpPr>
        <p:spPr bwMode="auto">
          <a:xfrm>
            <a:off x="5680075" y="2271713"/>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F0E7688-3E56-4979-96DC-1442EC81CE94}" type="datetime'''''S''''''v''''''''''''''e''ikat''''o''''''s ''mo''''ks''lai'">
              <a:rPr lang="en-US" sz="1000">
                <a:solidFill>
                  <a:schemeClr val="tx1"/>
                </a:solidFill>
              </a:rPr>
              <a:pPr algn="r">
                <a:spcBef>
                  <a:spcPct val="0"/>
                </a:spcBef>
                <a:spcAft>
                  <a:spcPct val="0"/>
                </a:spcAft>
              </a:pPr>
              <a:t>Sveikatos mokslai</a:t>
            </a:fld>
            <a:endParaRPr lang="en-US" sz="1000" dirty="0">
              <a:solidFill>
                <a:schemeClr val="tx1"/>
              </a:solidFill>
              <a:latin typeface="Calibri"/>
              <a:sym typeface="Calibri"/>
            </a:endParaRPr>
          </a:p>
        </p:txBody>
      </p:sp>
      <p:sp>
        <p:nvSpPr>
          <p:cNvPr id="51" name="Rectangle 50"/>
          <p:cNvSpPr/>
          <p:nvPr>
            <p:custDataLst>
              <p:tags r:id="rId75"/>
            </p:custDataLst>
          </p:nvPr>
        </p:nvSpPr>
        <p:spPr bwMode="gray">
          <a:xfrm>
            <a:off x="8102600" y="227171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8C5DD95-0D75-4866-8804-BE5797BAF738}" type="datetime'''''''''''''''''''''1''5''''0'''''''">
              <a:rPr lang="en-US" sz="1000">
                <a:solidFill>
                  <a:schemeClr val="tx1"/>
                </a:solidFill>
              </a:rPr>
              <a:pPr>
                <a:spcBef>
                  <a:spcPct val="0"/>
                </a:spcBef>
                <a:spcAft>
                  <a:spcPct val="0"/>
                </a:spcAft>
              </a:pPr>
              <a:t>150</a:t>
            </a:fld>
            <a:r>
              <a:rPr lang="en-US" sz="1000" smtClean="0">
                <a:solidFill>
                  <a:schemeClr val="tx1"/>
                </a:solidFill>
                <a:sym typeface="+mn-lt"/>
              </a:rPr>
              <a:t> (</a:t>
            </a:r>
            <a:fld id="{8857DD7C-60FA-4CAA-BCF2-8FA85C6F0A8E}"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50" name="Rectangle 49"/>
          <p:cNvSpPr/>
          <p:nvPr>
            <p:custDataLst>
              <p:tags r:id="rId76"/>
            </p:custDataLst>
          </p:nvPr>
        </p:nvSpPr>
        <p:spPr bwMode="auto">
          <a:xfrm>
            <a:off x="5341938" y="2019300"/>
            <a:ext cx="1243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305788D-19AF-453E-808F-96044F644843}" type="datetime'D''''''iz''''''ai''''''nas ir'''''''' t''echnolo''''gi''jos'">
              <a:rPr lang="en-US" sz="1000">
                <a:solidFill>
                  <a:schemeClr val="tx1"/>
                </a:solidFill>
              </a:rPr>
              <a:pPr algn="r">
                <a:spcBef>
                  <a:spcPct val="0"/>
                </a:spcBef>
                <a:spcAft>
                  <a:spcPct val="0"/>
                </a:spcAft>
              </a:pPr>
              <a:t>Dizainas ir technologijos</a:t>
            </a:fld>
            <a:endParaRPr lang="en-US" sz="1000" dirty="0">
              <a:solidFill>
                <a:schemeClr val="tx1"/>
              </a:solidFill>
              <a:latin typeface="Calibri"/>
              <a:sym typeface="Calibri"/>
            </a:endParaRPr>
          </a:p>
        </p:txBody>
      </p:sp>
      <p:sp>
        <p:nvSpPr>
          <p:cNvPr id="49" name="Rectangle 48"/>
          <p:cNvSpPr/>
          <p:nvPr>
            <p:custDataLst>
              <p:tags r:id="rId77"/>
            </p:custDataLst>
          </p:nvPr>
        </p:nvSpPr>
        <p:spPr bwMode="gray">
          <a:xfrm>
            <a:off x="8293100" y="201930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65E348-9DA8-401A-878D-419732778A8F}" type="datetime'''''1''''''''''''''''''''''7''''''''''''1'''''''''''">
              <a:rPr lang="en-US" sz="1000">
                <a:solidFill>
                  <a:schemeClr val="tx1"/>
                </a:solidFill>
              </a:rPr>
              <a:pPr>
                <a:spcBef>
                  <a:spcPct val="0"/>
                </a:spcBef>
                <a:spcAft>
                  <a:spcPct val="0"/>
                </a:spcAft>
              </a:pPr>
              <a:t>171</a:t>
            </a:fld>
            <a:r>
              <a:rPr lang="en-US" sz="1000" smtClean="0">
                <a:solidFill>
                  <a:schemeClr val="tx1"/>
                </a:solidFill>
                <a:sym typeface="+mn-lt"/>
              </a:rPr>
              <a:t> (</a:t>
            </a:r>
            <a:fld id="{09379F6D-C02E-44E4-A2AF-AD2B5DE3877E}" type="datetime'''''9''''''''''''''''''''''''''''''''''''%'''''''''''''''">
              <a:rPr lang="en-US" sz="1000">
                <a:solidFill>
                  <a:schemeClr val="tx1"/>
                </a:solidFill>
              </a:rPr>
              <a:pP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60" name="Rectangle 59"/>
          <p:cNvSpPr/>
          <p:nvPr>
            <p:custDataLst>
              <p:tags r:id="rId78"/>
            </p:custDataLst>
          </p:nvPr>
        </p:nvSpPr>
        <p:spPr bwMode="auto">
          <a:xfrm>
            <a:off x="6334125" y="1766888"/>
            <a:ext cx="250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D0FADE-7D42-4361-9DDE-9718EC85B026}" type="datetime'''''''''''''''''E''''t''''i''''''''''k''''''''''a'''''">
              <a:rPr lang="en-US" sz="1000">
                <a:solidFill>
                  <a:schemeClr val="tx1"/>
                </a:solidFill>
              </a:rPr>
              <a:pPr algn="r">
                <a:spcBef>
                  <a:spcPct val="0"/>
                </a:spcBef>
                <a:spcAft>
                  <a:spcPct val="0"/>
                </a:spcAft>
              </a:pPr>
              <a:t>Etika</a:t>
            </a:fld>
            <a:endParaRPr lang="en-US" sz="1000" dirty="0">
              <a:solidFill>
                <a:schemeClr val="tx1"/>
              </a:solidFill>
              <a:latin typeface="Calibri"/>
              <a:sym typeface="Calibri"/>
            </a:endParaRPr>
          </a:p>
        </p:txBody>
      </p:sp>
      <p:sp>
        <p:nvSpPr>
          <p:cNvPr id="61" name="Rectangle 60"/>
          <p:cNvSpPr/>
          <p:nvPr>
            <p:custDataLst>
              <p:tags r:id="rId79"/>
            </p:custDataLst>
          </p:nvPr>
        </p:nvSpPr>
        <p:spPr bwMode="gray">
          <a:xfrm>
            <a:off x="8302625" y="17668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702D006-5FB7-4504-9728-5792362525F0}" type="datetime'''''''''172'">
              <a:rPr lang="en-US" sz="1000">
                <a:solidFill>
                  <a:schemeClr val="tx1"/>
                </a:solidFill>
              </a:rPr>
              <a:pPr>
                <a:spcBef>
                  <a:spcPct val="0"/>
                </a:spcBef>
                <a:spcAft>
                  <a:spcPct val="0"/>
                </a:spcAft>
              </a:pPr>
              <a:t>172</a:t>
            </a:fld>
            <a:r>
              <a:rPr lang="en-US" sz="1000" smtClean="0">
                <a:solidFill>
                  <a:schemeClr val="tx1"/>
                </a:solidFill>
                <a:sym typeface="+mn-lt"/>
              </a:rPr>
              <a:t> (</a:t>
            </a:r>
            <a:fld id="{EED5D241-FB95-4AD0-8DDC-A4926300E36F}" type="datetime'''''''''''''9''''''''%'''''''''''''''''''''''''">
              <a:rPr lang="en-US" sz="1000">
                <a:solidFill>
                  <a:schemeClr val="tx1"/>
                </a:solidFill>
              </a:rPr>
              <a:pP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81" name="Rectangle 80"/>
          <p:cNvSpPr/>
          <p:nvPr>
            <p:custDataLst>
              <p:tags r:id="rId80"/>
            </p:custDataLst>
          </p:nvPr>
        </p:nvSpPr>
        <p:spPr bwMode="auto">
          <a:xfrm>
            <a:off x="5875338" y="1509713"/>
            <a:ext cx="709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B1EB40-7863-4E95-B2AD-12ED5EEEBEF9}" type="datetime'''''T''e''''''ch''''''n''o''''''l''o''''g''''i''''''j''os'">
              <a:rPr lang="en-US" sz="1000">
                <a:solidFill>
                  <a:schemeClr val="tx1"/>
                </a:solidFill>
              </a:rPr>
              <a:pPr algn="r">
                <a:spcBef>
                  <a:spcPct val="0"/>
                </a:spcBef>
                <a:spcAft>
                  <a:spcPct val="0"/>
                </a:spcAft>
              </a:pPr>
              <a:t>Technologijos</a:t>
            </a:fld>
            <a:endParaRPr lang="en-US" sz="1000" dirty="0">
              <a:solidFill>
                <a:schemeClr val="tx1"/>
              </a:solidFill>
              <a:latin typeface="Calibri"/>
              <a:sym typeface="Calibri"/>
            </a:endParaRPr>
          </a:p>
        </p:txBody>
      </p:sp>
      <p:sp>
        <p:nvSpPr>
          <p:cNvPr id="82" name="Rectangle 81"/>
          <p:cNvSpPr/>
          <p:nvPr>
            <p:custDataLst>
              <p:tags r:id="rId81"/>
            </p:custDataLst>
          </p:nvPr>
        </p:nvSpPr>
        <p:spPr bwMode="gray">
          <a:xfrm>
            <a:off x="8378825" y="15097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CDF7710-BD0F-405A-AD26-137B5B7FF8BD}" type="datetime'''''''1''''''''''8''''''''''''''''''''''0'''">
              <a:rPr lang="en-US" sz="1000">
                <a:solidFill>
                  <a:schemeClr val="tx1"/>
                </a:solidFill>
              </a:rPr>
              <a:pPr>
                <a:spcBef>
                  <a:spcPct val="0"/>
                </a:spcBef>
                <a:spcAft>
                  <a:spcPct val="0"/>
                </a:spcAft>
              </a:pPr>
              <a:t>180</a:t>
            </a:fld>
            <a:r>
              <a:rPr lang="en-US" sz="1000" smtClean="0">
                <a:solidFill>
                  <a:schemeClr val="tx1"/>
                </a:solidFill>
                <a:sym typeface="+mn-lt"/>
              </a:rPr>
              <a:t> (</a:t>
            </a:r>
            <a:fld id="{E382B7A6-1611-4BD7-BD7B-B0C5C320208B}"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83" name="Rectangle 82"/>
          <p:cNvSpPr/>
          <p:nvPr/>
        </p:nvSpPr>
        <p:spPr>
          <a:xfrm>
            <a:off x="431800" y="1027113"/>
            <a:ext cx="8640960" cy="29172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pasiskirstymas pagal temas, vnt.</a:t>
            </a:r>
            <a:endParaRPr lang="lt-LT" sz="1200" dirty="0">
              <a:solidFill>
                <a:schemeClr val="bg1"/>
              </a:solidFill>
              <a:cs typeface="Cambria"/>
            </a:endParaRPr>
          </a:p>
        </p:txBody>
      </p:sp>
      <p:sp>
        <p:nvSpPr>
          <p:cNvPr id="84" name="Rectangle 83"/>
          <p:cNvSpPr/>
          <p:nvPr/>
        </p:nvSpPr>
        <p:spPr>
          <a:xfrm>
            <a:off x="433388" y="1319213"/>
            <a:ext cx="8640960" cy="506700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9794719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p:cNvGraphicFramePr>
            <a:graphicFrameLocks noChangeAspect="1"/>
          </p:cNvGraphicFramePr>
          <p:nvPr>
            <p:custDataLst>
              <p:tags r:id="rId2"/>
            </p:custDataLst>
            <p:extLst>
              <p:ext uri="{D42A27DB-BD31-4B8C-83A1-F6EECF244321}">
                <p14:modId xmlns:p14="http://schemas.microsoft.com/office/powerpoint/2010/main" val="2147589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2" name="think-cell Slide" r:id="rId81" imgW="270" imgH="270" progId="TCLayout.ActiveDocument.1">
                  <p:embed/>
                </p:oleObj>
              </mc:Choice>
              <mc:Fallback>
                <p:oleObj name="think-cell Slide" r:id="rId81" imgW="270" imgH="270" progId="TCLayout.ActiveDocument.1">
                  <p:embed/>
                  <p:pic>
                    <p:nvPicPr>
                      <p:cNvPr id="0" name=""/>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81" name="Rectangle 8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107504" y="188640"/>
            <a:ext cx="8928992" cy="487362"/>
          </a:xfrm>
        </p:spPr>
        <p:txBody>
          <a:bodyPr>
            <a:noAutofit/>
          </a:bodyPr>
          <a:lstStyle/>
          <a:p>
            <a:r>
              <a:rPr lang="lt-LT" sz="2000" b="1" dirty="0">
                <a:solidFill>
                  <a:schemeClr val="tx2">
                    <a:lumMod val="75000"/>
                  </a:schemeClr>
                </a:solidFill>
              </a:rPr>
              <a:t>Beveik trys ketvirtadaliai projektų buvo vykdyti viena kalba ir 64 proc. projektų buvo vykdyti tik anglų kalba; </a:t>
            </a:r>
            <a:endParaRPr lang="en-US" sz="2000" b="1" dirty="0">
              <a:solidFill>
                <a:schemeClr val="tx2">
                  <a:lumMod val="75000"/>
                </a:schemeClr>
              </a:solidFill>
            </a:endParaRPr>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848375959"/>
              </p:ext>
            </p:extLst>
          </p:nvPr>
        </p:nvGraphicFramePr>
        <p:xfrm>
          <a:off x="419100" y="1866900"/>
          <a:ext cx="2762379" cy="1028700"/>
        </p:xfrm>
        <a:graphic>
          <a:graphicData uri="http://schemas.openxmlformats.org/presentationml/2006/ole">
            <mc:AlternateContent xmlns:mc="http://schemas.openxmlformats.org/markup-compatibility/2006">
              <mc:Choice xmlns:v="urn:schemas-microsoft-com:vml" Requires="v">
                <p:oleObj spid="_x0000_s24623" name="Chart" r:id="rId83" imgW="2762155" imgH="1028700" progId="MSGraph.Chart.8">
                  <p:embed followColorScheme="full"/>
                </p:oleObj>
              </mc:Choice>
              <mc:Fallback>
                <p:oleObj name="Chart" r:id="rId83" imgW="2762155" imgH="1028700" progId="MSGraph.Chart.8">
                  <p:embed followColorScheme="full"/>
                  <p:pic>
                    <p:nvPicPr>
                      <p:cNvPr id="0" name=""/>
                      <p:cNvPicPr/>
                      <p:nvPr/>
                    </p:nvPicPr>
                    <p:blipFill>
                      <a:blip r:embed="rId84"/>
                      <a:stretch>
                        <a:fillRect/>
                      </a:stretch>
                    </p:blipFill>
                    <p:spPr>
                      <a:xfrm>
                        <a:off x="419100" y="1866900"/>
                        <a:ext cx="2762379" cy="1028700"/>
                      </a:xfrm>
                      <a:prstGeom prst="rect">
                        <a:avLst/>
                      </a:prstGeom>
                    </p:spPr>
                  </p:pic>
                </p:oleObj>
              </mc:Fallback>
            </mc:AlternateContent>
          </a:graphicData>
        </a:graphic>
      </p:graphicFrame>
      <p:sp>
        <p:nvSpPr>
          <p:cNvPr id="10" name="Rectangle 9"/>
          <p:cNvSpPr/>
          <p:nvPr>
            <p:custDataLst>
              <p:tags r:id="rId5"/>
            </p:custDataLst>
          </p:nvPr>
        </p:nvSpPr>
        <p:spPr bwMode="auto">
          <a:xfrm>
            <a:off x="2011363" y="2930525"/>
            <a:ext cx="855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56F8740-9E31-4A21-8DCA-1803922791A3}" type="datetime'''''D''a''''ug''''iau'''''''' n''''''''''''e''i'''''' ''1'''''">
              <a:rPr lang="en-US" sz="1200">
                <a:solidFill>
                  <a:schemeClr val="tx1"/>
                </a:solidFill>
              </a:rPr>
              <a:pPr algn="ctr">
                <a:spcBef>
                  <a:spcPct val="0"/>
                </a:spcBef>
                <a:spcAft>
                  <a:spcPct val="0"/>
                </a:spcAft>
              </a:pPr>
              <a:t>Daugiau nei 1</a:t>
            </a:fld>
            <a:endParaRPr lang="en-US" sz="1200" dirty="0">
              <a:solidFill>
                <a:schemeClr val="tx1"/>
              </a:solidFill>
              <a:latin typeface="Calibri"/>
              <a:sym typeface="Calibri"/>
            </a:endParaRPr>
          </a:p>
        </p:txBody>
      </p:sp>
      <p:sp>
        <p:nvSpPr>
          <p:cNvPr id="11" name="Rectangle 10"/>
          <p:cNvSpPr/>
          <p:nvPr>
            <p:custDataLst>
              <p:tags r:id="rId6"/>
            </p:custDataLst>
          </p:nvPr>
        </p:nvSpPr>
        <p:spPr bwMode="gray">
          <a:xfrm>
            <a:off x="2255838" y="20764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4627338-5380-4427-B0F8-43F48AC33E92}" type="datetime'''''''''''''''''''''''2''9''''''''''''''''''''%'''''">
              <a:rPr lang="en-US" sz="1200">
                <a:solidFill>
                  <a:schemeClr val="tx1"/>
                </a:solidFill>
              </a:rPr>
              <a:pPr algn="ctr">
                <a:spcBef>
                  <a:spcPct val="0"/>
                </a:spcBef>
                <a:spcAft>
                  <a:spcPct val="0"/>
                </a:spcAft>
              </a:pPr>
              <a:t>29%</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B54B53F9-9226-465F-A215-256F0E54535B}" type="datetime'''''''''''''52''''''''''''''''''''5'''''''''''">
              <a:rPr lang="en-US" sz="1200">
                <a:solidFill>
                  <a:schemeClr val="tx1"/>
                </a:solidFill>
              </a:rPr>
              <a:pPr algn="ctr">
                <a:spcBef>
                  <a:spcPct val="0"/>
                </a:spcBef>
                <a:spcAft>
                  <a:spcPct val="0"/>
                </a:spcAft>
              </a:pPr>
              <a:t>525</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2" name="Rectangle 11"/>
          <p:cNvSpPr/>
          <p:nvPr>
            <p:custDataLst>
              <p:tags r:id="rId7"/>
            </p:custDataLst>
          </p:nvPr>
        </p:nvSpPr>
        <p:spPr bwMode="auto">
          <a:xfrm>
            <a:off x="1122363"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03D52C0-7D04-4D8B-9D6E-5567A4FE9387}" type="datetime'''''''1'''''''">
              <a:rPr lang="en-US" sz="1200">
                <a:solidFill>
                  <a:schemeClr val="tx1"/>
                </a:solidFill>
              </a:rPr>
              <a:pPr algn="ctr">
                <a:spcBef>
                  <a:spcPct val="0"/>
                </a:spcBef>
                <a:spcAft>
                  <a:spcPct val="0"/>
                </a:spcAft>
              </a:pPr>
              <a:t>1</a:t>
            </a:fld>
            <a:endParaRPr lang="en-US" sz="1200" dirty="0">
              <a:solidFill>
                <a:schemeClr val="tx1"/>
              </a:solidFill>
              <a:latin typeface="Calibri"/>
              <a:sym typeface="Calibri"/>
            </a:endParaRPr>
          </a:p>
        </p:txBody>
      </p:sp>
      <p:sp>
        <p:nvSpPr>
          <p:cNvPr id="9" name="Rectangle 8"/>
          <p:cNvSpPr/>
          <p:nvPr>
            <p:custDataLst>
              <p:tags r:id="rId8"/>
            </p:custDataLst>
          </p:nvPr>
        </p:nvSpPr>
        <p:spPr bwMode="gray">
          <a:xfrm>
            <a:off x="925513" y="1600200"/>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1D7A9BF-4157-4FCD-8BEA-E44DE18A0398}" type="datetime'''''''''''''7''''''''''''''''''''1''''''''''''''''''''''%'">
              <a:rPr lang="en-US" sz="1200">
                <a:solidFill>
                  <a:schemeClr val="tx1"/>
                </a:solidFill>
              </a:rPr>
              <a:pPr algn="ctr">
                <a:spcBef>
                  <a:spcPct val="0"/>
                </a:spcBef>
                <a:spcAft>
                  <a:spcPct val="0"/>
                </a:spcAft>
              </a:pPr>
              <a:t>71%</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98E86423-21A0-4E98-BA14-997A760A72F5}" type="datetime'''1'''''''''''''''''''''''',''''''2''''9''''''''''8'''''''''">
              <a:rPr lang="en-US" sz="1200">
                <a:solidFill>
                  <a:schemeClr val="tx1"/>
                </a:solidFill>
              </a:rPr>
              <a:pPr algn="ctr">
                <a:spcBef>
                  <a:spcPct val="0"/>
                </a:spcBef>
                <a:spcAft>
                  <a:spcPct val="0"/>
                </a:spcAft>
              </a:pPr>
              <a:t>1,298</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graphicFrame>
        <p:nvGraphicFramePr>
          <p:cNvPr id="13" name="Object 12"/>
          <p:cNvGraphicFramePr>
            <a:graphicFrameLocks/>
          </p:cNvGraphicFramePr>
          <p:nvPr>
            <p:custDataLst>
              <p:tags r:id="rId9"/>
            </p:custDataLst>
            <p:extLst>
              <p:ext uri="{D42A27DB-BD31-4B8C-83A1-F6EECF244321}">
                <p14:modId xmlns:p14="http://schemas.microsoft.com/office/powerpoint/2010/main" val="2811533232"/>
              </p:ext>
            </p:extLst>
          </p:nvPr>
        </p:nvGraphicFramePr>
        <p:xfrm>
          <a:off x="3467100" y="1371599"/>
          <a:ext cx="5410223" cy="1533600"/>
        </p:xfrm>
        <a:graphic>
          <a:graphicData uri="http://schemas.openxmlformats.org/presentationml/2006/ole">
            <mc:AlternateContent xmlns:mc="http://schemas.openxmlformats.org/markup-compatibility/2006">
              <mc:Choice xmlns:v="urn:schemas-microsoft-com:vml" Requires="v">
                <p:oleObj spid="_x0000_s24624" name="Chart" r:id="rId85" imgW="5410229" imgH="1533571" progId="MSGraph.Chart.8">
                  <p:embed followColorScheme="full"/>
                </p:oleObj>
              </mc:Choice>
              <mc:Fallback>
                <p:oleObj name="Chart" r:id="rId85" imgW="5410229" imgH="1533571" progId="MSGraph.Chart.8">
                  <p:embed followColorScheme="full"/>
                  <p:pic>
                    <p:nvPicPr>
                      <p:cNvPr id="0" name=""/>
                      <p:cNvPicPr/>
                      <p:nvPr/>
                    </p:nvPicPr>
                    <p:blipFill>
                      <a:blip r:embed="rId86"/>
                      <a:stretch>
                        <a:fillRect/>
                      </a:stretch>
                    </p:blipFill>
                    <p:spPr>
                      <a:xfrm>
                        <a:off x="3467100" y="1371599"/>
                        <a:ext cx="5410223" cy="1533600"/>
                      </a:xfrm>
                      <a:prstGeom prst="rect">
                        <a:avLst/>
                      </a:prstGeom>
                    </p:spPr>
                  </p:pic>
                </p:oleObj>
              </mc:Fallback>
            </mc:AlternateContent>
          </a:graphicData>
        </a:graphic>
      </p:graphicFrame>
      <p:sp>
        <p:nvSpPr>
          <p:cNvPr id="14" name="Rectangle 13"/>
          <p:cNvSpPr/>
          <p:nvPr>
            <p:custDataLst>
              <p:tags r:id="rId10"/>
            </p:custDataLst>
          </p:nvPr>
        </p:nvSpPr>
        <p:spPr bwMode="auto">
          <a:xfrm>
            <a:off x="85359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FB4811B-1900-4D4C-B973-5946E77156BA}" type="datetime'''''''''''''''''2''''''''''''5'''''''''''''''''">
              <a:rPr lang="en-US" sz="1200">
                <a:solidFill>
                  <a:schemeClr val="tx1"/>
                </a:solidFill>
              </a:rPr>
              <a:pPr algn="ctr">
                <a:spcBef>
                  <a:spcPct val="0"/>
                </a:spcBef>
                <a:spcAft>
                  <a:spcPct val="0"/>
                </a:spcAft>
              </a:pPr>
              <a:t>25</a:t>
            </a:fld>
            <a:endParaRPr lang="en-US" sz="1200" dirty="0">
              <a:solidFill>
                <a:schemeClr val="tx1"/>
              </a:solidFill>
              <a:sym typeface="+mn-lt"/>
            </a:endParaRPr>
          </a:p>
        </p:txBody>
      </p:sp>
      <p:sp>
        <p:nvSpPr>
          <p:cNvPr id="15" name="Rectangle 14"/>
          <p:cNvSpPr/>
          <p:nvPr>
            <p:custDataLst>
              <p:tags r:id="rId11"/>
            </p:custDataLst>
          </p:nvPr>
        </p:nvSpPr>
        <p:spPr bwMode="auto">
          <a:xfrm>
            <a:off x="82311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F981EFA-EE88-4BE8-8CBB-4C0D844A21C8}" type="datetime'''''''''''''''''''''''24'''''''''''''''''''''''''''''''''''">
              <a:rPr lang="en-US" sz="1200">
                <a:solidFill>
                  <a:schemeClr val="tx1"/>
                </a:solidFill>
              </a:rPr>
              <a:pPr algn="ctr">
                <a:spcBef>
                  <a:spcPct val="0"/>
                </a:spcBef>
                <a:spcAft>
                  <a:spcPct val="0"/>
                </a:spcAft>
              </a:pPr>
              <a:t>24</a:t>
            </a:fld>
            <a:endParaRPr lang="en-US" sz="1200" dirty="0">
              <a:solidFill>
                <a:schemeClr val="tx1"/>
              </a:solidFill>
              <a:sym typeface="+mn-lt"/>
            </a:endParaRPr>
          </a:p>
        </p:txBody>
      </p:sp>
      <p:sp>
        <p:nvSpPr>
          <p:cNvPr id="16" name="Rectangle 15"/>
          <p:cNvSpPr/>
          <p:nvPr>
            <p:custDataLst>
              <p:tags r:id="rId12"/>
            </p:custDataLst>
          </p:nvPr>
        </p:nvSpPr>
        <p:spPr bwMode="auto">
          <a:xfrm>
            <a:off x="79263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8F388DD-F033-452F-A103-6E951508FA1E}" type="datetime'''''''''''2''''''''''''''''''''''''3'''''''''''">
              <a:rPr lang="en-US" sz="1200">
                <a:solidFill>
                  <a:schemeClr val="tx1"/>
                </a:solidFill>
              </a:rPr>
              <a:pPr algn="ctr">
                <a:spcBef>
                  <a:spcPct val="0"/>
                </a:spcBef>
                <a:spcAft>
                  <a:spcPct val="0"/>
                </a:spcAft>
              </a:pPr>
              <a:t>23</a:t>
            </a:fld>
            <a:endParaRPr lang="en-US" sz="1200" dirty="0">
              <a:solidFill>
                <a:schemeClr val="tx1"/>
              </a:solidFill>
              <a:sym typeface="+mn-lt"/>
            </a:endParaRPr>
          </a:p>
        </p:txBody>
      </p:sp>
      <p:sp>
        <p:nvSpPr>
          <p:cNvPr id="17" name="Rectangle 16"/>
          <p:cNvSpPr/>
          <p:nvPr>
            <p:custDataLst>
              <p:tags r:id="rId13"/>
            </p:custDataLst>
          </p:nvPr>
        </p:nvSpPr>
        <p:spPr bwMode="auto">
          <a:xfrm>
            <a:off x="76215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5CD893-A2E3-4E61-82F6-E1B8CCA58656}" type="datetime'''''''''''''2''''''''''''''''''''''''''''''''1'''''''''">
              <a:rPr lang="en-US" sz="1200">
                <a:solidFill>
                  <a:schemeClr val="tx1"/>
                </a:solidFill>
              </a:rPr>
              <a:pPr algn="ctr">
                <a:spcBef>
                  <a:spcPct val="0"/>
                </a:spcBef>
                <a:spcAft>
                  <a:spcPct val="0"/>
                </a:spcAft>
              </a:pPr>
              <a:t>21</a:t>
            </a:fld>
            <a:endParaRPr lang="en-US" sz="1200" dirty="0">
              <a:solidFill>
                <a:schemeClr val="tx1"/>
              </a:solidFill>
              <a:sym typeface="+mn-lt"/>
            </a:endParaRPr>
          </a:p>
        </p:txBody>
      </p:sp>
      <p:sp>
        <p:nvSpPr>
          <p:cNvPr id="18" name="Rectangle 17"/>
          <p:cNvSpPr/>
          <p:nvPr>
            <p:custDataLst>
              <p:tags r:id="rId14"/>
            </p:custDataLst>
          </p:nvPr>
        </p:nvSpPr>
        <p:spPr bwMode="auto">
          <a:xfrm>
            <a:off x="73167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6B2009E-1E4A-46EC-8EF2-DCA8FCC7A4EA}" type="datetime'''''''''''2''''''''''''''''''''''''''''''''''0'''''''''''''">
              <a:rPr lang="en-US" sz="1200">
                <a:solidFill>
                  <a:schemeClr val="tx1"/>
                </a:solidFill>
              </a:rPr>
              <a:pPr algn="ctr">
                <a:spcBef>
                  <a:spcPct val="0"/>
                </a:spcBef>
                <a:spcAft>
                  <a:spcPct val="0"/>
                </a:spcAft>
              </a:pPr>
              <a:t>20</a:t>
            </a:fld>
            <a:endParaRPr lang="en-US" sz="1200" dirty="0">
              <a:solidFill>
                <a:schemeClr val="tx1"/>
              </a:solidFill>
              <a:sym typeface="+mn-lt"/>
            </a:endParaRPr>
          </a:p>
        </p:txBody>
      </p:sp>
      <p:sp>
        <p:nvSpPr>
          <p:cNvPr id="19" name="Rectangle 18"/>
          <p:cNvSpPr/>
          <p:nvPr>
            <p:custDataLst>
              <p:tags r:id="rId15"/>
            </p:custDataLst>
          </p:nvPr>
        </p:nvSpPr>
        <p:spPr bwMode="auto">
          <a:xfrm>
            <a:off x="70119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37E7EE3-5A3E-4BAB-B7F1-BB6717A5956B}" type="datetime'''''''''''''''1''8'''''''''''''''">
              <a:rPr lang="en-US" sz="1200">
                <a:solidFill>
                  <a:schemeClr val="tx1"/>
                </a:solidFill>
              </a:rPr>
              <a:pPr algn="ctr">
                <a:spcBef>
                  <a:spcPct val="0"/>
                </a:spcBef>
                <a:spcAft>
                  <a:spcPct val="0"/>
                </a:spcAft>
              </a:pPr>
              <a:t>18</a:t>
            </a:fld>
            <a:endParaRPr lang="en-US" sz="1200" dirty="0">
              <a:solidFill>
                <a:schemeClr val="tx1"/>
              </a:solidFill>
              <a:sym typeface="+mn-lt"/>
            </a:endParaRPr>
          </a:p>
        </p:txBody>
      </p:sp>
      <p:sp>
        <p:nvSpPr>
          <p:cNvPr id="20" name="Rectangle 19"/>
          <p:cNvSpPr/>
          <p:nvPr>
            <p:custDataLst>
              <p:tags r:id="rId16"/>
            </p:custDataLst>
          </p:nvPr>
        </p:nvSpPr>
        <p:spPr bwMode="auto">
          <a:xfrm>
            <a:off x="67071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93E6658-D6CD-49B5-999D-43B6CDD6B4D6}" type="datetime'''''''''''''1''''2'''''''''''''''''''">
              <a:rPr lang="en-US" sz="1200">
                <a:solidFill>
                  <a:schemeClr val="tx1"/>
                </a:solidFill>
              </a:rPr>
              <a:pPr algn="ctr">
                <a:spcBef>
                  <a:spcPct val="0"/>
                </a:spcBef>
                <a:spcAft>
                  <a:spcPct val="0"/>
                </a:spcAft>
              </a:pPr>
              <a:t>12</a:t>
            </a:fld>
            <a:endParaRPr lang="en-US" sz="1200" dirty="0">
              <a:solidFill>
                <a:schemeClr val="tx1"/>
              </a:solidFill>
              <a:sym typeface="+mn-lt"/>
            </a:endParaRPr>
          </a:p>
        </p:txBody>
      </p:sp>
      <p:sp>
        <p:nvSpPr>
          <p:cNvPr id="21" name="Rectangle 20"/>
          <p:cNvSpPr/>
          <p:nvPr>
            <p:custDataLst>
              <p:tags r:id="rId17"/>
            </p:custDataLst>
          </p:nvPr>
        </p:nvSpPr>
        <p:spPr bwMode="auto">
          <a:xfrm>
            <a:off x="64023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69A2D5-E516-4FEB-BD92-B0972C506EED}" type="datetime'''1''''''''''''''1'">
              <a:rPr lang="en-US" sz="1200">
                <a:solidFill>
                  <a:schemeClr val="tx1"/>
                </a:solidFill>
              </a:rPr>
              <a:pPr algn="ctr">
                <a:spcBef>
                  <a:spcPct val="0"/>
                </a:spcBef>
                <a:spcAft>
                  <a:spcPct val="0"/>
                </a:spcAft>
              </a:pPr>
              <a:t>11</a:t>
            </a:fld>
            <a:endParaRPr lang="en-US" sz="1200" dirty="0">
              <a:solidFill>
                <a:schemeClr val="tx1"/>
              </a:solidFill>
              <a:sym typeface="+mn-lt"/>
            </a:endParaRPr>
          </a:p>
        </p:txBody>
      </p:sp>
      <p:sp>
        <p:nvSpPr>
          <p:cNvPr id="22" name="Rectangle 21"/>
          <p:cNvSpPr/>
          <p:nvPr>
            <p:custDataLst>
              <p:tags r:id="rId18"/>
            </p:custDataLst>
          </p:nvPr>
        </p:nvSpPr>
        <p:spPr bwMode="auto">
          <a:xfrm>
            <a:off x="6102350"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9529A48-5286-4052-B0DF-C9FB5F7D924A}" type="datetime'''''''''''''''''''''1''''''''''''''0'''''''''''''''''''''''''">
              <a:rPr lang="en-US" sz="1200">
                <a:solidFill>
                  <a:schemeClr val="tx1"/>
                </a:solidFill>
              </a:rPr>
              <a:pPr algn="ctr">
                <a:spcBef>
                  <a:spcPct val="0"/>
                </a:spcBef>
                <a:spcAft>
                  <a:spcPct val="0"/>
                </a:spcAft>
              </a:pPr>
              <a:t>10</a:t>
            </a:fld>
            <a:endParaRPr lang="en-US" sz="1200" dirty="0">
              <a:solidFill>
                <a:schemeClr val="tx1"/>
              </a:solidFill>
              <a:sym typeface="+mn-lt"/>
            </a:endParaRPr>
          </a:p>
        </p:txBody>
      </p:sp>
      <p:sp>
        <p:nvSpPr>
          <p:cNvPr id="23" name="Rectangle 22"/>
          <p:cNvSpPr/>
          <p:nvPr>
            <p:custDataLst>
              <p:tags r:id="rId19"/>
            </p:custDataLst>
          </p:nvPr>
        </p:nvSpPr>
        <p:spPr bwMode="auto">
          <a:xfrm>
            <a:off x="58420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1441B7D-DFD6-4150-A71E-462484E071ED}" type="datetime'''''9'''''''''''''''''''''''''''''''''''''''''''''''''''''''">
              <a:rPr lang="en-US" sz="1200">
                <a:solidFill>
                  <a:schemeClr val="tx1"/>
                </a:solidFill>
              </a:rPr>
              <a:pPr algn="ctr">
                <a:spcBef>
                  <a:spcPct val="0"/>
                </a:spcBef>
                <a:spcAft>
                  <a:spcPct val="0"/>
                </a:spcAft>
              </a:pPr>
              <a:t>9</a:t>
            </a:fld>
            <a:endParaRPr lang="en-US" sz="1200" dirty="0">
              <a:solidFill>
                <a:schemeClr val="tx1"/>
              </a:solidFill>
              <a:sym typeface="+mn-lt"/>
            </a:endParaRPr>
          </a:p>
        </p:txBody>
      </p:sp>
      <p:sp>
        <p:nvSpPr>
          <p:cNvPr id="24" name="Rectangle 23"/>
          <p:cNvSpPr/>
          <p:nvPr>
            <p:custDataLst>
              <p:tags r:id="rId20"/>
            </p:custDataLst>
          </p:nvPr>
        </p:nvSpPr>
        <p:spPr bwMode="auto">
          <a:xfrm>
            <a:off x="55372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3DC5F9-9897-423D-B2FA-88D9584A00C7}" type="datetime'''''''''''''''''8'''''''''''''''''''''''''''''''''''''''''">
              <a:rPr lang="en-US" sz="1200">
                <a:solidFill>
                  <a:schemeClr val="tx1"/>
                </a:solidFill>
              </a:rPr>
              <a:pPr algn="ctr">
                <a:spcBef>
                  <a:spcPct val="0"/>
                </a:spcBef>
                <a:spcAft>
                  <a:spcPct val="0"/>
                </a:spcAft>
              </a:pPr>
              <a:t>8</a:t>
            </a:fld>
            <a:endParaRPr lang="en-US" sz="1200" dirty="0">
              <a:solidFill>
                <a:schemeClr val="tx1"/>
              </a:solidFill>
              <a:sym typeface="+mn-lt"/>
            </a:endParaRPr>
          </a:p>
        </p:txBody>
      </p:sp>
      <p:sp>
        <p:nvSpPr>
          <p:cNvPr id="25" name="Rectangle 24"/>
          <p:cNvSpPr/>
          <p:nvPr>
            <p:custDataLst>
              <p:tags r:id="rId21"/>
            </p:custDataLst>
          </p:nvPr>
        </p:nvSpPr>
        <p:spPr bwMode="auto">
          <a:xfrm>
            <a:off x="52324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146D60F-C7D3-4332-A5CA-91B42BE711CA}" type="datetime'''''''''''''''''''''''''''7'''''''''">
              <a:rPr lang="en-US" sz="1200">
                <a:solidFill>
                  <a:schemeClr val="tx1"/>
                </a:solidFill>
              </a:rPr>
              <a:pPr algn="ctr">
                <a:spcBef>
                  <a:spcPct val="0"/>
                </a:spcBef>
                <a:spcAft>
                  <a:spcPct val="0"/>
                </a:spcAft>
              </a:pPr>
              <a:t>7</a:t>
            </a:fld>
            <a:endParaRPr lang="en-US" sz="1200" dirty="0">
              <a:solidFill>
                <a:schemeClr val="tx1"/>
              </a:solidFill>
              <a:sym typeface="+mn-lt"/>
            </a:endParaRPr>
          </a:p>
        </p:txBody>
      </p:sp>
      <p:sp>
        <p:nvSpPr>
          <p:cNvPr id="26" name="Rectangle 25"/>
          <p:cNvSpPr/>
          <p:nvPr>
            <p:custDataLst>
              <p:tags r:id="rId22"/>
            </p:custDataLst>
          </p:nvPr>
        </p:nvSpPr>
        <p:spPr bwMode="auto">
          <a:xfrm>
            <a:off x="49276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0AC450D-DF29-438D-A8D3-55B00E6A5035}" type="datetime'''''''''''''''''''''''''''''''''''''''''6'''''''''''''''">
              <a:rPr lang="en-US" sz="1200">
                <a:solidFill>
                  <a:schemeClr val="tx1"/>
                </a:solidFill>
              </a:rPr>
              <a:pPr algn="ctr">
                <a:spcBef>
                  <a:spcPct val="0"/>
                </a:spcBef>
                <a:spcAft>
                  <a:spcPct val="0"/>
                </a:spcAft>
              </a:pPr>
              <a:t>6</a:t>
            </a:fld>
            <a:endParaRPr lang="en-US" sz="1200" dirty="0">
              <a:solidFill>
                <a:schemeClr val="tx1"/>
              </a:solidFill>
              <a:sym typeface="+mn-lt"/>
            </a:endParaRPr>
          </a:p>
        </p:txBody>
      </p:sp>
      <p:sp>
        <p:nvSpPr>
          <p:cNvPr id="27" name="Rectangle 26"/>
          <p:cNvSpPr/>
          <p:nvPr>
            <p:custDataLst>
              <p:tags r:id="rId23"/>
            </p:custDataLst>
          </p:nvPr>
        </p:nvSpPr>
        <p:spPr bwMode="auto">
          <a:xfrm>
            <a:off x="46228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3EC88A6-C917-41BB-B37E-3F23C19DFB3B}" type="datetime'''''5'''''''''''''''''''''">
              <a:rPr lang="en-US" sz="1200">
                <a:solidFill>
                  <a:schemeClr val="tx1"/>
                </a:solidFill>
              </a:rPr>
              <a:pPr algn="ctr">
                <a:spcBef>
                  <a:spcPct val="0"/>
                </a:spcBef>
                <a:spcAft>
                  <a:spcPct val="0"/>
                </a:spcAft>
              </a:pPr>
              <a:t>5</a:t>
            </a:fld>
            <a:endParaRPr lang="en-US" sz="1200" dirty="0">
              <a:solidFill>
                <a:schemeClr val="tx1"/>
              </a:solidFill>
              <a:sym typeface="+mn-lt"/>
            </a:endParaRPr>
          </a:p>
        </p:txBody>
      </p:sp>
      <p:sp>
        <p:nvSpPr>
          <p:cNvPr id="28" name="Rectangle 27"/>
          <p:cNvSpPr/>
          <p:nvPr>
            <p:custDataLst>
              <p:tags r:id="rId24"/>
            </p:custDataLst>
          </p:nvPr>
        </p:nvSpPr>
        <p:spPr bwMode="auto">
          <a:xfrm>
            <a:off x="43180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300C483-59AF-45B1-9CD2-555FB016D028}" type="datetime'''''''''''''''''''''''''4'''''''''''''''''''''''''''''''''''''">
              <a:rPr lang="en-US" sz="1200">
                <a:solidFill>
                  <a:schemeClr val="tx1"/>
                </a:solidFill>
              </a:rPr>
              <a:pPr algn="ctr">
                <a:spcBef>
                  <a:spcPct val="0"/>
                </a:spcBef>
                <a:spcAft>
                  <a:spcPct val="0"/>
                </a:spcAft>
              </a:pPr>
              <a:t>4</a:t>
            </a:fld>
            <a:endParaRPr lang="en-US" sz="1200" dirty="0">
              <a:solidFill>
                <a:schemeClr val="tx1"/>
              </a:solidFill>
              <a:sym typeface="+mn-lt"/>
            </a:endParaRPr>
          </a:p>
        </p:txBody>
      </p:sp>
      <p:sp>
        <p:nvSpPr>
          <p:cNvPr id="29" name="Rectangle 28"/>
          <p:cNvSpPr/>
          <p:nvPr>
            <p:custDataLst>
              <p:tags r:id="rId25"/>
            </p:custDataLst>
          </p:nvPr>
        </p:nvSpPr>
        <p:spPr bwMode="auto">
          <a:xfrm>
            <a:off x="40132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58BC0A0-2E36-48FA-A2D4-CD7AD5C9CF02}" type="datetime'''''''''''''''''3'''''''''">
              <a:rPr lang="en-US" sz="1200">
                <a:solidFill>
                  <a:schemeClr val="tx1"/>
                </a:solidFill>
              </a:rPr>
              <a:pPr algn="ctr">
                <a:spcBef>
                  <a:spcPct val="0"/>
                </a:spcBef>
                <a:spcAft>
                  <a:spcPct val="0"/>
                </a:spcAft>
              </a:pPr>
              <a:t>3</a:t>
            </a:fld>
            <a:endParaRPr lang="en-US" sz="1200" dirty="0">
              <a:solidFill>
                <a:schemeClr val="tx1"/>
              </a:solidFill>
              <a:sym typeface="+mn-lt"/>
            </a:endParaRPr>
          </a:p>
        </p:txBody>
      </p:sp>
      <p:sp>
        <p:nvSpPr>
          <p:cNvPr id="30" name="Rectangle 29"/>
          <p:cNvSpPr/>
          <p:nvPr>
            <p:custDataLst>
              <p:tags r:id="rId26"/>
            </p:custDataLst>
          </p:nvPr>
        </p:nvSpPr>
        <p:spPr bwMode="auto">
          <a:xfrm>
            <a:off x="37084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579239B-B395-4528-8BB1-5E2790532EAE}" type="datetime'''''''''''''''''''''''''''''''''''''''''2'''''''''''''">
              <a:rPr lang="en-US" sz="1200">
                <a:solidFill>
                  <a:schemeClr val="tx1"/>
                </a:solidFill>
              </a:rPr>
              <a:pPr algn="ctr">
                <a:spcBef>
                  <a:spcPct val="0"/>
                </a:spcBef>
                <a:spcAft>
                  <a:spcPct val="0"/>
                </a:spcAft>
              </a:pPr>
              <a:t>2</a:t>
            </a:fld>
            <a:endParaRPr lang="en-US" sz="1200" dirty="0">
              <a:solidFill>
                <a:schemeClr val="tx1"/>
              </a:solidFill>
              <a:sym typeface="+mn-lt"/>
            </a:endParaRPr>
          </a:p>
        </p:txBody>
      </p:sp>
      <p:sp>
        <p:nvSpPr>
          <p:cNvPr id="31" name="Rectangle 30"/>
          <p:cNvSpPr/>
          <p:nvPr/>
        </p:nvSpPr>
        <p:spPr>
          <a:xfrm>
            <a:off x="3359150" y="1052513"/>
            <a:ext cx="5595241" cy="411209"/>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vykdytų daugiau nei viena kalba, pasiskirstymas pagal kalbų skaičių, vnt.</a:t>
            </a:r>
            <a:endParaRPr lang="lt-LT" sz="1200" dirty="0">
              <a:solidFill>
                <a:schemeClr val="bg1"/>
              </a:solidFill>
              <a:cs typeface="Cambria"/>
            </a:endParaRPr>
          </a:p>
        </p:txBody>
      </p:sp>
      <p:sp>
        <p:nvSpPr>
          <p:cNvPr id="32" name="Rectangle 31"/>
          <p:cNvSpPr/>
          <p:nvPr/>
        </p:nvSpPr>
        <p:spPr>
          <a:xfrm>
            <a:off x="3359150" y="1463675"/>
            <a:ext cx="5595241" cy="17430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33" name="Rectangle 32"/>
          <p:cNvSpPr/>
          <p:nvPr/>
        </p:nvSpPr>
        <p:spPr>
          <a:xfrm>
            <a:off x="358775" y="1055688"/>
            <a:ext cx="2909692" cy="40735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dalis pagal kalbų, kuriomis buvo vykdyti, skaičių, proc.</a:t>
            </a:r>
            <a:endParaRPr lang="lt-LT" sz="1200" dirty="0">
              <a:solidFill>
                <a:schemeClr val="bg1"/>
              </a:solidFill>
              <a:cs typeface="Cambria"/>
            </a:endParaRPr>
          </a:p>
        </p:txBody>
      </p:sp>
      <p:sp>
        <p:nvSpPr>
          <p:cNvPr id="34" name="Rectangle 33"/>
          <p:cNvSpPr/>
          <p:nvPr/>
        </p:nvSpPr>
        <p:spPr>
          <a:xfrm>
            <a:off x="358775" y="1463675"/>
            <a:ext cx="2909692" cy="17430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3" name="Rectangle 82"/>
          <p:cNvSpPr/>
          <p:nvPr/>
        </p:nvSpPr>
        <p:spPr>
          <a:xfrm>
            <a:off x="371475" y="3484563"/>
            <a:ext cx="8568951" cy="263736"/>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kalbas, kuriomis buvo vykdyti, vnt.</a:t>
            </a:r>
            <a:endParaRPr lang="lt-LT" sz="1100" dirty="0">
              <a:solidFill>
                <a:schemeClr val="bg1"/>
              </a:solidFill>
              <a:cs typeface="Cambria"/>
            </a:endParaRPr>
          </a:p>
        </p:txBody>
      </p:sp>
      <p:sp>
        <p:nvSpPr>
          <p:cNvPr id="84" name="Rectangle 83"/>
          <p:cNvSpPr/>
          <p:nvPr/>
        </p:nvSpPr>
        <p:spPr>
          <a:xfrm>
            <a:off x="371475" y="3748088"/>
            <a:ext cx="8568951" cy="204402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85" name="Object 84"/>
          <p:cNvGraphicFramePr>
            <a:graphicFrameLocks/>
          </p:cNvGraphicFramePr>
          <p:nvPr>
            <p:custDataLst>
              <p:tags r:id="rId27"/>
            </p:custDataLst>
            <p:extLst>
              <p:ext uri="{D42A27DB-BD31-4B8C-83A1-F6EECF244321}">
                <p14:modId xmlns:p14="http://schemas.microsoft.com/office/powerpoint/2010/main" val="3199722068"/>
              </p:ext>
            </p:extLst>
          </p:nvPr>
        </p:nvGraphicFramePr>
        <p:xfrm>
          <a:off x="457200" y="4038600"/>
          <a:ext cx="8153423" cy="1247670"/>
        </p:xfrm>
        <a:graphic>
          <a:graphicData uri="http://schemas.openxmlformats.org/presentationml/2006/ole">
            <mc:AlternateContent xmlns:mc="http://schemas.openxmlformats.org/markup-compatibility/2006">
              <mc:Choice xmlns:v="urn:schemas-microsoft-com:vml" Requires="v">
                <p:oleObj spid="_x0000_s24625" name="Chart" r:id="rId87" imgW="8153429" imgH="1247782" progId="MSGraph.Chart.8">
                  <p:embed followColorScheme="full"/>
                </p:oleObj>
              </mc:Choice>
              <mc:Fallback>
                <p:oleObj name="Chart" r:id="rId87" imgW="8153429" imgH="1247782" progId="MSGraph.Chart.8">
                  <p:embed followColorScheme="full"/>
                  <p:pic>
                    <p:nvPicPr>
                      <p:cNvPr id="0" name=""/>
                      <p:cNvPicPr/>
                      <p:nvPr/>
                    </p:nvPicPr>
                    <p:blipFill>
                      <a:blip r:embed="rId88"/>
                      <a:stretch>
                        <a:fillRect/>
                      </a:stretch>
                    </p:blipFill>
                    <p:spPr>
                      <a:xfrm>
                        <a:off x="457200" y="4038600"/>
                        <a:ext cx="8153423" cy="1247670"/>
                      </a:xfrm>
                      <a:prstGeom prst="rect">
                        <a:avLst/>
                      </a:prstGeom>
                    </p:spPr>
                  </p:pic>
                </p:oleObj>
              </mc:Fallback>
            </mc:AlternateContent>
          </a:graphicData>
        </a:graphic>
      </p:graphicFrame>
      <p:sp>
        <p:nvSpPr>
          <p:cNvPr id="86" name="Rectangle 85"/>
          <p:cNvSpPr/>
          <p:nvPr>
            <p:custDataLst>
              <p:tags r:id="rId28"/>
            </p:custDataLst>
          </p:nvPr>
        </p:nvSpPr>
        <p:spPr bwMode="auto">
          <a:xfrm flipV="1">
            <a:off x="8277225" y="5289550"/>
            <a:ext cx="152400"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67430BD-A6B7-456F-BEE3-CE03A1BF51F3}" type="datetime'''K''''''''ro''''''''''''''at''''''''''''''''''''''''''ų'''">
              <a:rPr lang="en-US" sz="1000">
                <a:solidFill>
                  <a:schemeClr val="tx1"/>
                </a:solidFill>
              </a:rPr>
              <a:pPr algn="r">
                <a:spcBef>
                  <a:spcPct val="0"/>
                </a:spcBef>
                <a:spcAft>
                  <a:spcPct val="0"/>
                </a:spcAft>
              </a:pPr>
              <a:t>Kroatų</a:t>
            </a:fld>
            <a:endParaRPr lang="en-US" sz="1000" dirty="0">
              <a:solidFill>
                <a:schemeClr val="tx1"/>
              </a:solidFill>
              <a:sym typeface="+mn-lt"/>
            </a:endParaRPr>
          </a:p>
        </p:txBody>
      </p:sp>
      <p:sp>
        <p:nvSpPr>
          <p:cNvPr id="87" name="Rectangle 86"/>
          <p:cNvSpPr/>
          <p:nvPr>
            <p:custDataLst>
              <p:tags r:id="rId29"/>
            </p:custDataLst>
          </p:nvPr>
        </p:nvSpPr>
        <p:spPr bwMode="gray">
          <a:xfrm>
            <a:off x="82200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26E13E7-2D7F-4FFF-B01F-BECEC74EC833}" type="datetime'''''''''''1''''''''''''''''2'''">
              <a:rPr lang="en-US" sz="1000">
                <a:solidFill>
                  <a:schemeClr val="tx1"/>
                </a:solidFill>
              </a:rPr>
              <a:pPr algn="ctr">
                <a:spcBef>
                  <a:spcPct val="0"/>
                </a:spcBef>
                <a:spcAft>
                  <a:spcPct val="0"/>
                </a:spcAft>
              </a:pPr>
              <a:t>1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2E72D153-9CE5-4AA1-A7F7-7DF636DDE9C7}"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88" name="Rectangle 87"/>
          <p:cNvSpPr/>
          <p:nvPr>
            <p:custDataLst>
              <p:tags r:id="rId30"/>
            </p:custDataLst>
          </p:nvPr>
        </p:nvSpPr>
        <p:spPr bwMode="auto">
          <a:xfrm flipV="1">
            <a:off x="7972425" y="5289550"/>
            <a:ext cx="152400" cy="3127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1EFFAA8-4CE0-4D78-A4E6-3BA6D05CB4D1}" type="datetime'''Š''''''''''''''''''''''''v''''''ed''''''''''''''''''ų'">
              <a:rPr lang="en-US" sz="1000">
                <a:solidFill>
                  <a:schemeClr val="tx1"/>
                </a:solidFill>
              </a:rPr>
              <a:pPr algn="r">
                <a:spcBef>
                  <a:spcPct val="0"/>
                </a:spcBef>
                <a:spcAft>
                  <a:spcPct val="0"/>
                </a:spcAft>
              </a:pPr>
              <a:t>Švedų</a:t>
            </a:fld>
            <a:endParaRPr lang="en-US" sz="1000" dirty="0">
              <a:solidFill>
                <a:schemeClr val="tx1"/>
              </a:solidFill>
              <a:sym typeface="+mn-lt"/>
            </a:endParaRPr>
          </a:p>
        </p:txBody>
      </p:sp>
      <p:sp>
        <p:nvSpPr>
          <p:cNvPr id="89" name="Rectangle 88"/>
          <p:cNvSpPr/>
          <p:nvPr>
            <p:custDataLst>
              <p:tags r:id="rId31"/>
            </p:custDataLst>
          </p:nvPr>
        </p:nvSpPr>
        <p:spPr bwMode="gray">
          <a:xfrm>
            <a:off x="79152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886E85F-88DA-4B91-8B9E-1C3963A1AA1E}" type="datetime'''''''''''''''''''''''2''''0'''''''''''''''''''''''''''''''">
              <a:rPr lang="en-US" sz="1000">
                <a:solidFill>
                  <a:schemeClr val="tx1"/>
                </a:solidFill>
              </a:rPr>
              <a:pPr algn="ctr">
                <a:spcBef>
                  <a:spcPct val="0"/>
                </a:spcBef>
                <a:spcAft>
                  <a:spcPct val="0"/>
                </a:spcAft>
              </a:pPr>
              <a:t>2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741A5AEB-525D-4F8D-93EB-93B9231621F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0" name="Rectangle 89"/>
          <p:cNvSpPr/>
          <p:nvPr>
            <p:custDataLst>
              <p:tags r:id="rId32"/>
            </p:custDataLst>
          </p:nvPr>
        </p:nvSpPr>
        <p:spPr bwMode="auto">
          <a:xfrm flipV="1">
            <a:off x="7667625" y="5289550"/>
            <a:ext cx="152400" cy="3889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081B90F-9A18-4EB5-B99D-55FB7FB66214}" type="datetime'S''''''''''''uom''''''i''''''''''''''''''ų'''''''">
              <a:rPr lang="en-US" sz="1000">
                <a:solidFill>
                  <a:schemeClr val="tx1"/>
                </a:solidFill>
              </a:rPr>
              <a:pPr algn="r">
                <a:spcBef>
                  <a:spcPct val="0"/>
                </a:spcBef>
                <a:spcAft>
                  <a:spcPct val="0"/>
                </a:spcAft>
              </a:pPr>
              <a:t>Suomių</a:t>
            </a:fld>
            <a:endParaRPr lang="en-US" sz="1000" dirty="0">
              <a:solidFill>
                <a:schemeClr val="tx1"/>
              </a:solidFill>
              <a:sym typeface="+mn-lt"/>
            </a:endParaRPr>
          </a:p>
        </p:txBody>
      </p:sp>
      <p:sp>
        <p:nvSpPr>
          <p:cNvPr id="91" name="Rectangle 90"/>
          <p:cNvSpPr/>
          <p:nvPr>
            <p:custDataLst>
              <p:tags r:id="rId33"/>
            </p:custDataLst>
          </p:nvPr>
        </p:nvSpPr>
        <p:spPr bwMode="gray">
          <a:xfrm>
            <a:off x="76104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58506E0-2D70-422B-9DDD-37B315ED21B2}" type="datetime'''''''''''''''''''''''''''2''''''''''''''''1'">
              <a:rPr lang="en-US" sz="1000">
                <a:solidFill>
                  <a:schemeClr val="tx1"/>
                </a:solidFill>
              </a:rPr>
              <a:pPr algn="ctr">
                <a:spcBef>
                  <a:spcPct val="0"/>
                </a:spcBef>
                <a:spcAft>
                  <a:spcPct val="0"/>
                </a:spcAft>
              </a:pPr>
              <a:t>2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2B9AAD29-3C65-4475-8FB8-9A1D14CFA21E}"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2" name="Rectangle 91"/>
          <p:cNvSpPr/>
          <p:nvPr>
            <p:custDataLst>
              <p:tags r:id="rId34"/>
            </p:custDataLst>
          </p:nvPr>
        </p:nvSpPr>
        <p:spPr bwMode="auto">
          <a:xfrm flipV="1">
            <a:off x="7362825" y="5289550"/>
            <a:ext cx="152400" cy="4413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E864340-BB03-4B8E-B1F5-998CE59B0E6B}" type="datetime'''''N''''''''''''''o''''''''''''rv''''eg''ų'''''''">
              <a:rPr lang="en-US" sz="1000">
                <a:solidFill>
                  <a:schemeClr val="tx1"/>
                </a:solidFill>
              </a:rPr>
              <a:pPr algn="r">
                <a:spcBef>
                  <a:spcPct val="0"/>
                </a:spcBef>
                <a:spcAft>
                  <a:spcPct val="0"/>
                </a:spcAft>
              </a:pPr>
              <a:t>Norvegų</a:t>
            </a:fld>
            <a:endParaRPr lang="en-US" sz="1000" dirty="0">
              <a:solidFill>
                <a:schemeClr val="tx1"/>
              </a:solidFill>
              <a:sym typeface="+mn-lt"/>
            </a:endParaRPr>
          </a:p>
        </p:txBody>
      </p:sp>
      <p:sp>
        <p:nvSpPr>
          <p:cNvPr id="93" name="Rectangle 92"/>
          <p:cNvSpPr/>
          <p:nvPr>
            <p:custDataLst>
              <p:tags r:id="rId35"/>
            </p:custDataLst>
          </p:nvPr>
        </p:nvSpPr>
        <p:spPr bwMode="gray">
          <a:xfrm>
            <a:off x="73056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F5748C7-0CEA-4016-AC2B-9EDAD6D9C145}" type="datetime'''''''2''''''''''''2'''''''''''''''''''''''''''''''''">
              <a:rPr lang="en-US" sz="1000">
                <a:solidFill>
                  <a:schemeClr val="tx1"/>
                </a:solidFill>
              </a:rPr>
              <a:pPr algn="ctr">
                <a:spcBef>
                  <a:spcPct val="0"/>
                </a:spcBef>
                <a:spcAft>
                  <a:spcPct val="0"/>
                </a:spcAft>
              </a:pPr>
              <a:t>2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9A5576B-8B12-4BB5-BBE0-B637EDC6DF4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4" name="Rectangle 93"/>
          <p:cNvSpPr/>
          <p:nvPr>
            <p:custDataLst>
              <p:tags r:id="rId36"/>
            </p:custDataLst>
          </p:nvPr>
        </p:nvSpPr>
        <p:spPr bwMode="auto">
          <a:xfrm flipV="1">
            <a:off x="7058025" y="5289550"/>
            <a:ext cx="152400" cy="4810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0BB79D2-DB3F-43EA-99B6-6BD189885B3A}" type="datetime'''M''''''al''''''''''''ti''''e''''''''''''''či''''''''''''ų'''">
              <a:rPr lang="en-US" sz="1000">
                <a:solidFill>
                  <a:schemeClr val="tx1"/>
                </a:solidFill>
              </a:rPr>
              <a:pPr algn="r">
                <a:spcBef>
                  <a:spcPct val="0"/>
                </a:spcBef>
                <a:spcAft>
                  <a:spcPct val="0"/>
                </a:spcAft>
              </a:pPr>
              <a:t>Maltiečių</a:t>
            </a:fld>
            <a:endParaRPr lang="en-US" sz="1000" dirty="0">
              <a:solidFill>
                <a:schemeClr val="tx1"/>
              </a:solidFill>
              <a:sym typeface="+mn-lt"/>
            </a:endParaRPr>
          </a:p>
        </p:txBody>
      </p:sp>
      <p:sp>
        <p:nvSpPr>
          <p:cNvPr id="95" name="Rectangle 94"/>
          <p:cNvSpPr/>
          <p:nvPr>
            <p:custDataLst>
              <p:tags r:id="rId37"/>
            </p:custDataLst>
          </p:nvPr>
        </p:nvSpPr>
        <p:spPr bwMode="gray">
          <a:xfrm>
            <a:off x="70008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581C1DA-9A33-414B-83C0-02FDAAA626C8}" type="datetime'''''''2''''''''''''2'''''''''''''''''''''''''''''''''">
              <a:rPr lang="en-US" sz="1000">
                <a:solidFill>
                  <a:schemeClr val="tx1"/>
                </a:solidFill>
              </a:rPr>
              <a:pPr algn="ctr">
                <a:spcBef>
                  <a:spcPct val="0"/>
                </a:spcBef>
                <a:spcAft>
                  <a:spcPct val="0"/>
                </a:spcAft>
              </a:pPr>
              <a:t>2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294982C-C6A3-485E-8548-395285DF391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6" name="Rectangle 95"/>
          <p:cNvSpPr/>
          <p:nvPr>
            <p:custDataLst>
              <p:tags r:id="rId38"/>
            </p:custDataLst>
          </p:nvPr>
        </p:nvSpPr>
        <p:spPr bwMode="auto">
          <a:xfrm flipV="1">
            <a:off x="6753225" y="5289550"/>
            <a:ext cx="152400" cy="2714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7104E23-B602-4173-A2DC-DB078EA4DF7D}" type="datetime'''''''Da''n''ų'''''''''''''''''''''''''''''''''''''''''''''">
              <a:rPr lang="en-US" sz="1000">
                <a:solidFill>
                  <a:schemeClr val="tx1"/>
                </a:solidFill>
              </a:rPr>
              <a:pPr algn="r">
                <a:spcBef>
                  <a:spcPct val="0"/>
                </a:spcBef>
                <a:spcAft>
                  <a:spcPct val="0"/>
                </a:spcAft>
              </a:pPr>
              <a:t>Danų</a:t>
            </a:fld>
            <a:endParaRPr lang="en-US" sz="1000" dirty="0">
              <a:solidFill>
                <a:schemeClr val="tx1"/>
              </a:solidFill>
              <a:sym typeface="+mn-lt"/>
            </a:endParaRPr>
          </a:p>
        </p:txBody>
      </p:sp>
      <p:sp>
        <p:nvSpPr>
          <p:cNvPr id="97" name="Rectangle 96"/>
          <p:cNvSpPr/>
          <p:nvPr>
            <p:custDataLst>
              <p:tags r:id="rId39"/>
            </p:custDataLst>
          </p:nvPr>
        </p:nvSpPr>
        <p:spPr bwMode="gray">
          <a:xfrm>
            <a:off x="66960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E3DAA8A-CDF0-4A09-90FF-576388053640}" type="datetime'''''''''2''''''''''''''5'''''''''''''">
              <a:rPr lang="en-US" sz="1000">
                <a:solidFill>
                  <a:schemeClr val="tx1"/>
                </a:solidFill>
              </a:rPr>
              <a:pPr algn="ctr">
                <a:spcBef>
                  <a:spcPct val="0"/>
                </a:spcBef>
                <a:spcAft>
                  <a:spcPct val="0"/>
                </a:spcAft>
              </a:pPr>
              <a:t>2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A18527D-7EC4-42DF-B0E9-1DE0938E5808}"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8" name="Rectangle 97"/>
          <p:cNvSpPr/>
          <p:nvPr>
            <p:custDataLst>
              <p:tags r:id="rId40"/>
            </p:custDataLst>
          </p:nvPr>
        </p:nvSpPr>
        <p:spPr bwMode="auto">
          <a:xfrm flipV="1">
            <a:off x="6448425" y="5289550"/>
            <a:ext cx="152400" cy="3730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0951CAF-6D8E-419F-A989-D4D434BA9D92}" type="datetime'''''''''''''''''''''V''e''n''''g''r''''''''''''''''''''ų'''''">
              <a:rPr lang="en-US" sz="1000">
                <a:solidFill>
                  <a:schemeClr val="tx1"/>
                </a:solidFill>
              </a:rPr>
              <a:pPr algn="r">
                <a:spcBef>
                  <a:spcPct val="0"/>
                </a:spcBef>
                <a:spcAft>
                  <a:spcPct val="0"/>
                </a:spcAft>
              </a:pPr>
              <a:t>Vengrų</a:t>
            </a:fld>
            <a:endParaRPr lang="en-US" sz="1000" dirty="0">
              <a:solidFill>
                <a:schemeClr val="tx1"/>
              </a:solidFill>
              <a:sym typeface="+mn-lt"/>
            </a:endParaRPr>
          </a:p>
        </p:txBody>
      </p:sp>
      <p:sp>
        <p:nvSpPr>
          <p:cNvPr id="99" name="Rectangle 98"/>
          <p:cNvSpPr/>
          <p:nvPr>
            <p:custDataLst>
              <p:tags r:id="rId41"/>
            </p:custDataLst>
          </p:nvPr>
        </p:nvSpPr>
        <p:spPr bwMode="gray">
          <a:xfrm>
            <a:off x="63912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B9562AC-020E-42D8-B9D2-2CC6225240EE}" type="datetime'''3''''''''''0'''''''''''''''''''''''''''">
              <a:rPr lang="en-US" sz="1000">
                <a:solidFill>
                  <a:schemeClr val="tx1"/>
                </a:solidFill>
              </a:rPr>
              <a:pPr algn="ctr">
                <a:spcBef>
                  <a:spcPct val="0"/>
                </a:spcBef>
                <a:spcAft>
                  <a:spcPct val="0"/>
                </a:spcAft>
              </a:pPr>
              <a:t>3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106C791-669E-492B-B415-ABA07643996B}"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0" name="Rectangle 99"/>
          <p:cNvSpPr/>
          <p:nvPr>
            <p:custDataLst>
              <p:tags r:id="rId42"/>
            </p:custDataLst>
          </p:nvPr>
        </p:nvSpPr>
        <p:spPr bwMode="auto">
          <a:xfrm flipV="1">
            <a:off x="6143625" y="5289550"/>
            <a:ext cx="152400" cy="220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4B6B603-6BF2-4281-8CE7-BE81DE27D213}" type="datetime'''''''''''E''''s''''''''''''''''''''''''t''''''ų'''''''">
              <a:rPr lang="en-US" sz="1000">
                <a:solidFill>
                  <a:schemeClr val="tx1"/>
                </a:solidFill>
              </a:rPr>
              <a:pPr algn="r">
                <a:spcBef>
                  <a:spcPct val="0"/>
                </a:spcBef>
                <a:spcAft>
                  <a:spcPct val="0"/>
                </a:spcAft>
              </a:pPr>
              <a:t>Estų</a:t>
            </a:fld>
            <a:endParaRPr lang="en-US" sz="1000" dirty="0">
              <a:solidFill>
                <a:schemeClr val="tx1"/>
              </a:solidFill>
              <a:sym typeface="+mn-lt"/>
            </a:endParaRPr>
          </a:p>
        </p:txBody>
      </p:sp>
      <p:sp>
        <p:nvSpPr>
          <p:cNvPr id="101" name="Rectangle 100"/>
          <p:cNvSpPr/>
          <p:nvPr>
            <p:custDataLst>
              <p:tags r:id="rId43"/>
            </p:custDataLst>
          </p:nvPr>
        </p:nvSpPr>
        <p:spPr bwMode="gray">
          <a:xfrm>
            <a:off x="60864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34ECBA0-E520-405D-88C6-991BB043B184}" type="datetime'3''''''''''''''2'''''''''">
              <a:rPr lang="en-US" sz="1000">
                <a:solidFill>
                  <a:schemeClr val="tx1"/>
                </a:solidFill>
              </a:rPr>
              <a:pPr algn="ctr">
                <a:spcBef>
                  <a:spcPct val="0"/>
                </a:spcBef>
                <a:spcAft>
                  <a:spcPct val="0"/>
                </a:spcAft>
              </a:pPr>
              <a:t>3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F12BFC6-A315-4C1A-99E1-A7ABF3D0E752}"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2" name="Rectangle 101"/>
          <p:cNvSpPr/>
          <p:nvPr>
            <p:custDataLst>
              <p:tags r:id="rId44"/>
            </p:custDataLst>
          </p:nvPr>
        </p:nvSpPr>
        <p:spPr bwMode="auto">
          <a:xfrm flipV="1">
            <a:off x="5838825" y="5289550"/>
            <a:ext cx="152400" cy="3730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4CE1443-A70E-478A-A452-E91ACABAD00F}" type="datetime'''''''''''''O''l''''''''''''''''a''''''''n''''''''''d''''''ų'">
              <a:rPr lang="en-US" sz="1000">
                <a:solidFill>
                  <a:schemeClr val="tx1"/>
                </a:solidFill>
              </a:rPr>
              <a:pPr algn="r">
                <a:spcBef>
                  <a:spcPct val="0"/>
                </a:spcBef>
                <a:spcAft>
                  <a:spcPct val="0"/>
                </a:spcAft>
              </a:pPr>
              <a:t>Olandų</a:t>
            </a:fld>
            <a:endParaRPr lang="en-US" sz="1000" dirty="0">
              <a:solidFill>
                <a:schemeClr val="tx1"/>
              </a:solidFill>
              <a:sym typeface="+mn-lt"/>
            </a:endParaRPr>
          </a:p>
        </p:txBody>
      </p:sp>
      <p:sp>
        <p:nvSpPr>
          <p:cNvPr id="103" name="Rectangle 102"/>
          <p:cNvSpPr/>
          <p:nvPr>
            <p:custDataLst>
              <p:tags r:id="rId45"/>
            </p:custDataLst>
          </p:nvPr>
        </p:nvSpPr>
        <p:spPr bwMode="gray">
          <a:xfrm>
            <a:off x="57816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BFDAB24-7AA4-4C0C-AC0B-6B2CD5E84A3E}" type="datetime'''''''''''''''''''''3''''''''''''''''''''''3'''''">
              <a:rPr lang="en-US" sz="1000">
                <a:solidFill>
                  <a:schemeClr val="tx1"/>
                </a:solidFill>
              </a:rPr>
              <a:pPr algn="ctr">
                <a:spcBef>
                  <a:spcPct val="0"/>
                </a:spcBef>
                <a:spcAft>
                  <a:spcPct val="0"/>
                </a:spcAft>
              </a:pPr>
              <a:t>3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54911AF-3F44-4C2D-81C1-D6B488CC8E9D}"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4" name="Rectangle 103"/>
          <p:cNvSpPr/>
          <p:nvPr>
            <p:custDataLst>
              <p:tags r:id="rId46"/>
            </p:custDataLst>
          </p:nvPr>
        </p:nvSpPr>
        <p:spPr bwMode="auto">
          <a:xfrm flipV="1">
            <a:off x="5534025" y="528955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3154D86-FFCA-4CA1-A4ED-41873A31FC1D}" type="datetime'S''''''''''''''''''lo''''''''v''''ė''''''''''''n''''ų'''''">
              <a:rPr lang="en-US" sz="1000">
                <a:solidFill>
                  <a:schemeClr val="tx1"/>
                </a:solidFill>
              </a:rPr>
              <a:pPr algn="r">
                <a:spcBef>
                  <a:spcPct val="0"/>
                </a:spcBef>
                <a:spcAft>
                  <a:spcPct val="0"/>
                </a:spcAft>
              </a:pPr>
              <a:t>Slovėnų</a:t>
            </a:fld>
            <a:endParaRPr lang="en-US" sz="1000" dirty="0">
              <a:solidFill>
                <a:schemeClr val="tx1"/>
              </a:solidFill>
              <a:sym typeface="+mn-lt"/>
            </a:endParaRPr>
          </a:p>
        </p:txBody>
      </p:sp>
      <p:sp>
        <p:nvSpPr>
          <p:cNvPr id="105" name="Rectangle 104"/>
          <p:cNvSpPr/>
          <p:nvPr>
            <p:custDataLst>
              <p:tags r:id="rId47"/>
            </p:custDataLst>
          </p:nvPr>
        </p:nvSpPr>
        <p:spPr bwMode="gray">
          <a:xfrm>
            <a:off x="54768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EC92D81-FD50-432C-A8DE-2EB836AF758F}" type="datetime'''''''''''''''''''''''''''3''''''''6'''''''''''''''''''''">
              <a:rPr lang="en-US" sz="1000">
                <a:solidFill>
                  <a:schemeClr val="tx1"/>
                </a:solidFill>
              </a:rPr>
              <a:pPr algn="ctr">
                <a:spcBef>
                  <a:spcPct val="0"/>
                </a:spcBef>
                <a:spcAft>
                  <a:spcPct val="0"/>
                </a:spcAft>
              </a:pPr>
              <a:t>3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DC79E5D-2E9B-4776-9FE4-52008D6144EF}"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6" name="Rectangle 105"/>
          <p:cNvSpPr/>
          <p:nvPr>
            <p:custDataLst>
              <p:tags r:id="rId48"/>
            </p:custDataLst>
          </p:nvPr>
        </p:nvSpPr>
        <p:spPr bwMode="auto">
          <a:xfrm flipV="1">
            <a:off x="5229225" y="5289550"/>
            <a:ext cx="152400" cy="250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9FE0EA0-8E90-41B9-9B8B-67E5B6C21456}" type="datetime'''''''''''''''R''u''''''''''s''''''''''ų'''">
              <a:rPr lang="en-US" sz="1000">
                <a:solidFill>
                  <a:schemeClr val="tx1"/>
                </a:solidFill>
              </a:rPr>
              <a:pPr algn="r">
                <a:spcBef>
                  <a:spcPct val="0"/>
                </a:spcBef>
                <a:spcAft>
                  <a:spcPct val="0"/>
                </a:spcAft>
              </a:pPr>
              <a:t>Rusų</a:t>
            </a:fld>
            <a:endParaRPr lang="en-US" sz="1000" dirty="0">
              <a:solidFill>
                <a:schemeClr val="tx1"/>
              </a:solidFill>
              <a:sym typeface="+mn-lt"/>
            </a:endParaRPr>
          </a:p>
        </p:txBody>
      </p:sp>
      <p:sp>
        <p:nvSpPr>
          <p:cNvPr id="107" name="Rectangle 106"/>
          <p:cNvSpPr/>
          <p:nvPr>
            <p:custDataLst>
              <p:tags r:id="rId49"/>
            </p:custDataLst>
          </p:nvPr>
        </p:nvSpPr>
        <p:spPr bwMode="gray">
          <a:xfrm>
            <a:off x="51720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99C5ADF-6077-4751-95DA-FB680877C524}" type="datetime'3''''''''''''''''''7'''''''''''''''''''''">
              <a:rPr lang="en-US" sz="1000">
                <a:solidFill>
                  <a:schemeClr val="tx1"/>
                </a:solidFill>
              </a:rPr>
              <a:pPr algn="ctr">
                <a:spcBef>
                  <a:spcPct val="0"/>
                </a:spcBef>
                <a:spcAft>
                  <a:spcPct val="0"/>
                </a:spcAft>
              </a:pPr>
              <a:t>3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4ABF5A9-51F5-4C9D-9B44-13259D7AF47E}"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8" name="Rectangle 107"/>
          <p:cNvSpPr/>
          <p:nvPr>
            <p:custDataLst>
              <p:tags r:id="rId50"/>
            </p:custDataLst>
          </p:nvPr>
        </p:nvSpPr>
        <p:spPr bwMode="auto">
          <a:xfrm flipV="1">
            <a:off x="4924425" y="5289550"/>
            <a:ext cx="152400" cy="5016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F9BF97-2E2E-4233-95E8-D77920359E4F}" type="datetime'''''''''Po''''''''''r''tu''''''ga''''l''ų'''''''">
              <a:rPr lang="en-US" sz="1000">
                <a:solidFill>
                  <a:schemeClr val="tx1"/>
                </a:solidFill>
              </a:rPr>
              <a:pPr algn="r">
                <a:spcBef>
                  <a:spcPct val="0"/>
                </a:spcBef>
                <a:spcAft>
                  <a:spcPct val="0"/>
                </a:spcAft>
              </a:pPr>
              <a:t>Portugalų</a:t>
            </a:fld>
            <a:endParaRPr lang="en-US" sz="1000" dirty="0">
              <a:solidFill>
                <a:schemeClr val="tx1"/>
              </a:solidFill>
              <a:sym typeface="+mn-lt"/>
            </a:endParaRPr>
          </a:p>
        </p:txBody>
      </p:sp>
      <p:sp>
        <p:nvSpPr>
          <p:cNvPr id="109" name="Rectangle 108"/>
          <p:cNvSpPr/>
          <p:nvPr>
            <p:custDataLst>
              <p:tags r:id="rId51"/>
            </p:custDataLst>
          </p:nvPr>
        </p:nvSpPr>
        <p:spPr bwMode="gray">
          <a:xfrm>
            <a:off x="48672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3E463EC-0B9F-46AA-A5F2-C675C5D548C0}" type="datetime'4''0'''''''''''''''''''''''''''">
              <a:rPr lang="en-US" sz="1000">
                <a:solidFill>
                  <a:schemeClr val="tx1"/>
                </a:solidFill>
              </a:rPr>
              <a:pPr algn="ctr">
                <a:spcBef>
                  <a:spcPct val="0"/>
                </a:spcBef>
                <a:spcAft>
                  <a:spcPct val="0"/>
                </a:spcAft>
              </a:pPr>
              <a:t>4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BDF8C9E-E38A-4FE3-B9E5-B8E6A818F378}"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10" name="Rectangle 109"/>
          <p:cNvSpPr/>
          <p:nvPr>
            <p:custDataLst>
              <p:tags r:id="rId52"/>
            </p:custDataLst>
          </p:nvPr>
        </p:nvSpPr>
        <p:spPr bwMode="auto">
          <a:xfrm flipV="1">
            <a:off x="4619625" y="5289550"/>
            <a:ext cx="152400" cy="396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1729CB0-BB9B-4AA4-B905-C61ED2908672}" type="datetime'''''''''''''''''B''''''u''''''''''l''gar''''''ų'''''''''''">
              <a:rPr lang="en-US" sz="1000">
                <a:solidFill>
                  <a:schemeClr val="tx1"/>
                </a:solidFill>
              </a:rPr>
              <a:pPr algn="r">
                <a:spcBef>
                  <a:spcPct val="0"/>
                </a:spcBef>
                <a:spcAft>
                  <a:spcPct val="0"/>
                </a:spcAft>
              </a:pPr>
              <a:t>Bulgarų</a:t>
            </a:fld>
            <a:endParaRPr lang="en-US" sz="1000" dirty="0">
              <a:solidFill>
                <a:schemeClr val="tx1"/>
              </a:solidFill>
              <a:sym typeface="+mn-lt"/>
            </a:endParaRPr>
          </a:p>
        </p:txBody>
      </p:sp>
      <p:sp>
        <p:nvSpPr>
          <p:cNvPr id="111" name="Rectangle 110"/>
          <p:cNvSpPr/>
          <p:nvPr>
            <p:custDataLst>
              <p:tags r:id="rId53"/>
            </p:custDataLst>
          </p:nvPr>
        </p:nvSpPr>
        <p:spPr bwMode="gray">
          <a:xfrm>
            <a:off x="45624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AA94165-7A60-4570-BCB2-C9FCA8139000}" type="datetime'''''''4''''''''''''''''''''6'''''''''''">
              <a:rPr lang="en-US" sz="1000">
                <a:solidFill>
                  <a:schemeClr val="tx1"/>
                </a:solidFill>
              </a:rPr>
              <a:pPr algn="ctr">
                <a:spcBef>
                  <a:spcPct val="0"/>
                </a:spcBef>
                <a:spcAft>
                  <a:spcPct val="0"/>
                </a:spcAft>
              </a:pPr>
              <a:t>4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3D97DD3-0050-4C17-AD7E-A511467E7E83}"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2" name="Rectangle 111"/>
          <p:cNvSpPr/>
          <p:nvPr>
            <p:custDataLst>
              <p:tags r:id="rId54"/>
            </p:custDataLst>
          </p:nvPr>
        </p:nvSpPr>
        <p:spPr bwMode="auto">
          <a:xfrm flipV="1">
            <a:off x="4314825" y="5289550"/>
            <a:ext cx="152400" cy="395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5A62F47-70A1-4115-8992-E4C956A38CE0}" type="datetime'''''''Slo''''''''''''''''''va''''''''k''''ų'''''">
              <a:rPr lang="en-US" sz="1000">
                <a:solidFill>
                  <a:schemeClr val="tx1"/>
                </a:solidFill>
              </a:rPr>
              <a:pPr algn="r">
                <a:spcBef>
                  <a:spcPct val="0"/>
                </a:spcBef>
                <a:spcAft>
                  <a:spcPct val="0"/>
                </a:spcAft>
              </a:pPr>
              <a:t>Slovakų</a:t>
            </a:fld>
            <a:endParaRPr lang="en-US" sz="1000" dirty="0">
              <a:solidFill>
                <a:schemeClr val="tx1"/>
              </a:solidFill>
              <a:sym typeface="+mn-lt"/>
            </a:endParaRPr>
          </a:p>
        </p:txBody>
      </p:sp>
      <p:sp>
        <p:nvSpPr>
          <p:cNvPr id="113" name="Rectangle 112"/>
          <p:cNvSpPr/>
          <p:nvPr>
            <p:custDataLst>
              <p:tags r:id="rId55"/>
            </p:custDataLst>
          </p:nvPr>
        </p:nvSpPr>
        <p:spPr bwMode="gray">
          <a:xfrm>
            <a:off x="42576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EAC18F3-871B-410B-BE81-F9D17367DE14}" type="datetime'4''''''''''''''''''''''''''''''7'''">
              <a:rPr lang="en-US" sz="1000">
                <a:solidFill>
                  <a:schemeClr val="tx1"/>
                </a:solidFill>
              </a:rPr>
              <a:pPr algn="ctr">
                <a:spcBef>
                  <a:spcPct val="0"/>
                </a:spcBef>
                <a:spcAft>
                  <a:spcPct val="0"/>
                </a:spcAft>
              </a:pPr>
              <a:t>4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076F495-40DA-46F1-AB5C-D0D678064DA6}"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4" name="Rectangle 113"/>
          <p:cNvSpPr/>
          <p:nvPr>
            <p:custDataLst>
              <p:tags r:id="rId56"/>
            </p:custDataLst>
          </p:nvPr>
        </p:nvSpPr>
        <p:spPr bwMode="auto">
          <a:xfrm flipV="1">
            <a:off x="4010025" y="5289550"/>
            <a:ext cx="152400" cy="255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6F79EF4-187A-49C0-B63B-4A29B3F209E1}" type="datetime'''''''''''''''''''''''''''''''Č''ekų'''''''''''''''''''''''''">
              <a:rPr lang="en-US" sz="1000">
                <a:solidFill>
                  <a:schemeClr val="tx1"/>
                </a:solidFill>
              </a:rPr>
              <a:pPr algn="r">
                <a:spcBef>
                  <a:spcPct val="0"/>
                </a:spcBef>
                <a:spcAft>
                  <a:spcPct val="0"/>
                </a:spcAft>
              </a:pPr>
              <a:t>Čekų</a:t>
            </a:fld>
            <a:endParaRPr lang="en-US" sz="1000" dirty="0">
              <a:solidFill>
                <a:schemeClr val="tx1"/>
              </a:solidFill>
              <a:sym typeface="+mn-lt"/>
            </a:endParaRPr>
          </a:p>
        </p:txBody>
      </p:sp>
      <p:sp>
        <p:nvSpPr>
          <p:cNvPr id="115" name="Rectangle 114"/>
          <p:cNvSpPr/>
          <p:nvPr>
            <p:custDataLst>
              <p:tags r:id="rId57"/>
            </p:custDataLst>
          </p:nvPr>
        </p:nvSpPr>
        <p:spPr bwMode="gray">
          <a:xfrm>
            <a:off x="39528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5A0DFBD-4261-48AA-B2D3-75D17B63393D}" type="datetime'''''''''4''''''''''''''''''8'''''''''''''''">
              <a:rPr lang="en-US" sz="1000">
                <a:solidFill>
                  <a:schemeClr val="tx1"/>
                </a:solidFill>
              </a:rPr>
              <a:pPr algn="ctr">
                <a:spcBef>
                  <a:spcPct val="0"/>
                </a:spcBef>
                <a:spcAft>
                  <a:spcPct val="0"/>
                </a:spcAft>
              </a:pPr>
              <a:t>4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6674557-30D9-4559-9C1F-D80D82CF3C22}"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6" name="Rectangle 115"/>
          <p:cNvSpPr/>
          <p:nvPr>
            <p:custDataLst>
              <p:tags r:id="rId58"/>
            </p:custDataLst>
          </p:nvPr>
        </p:nvSpPr>
        <p:spPr bwMode="auto">
          <a:xfrm flipV="1">
            <a:off x="3705225" y="5289550"/>
            <a:ext cx="152400"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C2C724F-F77B-467E-A0F7-B6701EC87333}" type="datetime'''''''G''''''''''r''''a''''''''''''''''''''''''''ikų'''">
              <a:rPr lang="en-US" sz="1000">
                <a:solidFill>
                  <a:schemeClr val="tx1"/>
                </a:solidFill>
              </a:rPr>
              <a:pPr algn="r">
                <a:spcBef>
                  <a:spcPct val="0"/>
                </a:spcBef>
                <a:spcAft>
                  <a:spcPct val="0"/>
                </a:spcAft>
              </a:pPr>
              <a:t>Graikų</a:t>
            </a:fld>
            <a:endParaRPr lang="en-US" sz="1000" dirty="0">
              <a:solidFill>
                <a:schemeClr val="tx1"/>
              </a:solidFill>
              <a:sym typeface="+mn-lt"/>
            </a:endParaRPr>
          </a:p>
        </p:txBody>
      </p:sp>
      <p:sp>
        <p:nvSpPr>
          <p:cNvPr id="117" name="Rectangle 116"/>
          <p:cNvSpPr/>
          <p:nvPr>
            <p:custDataLst>
              <p:tags r:id="rId59"/>
            </p:custDataLst>
          </p:nvPr>
        </p:nvSpPr>
        <p:spPr bwMode="gray">
          <a:xfrm>
            <a:off x="36480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A38DFE1-E7D7-4463-960F-88D5C635D682}" type="datetime'''''''''''''''''''''''''''''''''5''''''''''''''''1'''">
              <a:rPr lang="en-US" sz="1000">
                <a:solidFill>
                  <a:schemeClr val="tx1"/>
                </a:solidFill>
              </a:rPr>
              <a:pPr algn="ctr">
                <a:spcBef>
                  <a:spcPct val="0"/>
                </a:spcBef>
                <a:spcAft>
                  <a:spcPct val="0"/>
                </a:spcAft>
              </a:pPr>
              <a:t>5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146D3CD-9AE2-4208-A66D-5B71D190E27B}"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8" name="Rectangle 117"/>
          <p:cNvSpPr/>
          <p:nvPr>
            <p:custDataLst>
              <p:tags r:id="rId60"/>
            </p:custDataLst>
          </p:nvPr>
        </p:nvSpPr>
        <p:spPr bwMode="auto">
          <a:xfrm flipV="1">
            <a:off x="3400425" y="5289550"/>
            <a:ext cx="152400" cy="2968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F317B09-EE65-4291-9197-65A4EE919F27}" type="datetime'''T''u''''''r''''''''''''''''''''''''k''ų'''''''''''''''">
              <a:rPr lang="en-US" sz="1000">
                <a:solidFill>
                  <a:schemeClr val="tx1"/>
                </a:solidFill>
              </a:rPr>
              <a:pPr algn="r">
                <a:spcBef>
                  <a:spcPct val="0"/>
                </a:spcBef>
                <a:spcAft>
                  <a:spcPct val="0"/>
                </a:spcAft>
              </a:pPr>
              <a:t>Turkų</a:t>
            </a:fld>
            <a:endParaRPr lang="en-US" sz="1000" dirty="0">
              <a:solidFill>
                <a:schemeClr val="tx1"/>
              </a:solidFill>
              <a:sym typeface="+mn-lt"/>
            </a:endParaRPr>
          </a:p>
        </p:txBody>
      </p:sp>
      <p:sp>
        <p:nvSpPr>
          <p:cNvPr id="119" name="Rectangle 118"/>
          <p:cNvSpPr/>
          <p:nvPr>
            <p:custDataLst>
              <p:tags r:id="rId61"/>
            </p:custDataLst>
          </p:nvPr>
        </p:nvSpPr>
        <p:spPr bwMode="gray">
          <a:xfrm>
            <a:off x="3343275" y="480377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D119822-2D57-4526-AE14-C342CA1D99F7}" type="datetime'''''''''''''5''''''''''''''''''''''''''''''''''''''''''''6'">
              <a:rPr lang="en-US" sz="1000">
                <a:solidFill>
                  <a:schemeClr val="tx1"/>
                </a:solidFill>
              </a:rPr>
              <a:pPr algn="ctr">
                <a:spcBef>
                  <a:spcPct val="0"/>
                </a:spcBef>
                <a:spcAft>
                  <a:spcPct val="0"/>
                </a:spcAft>
              </a:pPr>
              <a:t>5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2AD2031-0858-4882-B051-7A9F1CCCA75D}"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20" name="Rectangle 119"/>
          <p:cNvSpPr/>
          <p:nvPr>
            <p:custDataLst>
              <p:tags r:id="rId62"/>
            </p:custDataLst>
          </p:nvPr>
        </p:nvSpPr>
        <p:spPr bwMode="auto">
          <a:xfrm flipV="1">
            <a:off x="3095625" y="5289550"/>
            <a:ext cx="152400" cy="309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3335E1C-05A6-47BD-A5F2-9F47E74C8317}" type="datetime'''''''L''''''''a''''''t''''''vi''''''''''''''''''''''ų'''''">
              <a:rPr lang="en-US" sz="1000">
                <a:solidFill>
                  <a:schemeClr val="tx1"/>
                </a:solidFill>
              </a:rPr>
              <a:pPr algn="r">
                <a:spcBef>
                  <a:spcPct val="0"/>
                </a:spcBef>
                <a:spcAft>
                  <a:spcPct val="0"/>
                </a:spcAft>
              </a:pPr>
              <a:t>Latvių</a:t>
            </a:fld>
            <a:endParaRPr lang="en-US" sz="1000" dirty="0">
              <a:solidFill>
                <a:schemeClr val="tx1"/>
              </a:solidFill>
              <a:sym typeface="+mn-lt"/>
            </a:endParaRPr>
          </a:p>
        </p:txBody>
      </p:sp>
      <p:sp>
        <p:nvSpPr>
          <p:cNvPr id="121" name="Rectangle 120"/>
          <p:cNvSpPr/>
          <p:nvPr>
            <p:custDataLst>
              <p:tags r:id="rId63"/>
            </p:custDataLst>
          </p:nvPr>
        </p:nvSpPr>
        <p:spPr bwMode="gray">
          <a:xfrm>
            <a:off x="3038475" y="480377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5B13749-2937-4E33-92DB-B1B21B3A17F7}" type="datetime'''''''''''''''''''''''''''''''''''''''''''6''''''''''''''''3'">
              <a:rPr lang="en-US" sz="1000">
                <a:solidFill>
                  <a:schemeClr val="tx1"/>
                </a:solidFill>
              </a:rPr>
              <a:pPr algn="ctr">
                <a:spcBef>
                  <a:spcPct val="0"/>
                </a:spcBef>
                <a:spcAft>
                  <a:spcPct val="0"/>
                </a:spcAft>
              </a:pPr>
              <a:t>6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2DABF7D-95C7-4491-8C2F-05E58294F6DC}"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22" name="Rectangle 121"/>
          <p:cNvSpPr/>
          <p:nvPr>
            <p:custDataLst>
              <p:tags r:id="rId64"/>
            </p:custDataLst>
          </p:nvPr>
        </p:nvSpPr>
        <p:spPr bwMode="auto">
          <a:xfrm flipV="1">
            <a:off x="2790825" y="5289550"/>
            <a:ext cx="152400" cy="341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B0005F5-D780-4883-ABFD-4CED16DD7F0F}" type="datetime'''''''''''''I''''''''''''''s''''''p''''''''''''a''''''n''ų'''">
              <a:rPr lang="en-US" sz="1000">
                <a:solidFill>
                  <a:schemeClr val="tx1"/>
                </a:solidFill>
              </a:rPr>
              <a:pPr algn="r">
                <a:spcBef>
                  <a:spcPct val="0"/>
                </a:spcBef>
                <a:spcAft>
                  <a:spcPct val="0"/>
                </a:spcAft>
              </a:pPr>
              <a:t>Ispanų</a:t>
            </a:fld>
            <a:endParaRPr lang="en-US" sz="1000" dirty="0">
              <a:solidFill>
                <a:schemeClr val="tx1"/>
              </a:solidFill>
              <a:sym typeface="+mn-lt"/>
            </a:endParaRPr>
          </a:p>
        </p:txBody>
      </p:sp>
      <p:sp>
        <p:nvSpPr>
          <p:cNvPr id="123" name="Rectangle 122"/>
          <p:cNvSpPr/>
          <p:nvPr>
            <p:custDataLst>
              <p:tags r:id="rId65"/>
            </p:custDataLst>
          </p:nvPr>
        </p:nvSpPr>
        <p:spPr bwMode="gray">
          <a:xfrm>
            <a:off x="2733675" y="47942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FFAEBE8-A78E-4E82-9A1F-F77BCF9187C0}" type="datetime'''''''''''''''7''''''''''''''''''''''''5'''''''''">
              <a:rPr lang="en-US" sz="1000">
                <a:solidFill>
                  <a:schemeClr val="tx1"/>
                </a:solidFill>
              </a:rPr>
              <a:pPr algn="ctr">
                <a:spcBef>
                  <a:spcPct val="0"/>
                </a:spcBef>
                <a:spcAft>
                  <a:spcPct val="0"/>
                </a:spcAft>
              </a:pPr>
              <a:t>7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5528D37-FA9C-49F9-9379-C631515D59A3}" type="datetime'''''''4''''''''''''''''''''%'''">
              <a:rPr lang="en-US" sz="1000">
                <a:solidFill>
                  <a:schemeClr val="tx1"/>
                </a:solidFill>
              </a:rPr>
              <a:pPr algn="ctr">
                <a:spcBef>
                  <a:spcPct val="0"/>
                </a:spcBef>
                <a:spcAft>
                  <a:spcPct val="0"/>
                </a:spcAft>
              </a:pPr>
              <a:t>4%</a:t>
            </a:fld>
            <a:r>
              <a:rPr lang="en-US" sz="1000" smtClean="0">
                <a:solidFill>
                  <a:schemeClr val="tx1"/>
                </a:solidFill>
                <a:sym typeface="+mn-lt"/>
              </a:rPr>
              <a:t>)</a:t>
            </a:r>
            <a:endParaRPr lang="en-US" sz="1000">
              <a:solidFill>
                <a:schemeClr val="tx1"/>
              </a:solidFill>
              <a:sym typeface="+mn-lt"/>
            </a:endParaRPr>
          </a:p>
        </p:txBody>
      </p:sp>
      <p:sp>
        <p:nvSpPr>
          <p:cNvPr id="124" name="Rectangle 123"/>
          <p:cNvSpPr/>
          <p:nvPr>
            <p:custDataLst>
              <p:tags r:id="rId66"/>
            </p:custDataLst>
          </p:nvPr>
        </p:nvSpPr>
        <p:spPr bwMode="auto">
          <a:xfrm flipV="1">
            <a:off x="2486025" y="5289550"/>
            <a:ext cx="152400" cy="2301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73775E-1BE1-4C62-A721-EA3390D01CC2}" type="datetime'It''''''''''''''''''''''''''a''''''''''''l''''''''ų'">
              <a:rPr lang="en-US" sz="1000">
                <a:solidFill>
                  <a:schemeClr val="tx1"/>
                </a:solidFill>
              </a:rPr>
              <a:pPr algn="r">
                <a:spcBef>
                  <a:spcPct val="0"/>
                </a:spcBef>
                <a:spcAft>
                  <a:spcPct val="0"/>
                </a:spcAft>
              </a:pPr>
              <a:t>Italų</a:t>
            </a:fld>
            <a:endParaRPr lang="en-US" sz="1000" dirty="0">
              <a:solidFill>
                <a:schemeClr val="tx1"/>
              </a:solidFill>
              <a:sym typeface="+mn-lt"/>
            </a:endParaRPr>
          </a:p>
        </p:txBody>
      </p:sp>
      <p:sp>
        <p:nvSpPr>
          <p:cNvPr id="125" name="Rectangle 124"/>
          <p:cNvSpPr/>
          <p:nvPr>
            <p:custDataLst>
              <p:tags r:id="rId67"/>
            </p:custDataLst>
          </p:nvPr>
        </p:nvSpPr>
        <p:spPr bwMode="gray">
          <a:xfrm>
            <a:off x="2428875" y="47847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C9A4FF-4005-4710-9D15-4184C8DB6FEC}" type="datetime'''''''''''''''''''''''8''''9'''''''''''">
              <a:rPr lang="en-US" sz="1000">
                <a:solidFill>
                  <a:schemeClr val="tx1"/>
                </a:solidFill>
              </a:rPr>
              <a:pPr algn="ctr">
                <a:spcBef>
                  <a:spcPct val="0"/>
                </a:spcBef>
                <a:spcAft>
                  <a:spcPct val="0"/>
                </a:spcAft>
              </a:pPr>
              <a:t>89</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3E7A7B0-BF49-4C75-AF1F-7244D7B342BD}" type="datetime'''''5''''''''''''''''''''''''''''%'''''''''''''''''''''">
              <a:rPr lang="en-US" sz="1000">
                <a:solidFill>
                  <a:schemeClr val="tx1"/>
                </a:solidFill>
              </a:rPr>
              <a:pPr algn="ctr">
                <a:spcBef>
                  <a:spcPct val="0"/>
                </a:spcBef>
                <a:spcAft>
                  <a:spcPct val="0"/>
                </a:spcAft>
              </a:pPr>
              <a:t>5%</a:t>
            </a:fld>
            <a:r>
              <a:rPr lang="en-US" sz="1000" smtClean="0">
                <a:solidFill>
                  <a:schemeClr val="tx1"/>
                </a:solidFill>
                <a:sym typeface="+mn-lt"/>
              </a:rPr>
              <a:t>)</a:t>
            </a:r>
            <a:endParaRPr lang="en-US" sz="1000">
              <a:solidFill>
                <a:schemeClr val="tx1"/>
              </a:solidFill>
              <a:sym typeface="+mn-lt"/>
            </a:endParaRPr>
          </a:p>
        </p:txBody>
      </p:sp>
      <p:sp>
        <p:nvSpPr>
          <p:cNvPr id="126" name="Rectangle 125"/>
          <p:cNvSpPr/>
          <p:nvPr>
            <p:custDataLst>
              <p:tags r:id="rId68"/>
            </p:custDataLst>
          </p:nvPr>
        </p:nvSpPr>
        <p:spPr bwMode="auto">
          <a:xfrm flipV="1">
            <a:off x="2181225" y="528955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B944670-14D4-456B-80B7-7EBDC1B0E462}" type="datetime'''''''''''''''R''u''m''u''''''''''''''''''n''''''''''''''ų'">
              <a:rPr lang="en-US" sz="1000">
                <a:solidFill>
                  <a:schemeClr val="tx1"/>
                </a:solidFill>
              </a:rPr>
              <a:pPr algn="r">
                <a:spcBef>
                  <a:spcPct val="0"/>
                </a:spcBef>
                <a:spcAft>
                  <a:spcPct val="0"/>
                </a:spcAft>
              </a:pPr>
              <a:t>Rumunų</a:t>
            </a:fld>
            <a:endParaRPr lang="en-US" sz="1000" dirty="0">
              <a:solidFill>
                <a:schemeClr val="tx1"/>
              </a:solidFill>
              <a:sym typeface="+mn-lt"/>
            </a:endParaRPr>
          </a:p>
        </p:txBody>
      </p:sp>
      <p:sp>
        <p:nvSpPr>
          <p:cNvPr id="127" name="Rectangle 126"/>
          <p:cNvSpPr/>
          <p:nvPr>
            <p:custDataLst>
              <p:tags r:id="rId69"/>
            </p:custDataLst>
          </p:nvPr>
        </p:nvSpPr>
        <p:spPr bwMode="gray">
          <a:xfrm>
            <a:off x="2124075" y="47752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F09FB82-8573-422A-A12F-BE34C539C3BA}" type="datetime'''''''1''0''''''''''''7'''''''''''''''''''''''''''">
              <a:rPr lang="en-US" sz="1000">
                <a:solidFill>
                  <a:schemeClr val="tx1"/>
                </a:solidFill>
              </a:rPr>
              <a:pPr algn="ctr">
                <a:spcBef>
                  <a:spcPct val="0"/>
                </a:spcBef>
                <a:spcAft>
                  <a:spcPct val="0"/>
                </a:spcAft>
              </a:pPr>
              <a:t>10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7855FC6-BE56-498C-B05D-18203AE8649C}" type="datetime'6''''''%'''''''''''''''''''''''''''''''''''''''''''''''''">
              <a:rPr lang="en-US" sz="1000">
                <a:solidFill>
                  <a:schemeClr val="tx1"/>
                </a:solidFill>
              </a:rPr>
              <a:pPr algn="ctr">
                <a:spcBef>
                  <a:spcPct val="0"/>
                </a:spcBef>
                <a:spcAft>
                  <a:spcPct val="0"/>
                </a:spcAft>
              </a:pPr>
              <a:t>6%</a:t>
            </a:fld>
            <a:r>
              <a:rPr lang="en-US" sz="1000" smtClean="0">
                <a:solidFill>
                  <a:schemeClr val="tx1"/>
                </a:solidFill>
                <a:sym typeface="+mn-lt"/>
              </a:rPr>
              <a:t>)</a:t>
            </a:r>
            <a:endParaRPr lang="en-US" sz="1000">
              <a:solidFill>
                <a:schemeClr val="tx1"/>
              </a:solidFill>
              <a:sym typeface="+mn-lt"/>
            </a:endParaRPr>
          </a:p>
        </p:txBody>
      </p:sp>
      <p:sp>
        <p:nvSpPr>
          <p:cNvPr id="128" name="Rectangle 127"/>
          <p:cNvSpPr/>
          <p:nvPr>
            <p:custDataLst>
              <p:tags r:id="rId70"/>
            </p:custDataLst>
          </p:nvPr>
        </p:nvSpPr>
        <p:spPr bwMode="auto">
          <a:xfrm flipV="1">
            <a:off x="1876425" y="528955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673A686-4462-471F-956B-B30F7B2D79D1}" type="datetime'''Li''e''''''tu''''v''''''''''''''''''i''''''ų'''''''''">
              <a:rPr lang="en-US" sz="1000">
                <a:solidFill>
                  <a:schemeClr val="tx1"/>
                </a:solidFill>
              </a:rPr>
              <a:pPr algn="r">
                <a:spcBef>
                  <a:spcPct val="0"/>
                </a:spcBef>
                <a:spcAft>
                  <a:spcPct val="0"/>
                </a:spcAft>
              </a:pPr>
              <a:t>Lietuvių</a:t>
            </a:fld>
            <a:endParaRPr lang="en-US" sz="1000" dirty="0">
              <a:solidFill>
                <a:schemeClr val="tx1"/>
              </a:solidFill>
              <a:sym typeface="+mn-lt"/>
            </a:endParaRPr>
          </a:p>
        </p:txBody>
      </p:sp>
      <p:sp>
        <p:nvSpPr>
          <p:cNvPr id="129" name="Rectangle 128"/>
          <p:cNvSpPr/>
          <p:nvPr>
            <p:custDataLst>
              <p:tags r:id="rId71"/>
            </p:custDataLst>
          </p:nvPr>
        </p:nvSpPr>
        <p:spPr bwMode="gray">
          <a:xfrm>
            <a:off x="1819275" y="47466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168B8B-CECC-48F0-B8A1-1FE5C80AE8EA}" type="datetime'''''''''''1''''''''''''''''''''''''''''''53'">
              <a:rPr lang="en-US" sz="1000">
                <a:solidFill>
                  <a:schemeClr val="tx1"/>
                </a:solidFill>
              </a:rPr>
              <a:pPr algn="ctr">
                <a:spcBef>
                  <a:spcPct val="0"/>
                </a:spcBef>
                <a:spcAft>
                  <a:spcPct val="0"/>
                </a:spcAft>
              </a:pPr>
              <a:t>15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5D82372-CDA6-4629-A2CA-E518DF1EE942}" type="datetime'''''''''''''''''''''''''''''''''''8''''''''''''''%'">
              <a:rPr lang="en-US" sz="1000">
                <a:solidFill>
                  <a:schemeClr val="tx1"/>
                </a:solidFill>
              </a:rPr>
              <a:pPr algn="ct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130" name="Rectangle 129"/>
          <p:cNvSpPr/>
          <p:nvPr>
            <p:custDataLst>
              <p:tags r:id="rId72"/>
            </p:custDataLst>
          </p:nvPr>
        </p:nvSpPr>
        <p:spPr bwMode="auto">
          <a:xfrm flipV="1">
            <a:off x="1571625" y="5289550"/>
            <a:ext cx="152400" cy="307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D721462-4C7D-44C7-94BF-7D4FB23CA12C}" type="datetime'''''''''''''L''''''e''''''''''n''k''''''''ų'''''''">
              <a:rPr lang="en-US" sz="1000">
                <a:solidFill>
                  <a:schemeClr val="tx1"/>
                </a:solidFill>
              </a:rPr>
              <a:pPr algn="r">
                <a:spcBef>
                  <a:spcPct val="0"/>
                </a:spcBef>
                <a:spcAft>
                  <a:spcPct val="0"/>
                </a:spcAft>
              </a:pPr>
              <a:t>Lenkų</a:t>
            </a:fld>
            <a:endParaRPr lang="en-US" sz="1000" dirty="0">
              <a:solidFill>
                <a:schemeClr val="tx1"/>
              </a:solidFill>
              <a:sym typeface="+mn-lt"/>
            </a:endParaRPr>
          </a:p>
        </p:txBody>
      </p:sp>
      <p:sp>
        <p:nvSpPr>
          <p:cNvPr id="131" name="Rectangle 130"/>
          <p:cNvSpPr/>
          <p:nvPr>
            <p:custDataLst>
              <p:tags r:id="rId73"/>
            </p:custDataLst>
          </p:nvPr>
        </p:nvSpPr>
        <p:spPr bwMode="gray">
          <a:xfrm>
            <a:off x="1514475" y="47466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268D700-6ED0-4F6F-858A-33F416176FC1}" type="datetime'''''''1''''''''''5''''''''''5'''''''''''''''''''''''''">
              <a:rPr lang="en-US" sz="1000">
                <a:solidFill>
                  <a:schemeClr val="tx1"/>
                </a:solidFill>
              </a:rPr>
              <a:pPr algn="ctr">
                <a:spcBef>
                  <a:spcPct val="0"/>
                </a:spcBef>
                <a:spcAft>
                  <a:spcPct val="0"/>
                </a:spcAft>
              </a:pPr>
              <a:t>15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B9E60CD-F889-429C-A4B4-CF1E1E0D47AD}" type="datetime'''''''''''''''''''''''''''''''''''9''''''''''''''''''%'">
              <a:rPr lang="en-US" sz="1000">
                <a:solidFill>
                  <a:schemeClr val="tx1"/>
                </a:solidFill>
              </a:rPr>
              <a:pPr algn="ct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132" name="Rectangle 131"/>
          <p:cNvSpPr/>
          <p:nvPr>
            <p:custDataLst>
              <p:tags r:id="rId74"/>
            </p:custDataLst>
          </p:nvPr>
        </p:nvSpPr>
        <p:spPr bwMode="auto">
          <a:xfrm flipV="1">
            <a:off x="1266825" y="5289550"/>
            <a:ext cx="152400" cy="47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3802AE4-2C65-4D2B-B071-C4884D22F99C}" type="datetime'P''''r''''an''''c''''''ū''''z''''''''''ų'''''">
              <a:rPr lang="en-US" sz="1000">
                <a:solidFill>
                  <a:schemeClr val="tx1"/>
                </a:solidFill>
              </a:rPr>
              <a:pPr algn="r">
                <a:spcBef>
                  <a:spcPct val="0"/>
                </a:spcBef>
                <a:spcAft>
                  <a:spcPct val="0"/>
                </a:spcAft>
              </a:pPr>
              <a:t>Prancūzų</a:t>
            </a:fld>
            <a:endParaRPr lang="en-US" sz="1000" dirty="0">
              <a:solidFill>
                <a:schemeClr val="tx1"/>
              </a:solidFill>
              <a:sym typeface="+mn-lt"/>
            </a:endParaRPr>
          </a:p>
        </p:txBody>
      </p:sp>
      <p:sp>
        <p:nvSpPr>
          <p:cNvPr id="133" name="Rectangle 132"/>
          <p:cNvSpPr/>
          <p:nvPr>
            <p:custDataLst>
              <p:tags r:id="rId75"/>
            </p:custDataLst>
          </p:nvPr>
        </p:nvSpPr>
        <p:spPr bwMode="gray">
          <a:xfrm>
            <a:off x="1209675" y="47371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ABD2F70-6ECD-4C92-81E0-C9DE7D6BF96F}" type="datetime'''''''''1''6''''''''''''''''''''''''2'''''''''''''''">
              <a:rPr lang="en-US" sz="1000">
                <a:solidFill>
                  <a:schemeClr val="tx1"/>
                </a:solidFill>
              </a:rPr>
              <a:pPr algn="ctr">
                <a:spcBef>
                  <a:spcPct val="0"/>
                </a:spcBef>
                <a:spcAft>
                  <a:spcPct val="0"/>
                </a:spcAft>
              </a:pPr>
              <a:t>16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7E43D930-0125-4853-A652-5D2BD6CF7CD5}" type="datetime'''9''''''%'''''''''''''''''''''''''''''''">
              <a:rPr lang="en-US" sz="1000">
                <a:solidFill>
                  <a:schemeClr val="tx1"/>
                </a:solidFill>
              </a:rPr>
              <a:pPr algn="ct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134" name="Rectangle 133"/>
          <p:cNvSpPr/>
          <p:nvPr>
            <p:custDataLst>
              <p:tags r:id="rId76"/>
            </p:custDataLst>
          </p:nvPr>
        </p:nvSpPr>
        <p:spPr bwMode="auto">
          <a:xfrm flipV="1">
            <a:off x="962025" y="528955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8839DC2-1296-41BA-B465-C0AEE2600B19}" type="datetime'''''''''''''''''V''''okieč''''''''i''''''''''''''''''''ų'''">
              <a:rPr lang="en-US" sz="1000">
                <a:solidFill>
                  <a:schemeClr val="tx1"/>
                </a:solidFill>
              </a:rPr>
              <a:pPr algn="r">
                <a:spcBef>
                  <a:spcPct val="0"/>
                </a:spcBef>
                <a:spcAft>
                  <a:spcPct val="0"/>
                </a:spcAft>
              </a:pPr>
              <a:t>Vokiečių</a:t>
            </a:fld>
            <a:endParaRPr lang="en-US" sz="1000" dirty="0">
              <a:solidFill>
                <a:schemeClr val="tx1"/>
              </a:solidFill>
              <a:sym typeface="+mn-lt"/>
            </a:endParaRPr>
          </a:p>
        </p:txBody>
      </p:sp>
      <p:sp>
        <p:nvSpPr>
          <p:cNvPr id="135" name="Rectangle 134"/>
          <p:cNvSpPr/>
          <p:nvPr>
            <p:custDataLst>
              <p:tags r:id="rId77"/>
            </p:custDataLst>
          </p:nvPr>
        </p:nvSpPr>
        <p:spPr bwMode="gray">
          <a:xfrm>
            <a:off x="873125" y="4708525"/>
            <a:ext cx="3317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465F0F0-7929-4BAE-A567-E7D1505C15E6}" type="datetime'''''''2''''''''''1''''''''''''''''2'''''">
              <a:rPr lang="en-US" sz="1000">
                <a:solidFill>
                  <a:schemeClr val="tx1"/>
                </a:solidFill>
              </a:rPr>
              <a:pPr algn="ctr">
                <a:spcBef>
                  <a:spcPct val="0"/>
                </a:spcBef>
                <a:spcAft>
                  <a:spcPct val="0"/>
                </a:spcAft>
              </a:pPr>
              <a:t>21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26BFC72-88EE-426F-BE3A-2445FD6CA745}" type="datetime'''''1''''''''''''''''''''''2''''''''''''''''%'''''''''''">
              <a:rPr lang="en-US" sz="1000">
                <a:solidFill>
                  <a:schemeClr val="tx1"/>
                </a:solidFill>
              </a:rPr>
              <a:pPr algn="ctr">
                <a:spcBef>
                  <a:spcPct val="0"/>
                </a:spcBef>
                <a:spcAft>
                  <a:spcPct val="0"/>
                </a:spcAft>
              </a:pPr>
              <a:t>1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6" name="Rectangle 135"/>
          <p:cNvSpPr/>
          <p:nvPr>
            <p:custDataLst>
              <p:tags r:id="rId78"/>
            </p:custDataLst>
          </p:nvPr>
        </p:nvSpPr>
        <p:spPr bwMode="auto">
          <a:xfrm flipV="1">
            <a:off x="657225" y="5289550"/>
            <a:ext cx="152400" cy="295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244DDA6-538F-4C08-AF06-5A418A94D718}" type="datetime'''''''''''''''''''''''''''''''A''''''n''''''g''l''''ų'''''''''">
              <a:rPr lang="en-US" sz="1000">
                <a:solidFill>
                  <a:schemeClr val="tx1"/>
                </a:solidFill>
              </a:rPr>
              <a:pPr algn="r">
                <a:spcBef>
                  <a:spcPct val="0"/>
                </a:spcBef>
                <a:spcAft>
                  <a:spcPct val="0"/>
                </a:spcAft>
              </a:pPr>
              <a:t>Anglų</a:t>
            </a:fld>
            <a:endParaRPr lang="en-US" sz="1000" dirty="0">
              <a:solidFill>
                <a:schemeClr val="tx1"/>
              </a:solidFill>
              <a:sym typeface="+mn-lt"/>
            </a:endParaRPr>
          </a:p>
        </p:txBody>
      </p:sp>
      <p:sp>
        <p:nvSpPr>
          <p:cNvPr id="137" name="Rectangle 136"/>
          <p:cNvSpPr/>
          <p:nvPr>
            <p:custDataLst>
              <p:tags r:id="rId79"/>
            </p:custDataLst>
          </p:nvPr>
        </p:nvSpPr>
        <p:spPr bwMode="gray">
          <a:xfrm>
            <a:off x="568325" y="3803650"/>
            <a:ext cx="3317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805A39D-538B-46DA-8CB9-A0F77DC9320F}" type="datetime'''''1'''''''''''',''''''''''''''''65''''''5'''''''''''''''">
              <a:rPr lang="en-US" sz="1000">
                <a:solidFill>
                  <a:schemeClr val="tx1"/>
                </a:solidFill>
              </a:rPr>
              <a:pPr algn="ctr">
                <a:spcBef>
                  <a:spcPct val="0"/>
                </a:spcBef>
                <a:spcAft>
                  <a:spcPct val="0"/>
                </a:spcAft>
              </a:pPr>
              <a:t>1,65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C4E5118D-CCE5-47F3-95A1-B3899B5044A7}" type="datetime'''''''''9''''''''''''''''''''''''''''''''''''''1''''%'''''">
              <a:rPr lang="en-US" sz="1000">
                <a:solidFill>
                  <a:schemeClr val="tx1"/>
                </a:solidFill>
              </a:rPr>
              <a:pPr algn="ctr">
                <a:spcBef>
                  <a:spcPct val="0"/>
                </a:spcBef>
                <a:spcAft>
                  <a:spcPct val="0"/>
                </a:spcAft>
              </a:pPr>
              <a:t>91%</a:t>
            </a:fld>
            <a:r>
              <a:rPr lang="en-US" sz="1000" smtClean="0">
                <a:solidFill>
                  <a:schemeClr val="tx1"/>
                </a:solidFill>
                <a:sym typeface="+mn-lt"/>
              </a:rPr>
              <a:t>)</a:t>
            </a:r>
            <a:endParaRPr lang="en-US" sz="1000" dirty="0">
              <a:solidFill>
                <a:schemeClr val="tx1"/>
              </a:solidFill>
              <a:sym typeface="+mn-lt"/>
            </a:endParaRPr>
          </a:p>
        </p:txBody>
      </p:sp>
    </p:spTree>
    <p:extLst>
      <p:ext uri="{BB962C8B-B14F-4D97-AF65-F5344CB8AC3E}">
        <p14:creationId xmlns:p14="http://schemas.microsoft.com/office/powerpoint/2010/main" val="29729839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175554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6" name="think-cell Slide" r:id="rId96" imgW="270" imgH="270" progId="TCLayout.ActiveDocument.1">
                  <p:embed/>
                </p:oleObj>
              </mc:Choice>
              <mc:Fallback>
                <p:oleObj name="think-cell Slide" r:id="rId96" imgW="270" imgH="270" progId="TCLayout.ActiveDocument.1">
                  <p:embed/>
                  <p:pic>
                    <p:nvPicPr>
                      <p:cNvPr id="0" name=""/>
                      <p:cNvPicPr/>
                      <p:nvPr/>
                    </p:nvPicPr>
                    <p:blipFill>
                      <a:blip r:embed="rId97"/>
                      <a:stretch>
                        <a:fillRect/>
                      </a:stretch>
                    </p:blipFill>
                    <p:spPr>
                      <a:xfrm>
                        <a:off x="1588" y="1588"/>
                        <a:ext cx="1587" cy="1587"/>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150813" y="224644"/>
            <a:ext cx="8947150" cy="487362"/>
          </a:xfrm>
        </p:spPr>
        <p:txBody>
          <a:bodyPr>
            <a:normAutofit fontScale="90000"/>
          </a:bodyPr>
          <a:lstStyle/>
          <a:p>
            <a:r>
              <a:rPr lang="lt-LT" sz="2200" b="1" dirty="0">
                <a:solidFill>
                  <a:schemeClr val="tx2">
                    <a:lumMod val="75000"/>
                  </a:schemeClr>
                </a:solidFill>
              </a:rPr>
              <a:t>Didžiojoje dalyje projektų dalyvavo 7-11 metų ir 12-15 metų amžiaus grupių vaikai ir jaunimas ir daugumos projektų dalyvių amžius skyrėsi 2-4 metais. </a:t>
            </a:r>
            <a:endParaRPr lang="en-US" sz="22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2654129650"/>
              </p:ext>
            </p:extLst>
          </p:nvPr>
        </p:nvGraphicFramePr>
        <p:xfrm>
          <a:off x="38100" y="1790700"/>
          <a:ext cx="3667055" cy="914490"/>
        </p:xfrm>
        <a:graphic>
          <a:graphicData uri="http://schemas.openxmlformats.org/presentationml/2006/ole">
            <mc:AlternateContent xmlns:mc="http://schemas.openxmlformats.org/markup-compatibility/2006">
              <mc:Choice xmlns:v="urn:schemas-microsoft-com:vml" Requires="v">
                <p:oleObj spid="_x0000_s25647" name="Chart" r:id="rId98" imgW="3667077" imgH="914244" progId="MSGraph.Chart.8">
                  <p:embed followColorScheme="full"/>
                </p:oleObj>
              </mc:Choice>
              <mc:Fallback>
                <p:oleObj name="Chart" r:id="rId98" imgW="3667077" imgH="914244" progId="MSGraph.Chart.8">
                  <p:embed followColorScheme="full"/>
                  <p:pic>
                    <p:nvPicPr>
                      <p:cNvPr id="0" name=""/>
                      <p:cNvPicPr/>
                      <p:nvPr/>
                    </p:nvPicPr>
                    <p:blipFill>
                      <a:blip r:embed="rId99"/>
                      <a:stretch>
                        <a:fillRect/>
                      </a:stretch>
                    </p:blipFill>
                    <p:spPr>
                      <a:xfrm>
                        <a:off x="38100" y="1790700"/>
                        <a:ext cx="3667055" cy="914490"/>
                      </a:xfrm>
                      <a:prstGeom prst="rect">
                        <a:avLst/>
                      </a:prstGeom>
                    </p:spPr>
                  </p:pic>
                </p:oleObj>
              </mc:Fallback>
            </mc:AlternateContent>
          </a:graphicData>
        </a:graphic>
      </p:graphicFrame>
      <p:sp>
        <p:nvSpPr>
          <p:cNvPr id="13" name="Rectangle 12"/>
          <p:cNvSpPr/>
          <p:nvPr>
            <p:custDataLst>
              <p:tags r:id="rId5"/>
            </p:custDataLst>
          </p:nvPr>
        </p:nvSpPr>
        <p:spPr bwMode="auto">
          <a:xfrm>
            <a:off x="3116263" y="2565400"/>
            <a:ext cx="37941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A92F121-A49F-4B0C-9D23-EB205AFA05ED}" type="datetime'20 i''r'' v''''y''''''''''r''e''s''ni'''''''''''">
              <a:rPr lang="en-US" sz="1000">
                <a:solidFill>
                  <a:schemeClr val="tx1"/>
                </a:solidFill>
              </a:rPr>
              <a:pPr algn="ctr">
                <a:spcBef>
                  <a:spcPct val="0"/>
                </a:spcBef>
                <a:spcAft>
                  <a:spcPct val="0"/>
                </a:spcAft>
              </a:pPr>
              <a:t>20 ir vyresni</a:t>
            </a:fld>
            <a:endParaRPr lang="en-US" sz="1000">
              <a:solidFill>
                <a:schemeClr val="tx1"/>
              </a:solidFill>
              <a:sym typeface="+mn-lt"/>
            </a:endParaRPr>
          </a:p>
        </p:txBody>
      </p:sp>
      <p:sp>
        <p:nvSpPr>
          <p:cNvPr id="12" name="Rectangle 11"/>
          <p:cNvSpPr/>
          <p:nvPr>
            <p:custDataLst>
              <p:tags r:id="rId6"/>
            </p:custDataLst>
          </p:nvPr>
        </p:nvSpPr>
        <p:spPr bwMode="gray">
          <a:xfrm>
            <a:off x="3184525" y="21082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470044C-DC5F-4C03-AAF4-2C2EF1539729}" type="datetime'5''''''''''%'''''''''">
              <a:rPr lang="en-US" sz="1000">
                <a:solidFill>
                  <a:schemeClr val="tx1"/>
                </a:solidFill>
              </a:rPr>
              <a:pPr/>
              <a:t>5%</a:t>
            </a:fld>
            <a:r>
              <a:rPr lang="en-US" sz="1000" smtClean="0">
                <a:solidFill>
                  <a:schemeClr val="tx1"/>
                </a:solidFill>
              </a:rPr>
              <a:t/>
            </a:r>
            <a:br>
              <a:rPr lang="en-US" sz="1000" smtClean="0">
                <a:solidFill>
                  <a:schemeClr val="tx1"/>
                </a:solidFill>
              </a:rPr>
            </a:br>
            <a:r>
              <a:rPr lang="en-US" sz="1000" smtClean="0">
                <a:solidFill>
                  <a:schemeClr val="tx1"/>
                </a:solidFill>
              </a:rPr>
              <a:t>(</a:t>
            </a:r>
            <a:fld id="{391838A2-82CE-4C6E-A3B3-C8B16E3586A2}" type="datetime'''''9''''''''''''''''''''''''''''''''''''''2'''''''''''''''''">
              <a:rPr lang="en-US" sz="1000">
                <a:solidFill>
                  <a:schemeClr val="tx1"/>
                </a:solidFill>
              </a:rPr>
              <a:pPr/>
              <a:t>92</a:t>
            </a:fld>
            <a:r>
              <a:rPr lang="en-US" sz="1000" smtClean="0">
                <a:solidFill>
                  <a:schemeClr val="tx1"/>
                </a:solidFill>
              </a:rPr>
              <a:t>)</a:t>
            </a:r>
            <a:endParaRPr lang="en-US" sz="1000" dirty="0">
              <a:solidFill>
                <a:schemeClr val="tx1"/>
              </a:solidFill>
              <a:sym typeface="+mn-lt"/>
            </a:endParaRPr>
          </a:p>
        </p:txBody>
      </p:sp>
      <p:sp>
        <p:nvSpPr>
          <p:cNvPr id="11" name="Rectangle 10"/>
          <p:cNvSpPr/>
          <p:nvPr>
            <p:custDataLst>
              <p:tags r:id="rId7"/>
            </p:custDataLst>
          </p:nvPr>
        </p:nvSpPr>
        <p:spPr bwMode="auto">
          <a:xfrm>
            <a:off x="2505075" y="2565400"/>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2432B1F-B8D1-48E2-AD58-22D8089CDFB8}" type="datetime'''''''''nuo ''''''16 ik''''i ''1''''''9'''''' ''''m.'''''''">
              <a:rPr lang="en-US" sz="1000">
                <a:solidFill>
                  <a:schemeClr val="tx1"/>
                </a:solidFill>
              </a:rPr>
              <a:pPr algn="ctr">
                <a:spcBef>
                  <a:spcPct val="0"/>
                </a:spcBef>
                <a:spcAft>
                  <a:spcPct val="0"/>
                </a:spcAft>
              </a:pPr>
              <a:t>nuo 16 iki 19 m.</a:t>
            </a:fld>
            <a:endParaRPr lang="en-US" sz="1000">
              <a:solidFill>
                <a:schemeClr val="tx1"/>
              </a:solidFill>
              <a:sym typeface="+mn-lt"/>
            </a:endParaRPr>
          </a:p>
        </p:txBody>
      </p:sp>
      <p:sp>
        <p:nvSpPr>
          <p:cNvPr id="10" name="Rectangle 9"/>
          <p:cNvSpPr/>
          <p:nvPr>
            <p:custDataLst>
              <p:tags r:id="rId8"/>
            </p:custDataLst>
          </p:nvPr>
        </p:nvSpPr>
        <p:spPr bwMode="gray">
          <a:xfrm>
            <a:off x="2527300" y="18605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C7460C0-9346-49FA-9090-3EE33A91E055}" type="datetime'''''''''''''9''''''6''''%'''''''''''''">
              <a:rPr lang="en-US" sz="1000">
                <a:solidFill>
                  <a:schemeClr val="tx1"/>
                </a:solidFill>
              </a:rPr>
              <a:pPr/>
              <a:t>96%</a:t>
            </a:fld>
            <a:r>
              <a:rPr lang="en-US" sz="1000" smtClean="0">
                <a:solidFill>
                  <a:schemeClr val="tx1"/>
                </a:solidFill>
              </a:rPr>
              <a:t/>
            </a:r>
            <a:br>
              <a:rPr lang="en-US" sz="1000" smtClean="0">
                <a:solidFill>
                  <a:schemeClr val="tx1"/>
                </a:solidFill>
              </a:rPr>
            </a:br>
            <a:r>
              <a:rPr lang="en-US" sz="1000" smtClean="0">
                <a:solidFill>
                  <a:schemeClr val="tx1"/>
                </a:solidFill>
              </a:rPr>
              <a:t>(</a:t>
            </a:r>
            <a:fld id="{EB227E43-91FD-4378-9EF0-D680A3DA2059}" type="datetime'''''''''1''''''''''''''.''''''''''''''7''''5''''''''''''''2'''">
              <a:rPr lang="en-US" sz="1000">
                <a:solidFill>
                  <a:schemeClr val="tx1"/>
                </a:solidFill>
              </a:rPr>
              <a:pPr/>
              <a:t>1.752</a:t>
            </a:fld>
            <a:r>
              <a:rPr lang="en-US" sz="1000" smtClean="0">
                <a:solidFill>
                  <a:schemeClr val="tx1"/>
                </a:solidFill>
              </a:rPr>
              <a:t>)</a:t>
            </a:r>
            <a:endParaRPr lang="en-US" sz="1000" dirty="0">
              <a:solidFill>
                <a:schemeClr val="tx1"/>
              </a:solidFill>
              <a:sym typeface="+mn-lt"/>
            </a:endParaRPr>
          </a:p>
        </p:txBody>
      </p:sp>
      <p:sp>
        <p:nvSpPr>
          <p:cNvPr id="9" name="Rectangle 8"/>
          <p:cNvSpPr/>
          <p:nvPr>
            <p:custDataLst>
              <p:tags r:id="rId9"/>
            </p:custDataLst>
          </p:nvPr>
        </p:nvSpPr>
        <p:spPr bwMode="auto">
          <a:xfrm>
            <a:off x="1928813" y="2565400"/>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F689594-8A3C-4C83-9674-58F5BF233F2B}" type="datetime'''''n''u''o''''1''''''''2'''''''''' ''''''iki'' ''''15 ''''m.'">
              <a:rPr lang="en-US" sz="1000">
                <a:solidFill>
                  <a:schemeClr val="tx1"/>
                </a:solidFill>
              </a:rPr>
              <a:pPr algn="ctr">
                <a:spcBef>
                  <a:spcPct val="0"/>
                </a:spcBef>
                <a:spcAft>
                  <a:spcPct val="0"/>
                </a:spcAft>
              </a:pPr>
              <a:t>nuo12 iki 15 m.</a:t>
            </a:fld>
            <a:endParaRPr lang="en-US" sz="1000">
              <a:solidFill>
                <a:schemeClr val="tx1"/>
              </a:solidFill>
              <a:sym typeface="+mn-lt"/>
            </a:endParaRPr>
          </a:p>
        </p:txBody>
      </p:sp>
      <p:sp>
        <p:nvSpPr>
          <p:cNvPr id="8" name="Rectangle 7"/>
          <p:cNvSpPr/>
          <p:nvPr>
            <p:custDataLst>
              <p:tags r:id="rId10"/>
            </p:custDataLst>
          </p:nvPr>
        </p:nvSpPr>
        <p:spPr bwMode="gray">
          <a:xfrm>
            <a:off x="1951038" y="15843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0DC4BD3-AD31-479E-A569-2B6C77E97F5A}" type="datetime'''''''''''''''''''''''''''''''1''9''''''''''''''''''7''%'">
              <a:rPr lang="en-US" sz="1000">
                <a:solidFill>
                  <a:schemeClr val="tx1"/>
                </a:solidFill>
              </a:rPr>
              <a:pPr/>
              <a:t>197%</a:t>
            </a:fld>
            <a:r>
              <a:rPr lang="en-US" sz="1000" smtClean="0">
                <a:solidFill>
                  <a:schemeClr val="tx1"/>
                </a:solidFill>
              </a:rPr>
              <a:t/>
            </a:r>
            <a:br>
              <a:rPr lang="en-US" sz="1000" smtClean="0">
                <a:solidFill>
                  <a:schemeClr val="tx1"/>
                </a:solidFill>
              </a:rPr>
            </a:br>
            <a:r>
              <a:rPr lang="en-US" sz="1000" smtClean="0">
                <a:solidFill>
                  <a:schemeClr val="tx1"/>
                </a:solidFill>
              </a:rPr>
              <a:t>(</a:t>
            </a:r>
            <a:fld id="{65CF9FC5-3995-418B-8991-CE82A8E7CA15}" type="datetime'''''3''''''''''''''''.''5''''''''''8''''''''''''''''8'''">
              <a:rPr lang="en-US" sz="1000">
                <a:solidFill>
                  <a:schemeClr val="tx1"/>
                </a:solidFill>
              </a:rPr>
              <a:pPr/>
              <a:t>3.588</a:t>
            </a:fld>
            <a:r>
              <a:rPr lang="en-US" sz="1000" smtClean="0">
                <a:solidFill>
                  <a:schemeClr val="tx1"/>
                </a:solidFill>
              </a:rPr>
              <a:t>)</a:t>
            </a:r>
            <a:endParaRPr lang="en-US" sz="1000">
              <a:solidFill>
                <a:schemeClr val="tx1"/>
              </a:solidFill>
              <a:sym typeface="+mn-lt"/>
            </a:endParaRPr>
          </a:p>
        </p:txBody>
      </p:sp>
      <p:sp>
        <p:nvSpPr>
          <p:cNvPr id="14" name="Rectangle 13"/>
          <p:cNvSpPr/>
          <p:nvPr>
            <p:custDataLst>
              <p:tags r:id="rId11"/>
            </p:custDataLst>
          </p:nvPr>
        </p:nvSpPr>
        <p:spPr bwMode="auto">
          <a:xfrm>
            <a:off x="1347788" y="2565400"/>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FAEA798-7021-405C-9D1F-82BE940301F3}" type="datetime'''''n''u''''''''o ''''''''7'' i''''''ki 11'''''' ''m''''''.'">
              <a:rPr lang="en-US" sz="1000">
                <a:solidFill>
                  <a:schemeClr val="tx1"/>
                </a:solidFill>
              </a:rPr>
              <a:pPr algn="ctr">
                <a:spcBef>
                  <a:spcPct val="0"/>
                </a:spcBef>
                <a:spcAft>
                  <a:spcPct val="0"/>
                </a:spcAft>
              </a:pPr>
              <a:t>nuo 7 iki 11 m.</a:t>
            </a:fld>
            <a:endParaRPr lang="en-US" sz="1000">
              <a:solidFill>
                <a:schemeClr val="tx1"/>
              </a:solidFill>
              <a:latin typeface="Calibri"/>
              <a:sym typeface="Calibri"/>
            </a:endParaRPr>
          </a:p>
        </p:txBody>
      </p:sp>
      <p:sp>
        <p:nvSpPr>
          <p:cNvPr id="16" name="Rectangle 15"/>
          <p:cNvSpPr/>
          <p:nvPr>
            <p:custDataLst>
              <p:tags r:id="rId12"/>
            </p:custDataLst>
          </p:nvPr>
        </p:nvSpPr>
        <p:spPr bwMode="gray">
          <a:xfrm>
            <a:off x="1370013" y="15557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C457171-D3FF-41E5-A72B-31BA7D2BA381}" type="datetime'''''''''''''2''''''''0''''''''''''''''9''''''''%'''''''''">
              <a:rPr lang="en-US" sz="1000">
                <a:solidFill>
                  <a:schemeClr val="tx1"/>
                </a:solidFill>
              </a:rPr>
              <a:pPr/>
              <a:t>20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AB14D88A-D73F-4B2D-AC30-E43CA9309C0E}" type="datetime'''''3''''''''.''''''''''''''''''''802'''''">
              <a:rPr lang="en-US" sz="1000">
                <a:solidFill>
                  <a:schemeClr val="tx1"/>
                </a:solidFill>
              </a:rPr>
              <a:pPr/>
              <a:t>3.80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 name="Rectangle 6"/>
          <p:cNvSpPr/>
          <p:nvPr>
            <p:custDataLst>
              <p:tags r:id="rId13"/>
            </p:custDataLst>
          </p:nvPr>
        </p:nvSpPr>
        <p:spPr bwMode="auto">
          <a:xfrm>
            <a:off x="804863" y="2565400"/>
            <a:ext cx="382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7E7DF89-23AE-484D-99CE-50236ADB1A1A}" type="datetime'''''n''''uo'''''' ''''''''4 ''''''''iki 6'''''''' m''''''.'''">
              <a:rPr lang="en-US" sz="1000">
                <a:solidFill>
                  <a:schemeClr val="tx1"/>
                </a:solidFill>
              </a:rPr>
              <a:pPr algn="ctr">
                <a:spcBef>
                  <a:spcPct val="0"/>
                </a:spcBef>
                <a:spcAft>
                  <a:spcPct val="0"/>
                </a:spcAft>
              </a:pPr>
              <a:t>nuo 4 iki 6 m.</a:t>
            </a:fld>
            <a:endParaRPr lang="en-US" sz="1000">
              <a:solidFill>
                <a:schemeClr val="tx1"/>
              </a:solidFill>
              <a:sym typeface="+mn-lt"/>
            </a:endParaRPr>
          </a:p>
        </p:txBody>
      </p:sp>
      <p:sp>
        <p:nvSpPr>
          <p:cNvPr id="15" name="Rectangle 14"/>
          <p:cNvSpPr/>
          <p:nvPr>
            <p:custDataLst>
              <p:tags r:id="rId14"/>
            </p:custDataLst>
          </p:nvPr>
        </p:nvSpPr>
        <p:spPr bwMode="gray">
          <a:xfrm>
            <a:off x="793750" y="19653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2C6AB89-C094-4936-9000-6466947E7A32}" type="datetime'''''5''''''''''''''8''''''''''''''''''''''%'''''''''''''''''''">
              <a:rPr lang="en-US" sz="1000">
                <a:solidFill>
                  <a:schemeClr val="tx1"/>
                </a:solidFill>
              </a:rPr>
              <a:pPr/>
              <a:t>5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81F55DC8-DF9C-4814-91B3-8F30A556F592}" type="datetime'''1''''.''''''''''''0''''''''''''''59'''''''''''''">
              <a:rPr lang="en-US" sz="1000">
                <a:solidFill>
                  <a:schemeClr val="tx1"/>
                </a:solidFill>
              </a:rPr>
              <a:pPr/>
              <a:t>1.05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 name="Rectangle 4"/>
          <p:cNvSpPr/>
          <p:nvPr>
            <p:custDataLst>
              <p:tags r:id="rId15"/>
            </p:custDataLst>
          </p:nvPr>
        </p:nvSpPr>
        <p:spPr bwMode="auto">
          <a:xfrm>
            <a:off x="196850" y="2565400"/>
            <a:ext cx="444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A027EF6-A8BB-4D47-9A7A-DE7BFE2CF50E}" type="datetime'3'''''' ''''''ir'''''' ''j''''au''''n''e''sn''''''''i'''''">
              <a:rPr lang="en-US" sz="1000">
                <a:solidFill>
                  <a:schemeClr val="tx1"/>
                </a:solidFill>
              </a:rPr>
              <a:pPr algn="ctr">
                <a:spcBef>
                  <a:spcPct val="0"/>
                </a:spcBef>
                <a:spcAft>
                  <a:spcPct val="0"/>
                </a:spcAft>
              </a:pPr>
              <a:t>3 ir jaunesni</a:t>
            </a:fld>
            <a:endParaRPr lang="en-US" sz="1000">
              <a:solidFill>
                <a:schemeClr val="tx1"/>
              </a:solidFill>
              <a:sym typeface="+mn-lt"/>
            </a:endParaRPr>
          </a:p>
        </p:txBody>
      </p:sp>
      <p:sp>
        <p:nvSpPr>
          <p:cNvPr id="6" name="Rectangle 5"/>
          <p:cNvSpPr/>
          <p:nvPr>
            <p:custDataLst>
              <p:tags r:id="rId16"/>
            </p:custDataLst>
          </p:nvPr>
        </p:nvSpPr>
        <p:spPr bwMode="gray">
          <a:xfrm>
            <a:off x="266700" y="20891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18227B6-D109-4336-A262-CEEABF439507}" type="datetime'''''''''''''''1''''''''0''''''''''''''%'''''''''''''">
              <a:rPr lang="en-US" sz="1000">
                <a:solidFill>
                  <a:schemeClr val="tx1"/>
                </a:solidFill>
              </a:rPr>
              <a:pPr/>
              <a:t>10%</a:t>
            </a:fld>
            <a:r>
              <a:rPr lang="en-US" sz="1000" smtClean="0">
                <a:solidFill>
                  <a:schemeClr val="tx1"/>
                </a:solidFill>
              </a:rPr>
              <a:t/>
            </a:r>
            <a:br>
              <a:rPr lang="en-US" sz="1000" smtClean="0">
                <a:solidFill>
                  <a:schemeClr val="tx1"/>
                </a:solidFill>
              </a:rPr>
            </a:br>
            <a:r>
              <a:rPr lang="en-US" sz="1000" smtClean="0">
                <a:solidFill>
                  <a:schemeClr val="tx1"/>
                </a:solidFill>
              </a:rPr>
              <a:t>(</a:t>
            </a:r>
            <a:fld id="{396FFFC8-1430-448F-BC67-147360B3D311}" type="datetime'''1''''''''''''''''''''''''''''''''''7''7'''">
              <a:rPr lang="en-US" sz="1000">
                <a:solidFill>
                  <a:schemeClr val="tx1"/>
                </a:solidFill>
              </a:rPr>
              <a:pPr/>
              <a:t>177</a:t>
            </a:fld>
            <a:r>
              <a:rPr lang="en-US" sz="1000" smtClean="0">
                <a:solidFill>
                  <a:schemeClr val="tx1"/>
                </a:solidFill>
              </a:rPr>
              <a:t>)</a:t>
            </a:r>
            <a:endParaRPr lang="en-US" sz="1000" dirty="0">
              <a:solidFill>
                <a:schemeClr val="tx1"/>
              </a:solidFill>
              <a:latin typeface="Calibri"/>
              <a:sym typeface="Calibri"/>
            </a:endParaRPr>
          </a:p>
        </p:txBody>
      </p:sp>
      <p:sp>
        <p:nvSpPr>
          <p:cNvPr id="17" name="Rectangle 16"/>
          <p:cNvSpPr/>
          <p:nvPr/>
        </p:nvSpPr>
        <p:spPr>
          <a:xfrm>
            <a:off x="34925" y="1506538"/>
            <a:ext cx="3672979" cy="151683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9" name="Rectangle 18"/>
          <p:cNvSpPr/>
          <p:nvPr/>
        </p:nvSpPr>
        <p:spPr>
          <a:xfrm>
            <a:off x="41275" y="1124744"/>
            <a:ext cx="3672979" cy="38179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smtClean="0">
                <a:solidFill>
                  <a:schemeClr val="bg1"/>
                </a:solidFill>
                <a:cs typeface="Cambria"/>
              </a:rPr>
              <a:t>Projekt</a:t>
            </a:r>
            <a:r>
              <a:rPr lang="lt-LT" sz="1200" dirty="0" smtClean="0">
                <a:solidFill>
                  <a:schemeClr val="bg1"/>
                </a:solidFill>
                <a:cs typeface="Cambria"/>
              </a:rPr>
              <a:t>ų pasiskirstymas pagal vaikų ir jaunimo su kurie dalyvavo amžiaus grupes, vnt.</a:t>
            </a:r>
            <a:endParaRPr lang="lt-LT" sz="1200" dirty="0">
              <a:solidFill>
                <a:schemeClr val="bg1"/>
              </a:solidFill>
              <a:cs typeface="Cambria"/>
            </a:endParaRPr>
          </a:p>
        </p:txBody>
      </p:sp>
      <p:graphicFrame>
        <p:nvGraphicFramePr>
          <p:cNvPr id="22" name="Object 21"/>
          <p:cNvGraphicFramePr>
            <a:graphicFrameLocks/>
          </p:cNvGraphicFramePr>
          <p:nvPr>
            <p:custDataLst>
              <p:tags r:id="rId17"/>
            </p:custDataLst>
            <p:extLst>
              <p:ext uri="{D42A27DB-BD31-4B8C-83A1-F6EECF244321}">
                <p14:modId xmlns:p14="http://schemas.microsoft.com/office/powerpoint/2010/main" val="1741143939"/>
              </p:ext>
            </p:extLst>
          </p:nvPr>
        </p:nvGraphicFramePr>
        <p:xfrm>
          <a:off x="3886200" y="1600200"/>
          <a:ext cx="5133877" cy="952560"/>
        </p:xfrm>
        <a:graphic>
          <a:graphicData uri="http://schemas.openxmlformats.org/presentationml/2006/ole">
            <mc:AlternateContent xmlns:mc="http://schemas.openxmlformats.org/markup-compatibility/2006">
              <mc:Choice xmlns:v="urn:schemas-microsoft-com:vml" Requires="v">
                <p:oleObj spid="_x0000_s25648" name="Chart" r:id="rId100" imgW="5133979" imgH="952513" progId="MSGraph.Chart.8">
                  <p:embed followColorScheme="full"/>
                </p:oleObj>
              </mc:Choice>
              <mc:Fallback>
                <p:oleObj name="Chart" r:id="rId100" imgW="5133979" imgH="952513" progId="MSGraph.Chart.8">
                  <p:embed followColorScheme="full"/>
                  <p:pic>
                    <p:nvPicPr>
                      <p:cNvPr id="0" name=""/>
                      <p:cNvPicPr/>
                      <p:nvPr/>
                    </p:nvPicPr>
                    <p:blipFill>
                      <a:blip r:embed="rId101"/>
                      <a:stretch>
                        <a:fillRect/>
                      </a:stretch>
                    </p:blipFill>
                    <p:spPr>
                      <a:xfrm>
                        <a:off x="3886200" y="1600200"/>
                        <a:ext cx="5133877" cy="952560"/>
                      </a:xfrm>
                      <a:prstGeom prst="rect">
                        <a:avLst/>
                      </a:prstGeom>
                    </p:spPr>
                  </p:pic>
                </p:oleObj>
              </mc:Fallback>
            </mc:AlternateContent>
          </a:graphicData>
        </a:graphic>
      </p:graphicFrame>
      <p:sp>
        <p:nvSpPr>
          <p:cNvPr id="100" name="Rectangle 99"/>
          <p:cNvSpPr/>
          <p:nvPr>
            <p:custDataLst>
              <p:tags r:id="rId18"/>
            </p:custDataLst>
          </p:nvPr>
        </p:nvSpPr>
        <p:spPr bwMode="auto">
          <a:xfrm>
            <a:off x="6272213" y="2819400"/>
            <a:ext cx="3810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smtClean="0">
                <a:solidFill>
                  <a:schemeClr val="tx1"/>
                </a:solidFill>
                <a:sym typeface="+mn-lt"/>
              </a:rPr>
              <a:t>Amžius</a:t>
            </a:r>
            <a:endParaRPr lang="en-US" sz="1000" b="1" dirty="0">
              <a:solidFill>
                <a:schemeClr val="tx1"/>
              </a:solidFill>
              <a:sym typeface="+mn-lt"/>
            </a:endParaRPr>
          </a:p>
        </p:txBody>
      </p:sp>
      <p:sp>
        <p:nvSpPr>
          <p:cNvPr id="61" name="Rectangle 60"/>
          <p:cNvSpPr/>
          <p:nvPr>
            <p:custDataLst>
              <p:tags r:id="rId19"/>
            </p:custDataLst>
          </p:nvPr>
        </p:nvSpPr>
        <p:spPr bwMode="auto">
          <a:xfrm>
            <a:off x="870585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52913CD-B7C7-427C-89DF-C299C86CAC93}" type="datetime'''''''''''''''''''''''''''''''''''''2''''''''''''''''''''1'">
              <a:rPr lang="en-US" sz="1000">
                <a:solidFill>
                  <a:schemeClr val="tx1"/>
                </a:solidFill>
              </a:rPr>
              <a:pPr algn="ctr">
                <a:spcBef>
                  <a:spcPct val="0"/>
                </a:spcBef>
                <a:spcAft>
                  <a:spcPct val="0"/>
                </a:spcAft>
              </a:pPr>
              <a:t>21</a:t>
            </a:fld>
            <a:endParaRPr lang="en-US" sz="1000">
              <a:solidFill>
                <a:schemeClr val="tx1"/>
              </a:solidFill>
              <a:sym typeface="+mn-lt"/>
            </a:endParaRPr>
          </a:p>
        </p:txBody>
      </p:sp>
      <p:sp>
        <p:nvSpPr>
          <p:cNvPr id="52" name="Rectangle 51"/>
          <p:cNvSpPr/>
          <p:nvPr>
            <p:custDataLst>
              <p:tags r:id="rId20"/>
            </p:custDataLst>
          </p:nvPr>
        </p:nvSpPr>
        <p:spPr bwMode="gray">
          <a:xfrm>
            <a:off x="8682038" y="22701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9A01E44-DE56-4F53-A31E-B241C1E1781C}" type="datetime'''''''''''''''''0''''''%'''''''''''''''''''''">
              <a:rPr lang="en-US" sz="1000" smtClean="0">
                <a:solidFill>
                  <a:schemeClr val="tx1"/>
                </a:solidFill>
              </a:rPr>
              <a:pPr/>
              <a:t>0%</a:t>
            </a:fld>
            <a:endParaRPr lang="en-US" sz="1000">
              <a:solidFill>
                <a:schemeClr val="tx1"/>
              </a:solidFill>
              <a:sym typeface="+mn-lt"/>
            </a:endParaRPr>
          </a:p>
        </p:txBody>
      </p:sp>
      <p:sp>
        <p:nvSpPr>
          <p:cNvPr id="66" name="Rectangle 65"/>
          <p:cNvSpPr/>
          <p:nvPr>
            <p:custDataLst>
              <p:tags r:id="rId21"/>
            </p:custDataLst>
          </p:nvPr>
        </p:nvSpPr>
        <p:spPr bwMode="auto">
          <a:xfrm>
            <a:off x="844867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49F8E68-17AC-4A7E-B6DC-21FCFD70BF7A}" type="datetime'2''''''''''''''''''''''''''''''''''''''''''''''0'''">
              <a:rPr lang="en-US" sz="1000">
                <a:solidFill>
                  <a:schemeClr val="tx1"/>
                </a:solidFill>
              </a:rPr>
              <a:pPr algn="ctr">
                <a:spcBef>
                  <a:spcPct val="0"/>
                </a:spcBef>
                <a:spcAft>
                  <a:spcPct val="0"/>
                </a:spcAft>
              </a:pPr>
              <a:t>20</a:t>
            </a:fld>
            <a:endParaRPr lang="en-US" sz="1000">
              <a:solidFill>
                <a:schemeClr val="tx1"/>
              </a:solidFill>
              <a:sym typeface="+mn-lt"/>
            </a:endParaRPr>
          </a:p>
        </p:txBody>
      </p:sp>
      <p:sp>
        <p:nvSpPr>
          <p:cNvPr id="60" name="Rectangle 59"/>
          <p:cNvSpPr/>
          <p:nvPr>
            <p:custDataLst>
              <p:tags r:id="rId22"/>
            </p:custDataLst>
          </p:nvPr>
        </p:nvSpPr>
        <p:spPr bwMode="gray">
          <a:xfrm>
            <a:off x="8424863" y="22034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4B33C36-9D29-4A5C-9A46-D8FD8207376C}" type="datetime'''''''''''''''5''''''''''''''''''''''''''''''''%'">
              <a:rPr lang="en-US" sz="1000" smtClean="0">
                <a:solidFill>
                  <a:schemeClr val="tx1"/>
                </a:solidFill>
              </a:rPr>
              <a:pPr/>
              <a:t>5%</a:t>
            </a:fld>
            <a:endParaRPr lang="en-US" sz="1000">
              <a:solidFill>
                <a:schemeClr val="tx1"/>
              </a:solidFill>
              <a:sym typeface="+mn-lt"/>
            </a:endParaRPr>
          </a:p>
        </p:txBody>
      </p:sp>
      <p:sp>
        <p:nvSpPr>
          <p:cNvPr id="54" name="Rectangle 53"/>
          <p:cNvSpPr/>
          <p:nvPr>
            <p:custDataLst>
              <p:tags r:id="rId23"/>
            </p:custDataLst>
          </p:nvPr>
        </p:nvSpPr>
        <p:spPr bwMode="auto">
          <a:xfrm>
            <a:off x="819150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9490B96-D01E-4841-B3E0-F5B49B4BDAA8}" type="datetime'''''''''''''19'''">
              <a:rPr lang="en-US" sz="1000">
                <a:solidFill>
                  <a:schemeClr val="tx1"/>
                </a:solidFill>
              </a:rPr>
              <a:pPr algn="ctr">
                <a:spcBef>
                  <a:spcPct val="0"/>
                </a:spcBef>
                <a:spcAft>
                  <a:spcPct val="0"/>
                </a:spcAft>
              </a:pPr>
              <a:t>19</a:t>
            </a:fld>
            <a:endParaRPr lang="en-US" sz="1000">
              <a:solidFill>
                <a:schemeClr val="tx1"/>
              </a:solidFill>
              <a:sym typeface="+mn-lt"/>
            </a:endParaRPr>
          </a:p>
        </p:txBody>
      </p:sp>
      <p:sp>
        <p:nvSpPr>
          <p:cNvPr id="63" name="Rectangle 62"/>
          <p:cNvSpPr/>
          <p:nvPr>
            <p:custDataLst>
              <p:tags r:id="rId24"/>
            </p:custDataLst>
          </p:nvPr>
        </p:nvSpPr>
        <p:spPr bwMode="gray">
          <a:xfrm>
            <a:off x="8135938" y="20986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0580E01-3995-4C50-89E0-653439979CF8}" type="datetime'''''''''''''1''''''''''''2''''''''''''''''''''''''''''%'''''''">
              <a:rPr lang="en-US" sz="1000" smtClean="0">
                <a:solidFill>
                  <a:schemeClr val="tx1"/>
                </a:solidFill>
              </a:rPr>
              <a:pPr/>
              <a:t>12%</a:t>
            </a:fld>
            <a:endParaRPr lang="en-US" sz="1000">
              <a:solidFill>
                <a:schemeClr val="tx1"/>
              </a:solidFill>
              <a:sym typeface="+mn-lt"/>
            </a:endParaRPr>
          </a:p>
        </p:txBody>
      </p:sp>
      <p:sp>
        <p:nvSpPr>
          <p:cNvPr id="57" name="Rectangle 56"/>
          <p:cNvSpPr/>
          <p:nvPr>
            <p:custDataLst>
              <p:tags r:id="rId25"/>
            </p:custDataLst>
          </p:nvPr>
        </p:nvSpPr>
        <p:spPr bwMode="auto">
          <a:xfrm>
            <a:off x="793432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064C053-7187-4399-ABF1-2A133540EBAB}" type="datetime'''''''''''''''''''''''''''''''''''''''''''''''''''1''''''''8'">
              <a:rPr lang="en-US" sz="1000">
                <a:solidFill>
                  <a:schemeClr val="tx1"/>
                </a:solidFill>
              </a:rPr>
              <a:pPr algn="ctr">
                <a:spcBef>
                  <a:spcPct val="0"/>
                </a:spcBef>
                <a:spcAft>
                  <a:spcPct val="0"/>
                </a:spcAft>
              </a:pPr>
              <a:t>18</a:t>
            </a:fld>
            <a:endParaRPr lang="en-US" sz="1000">
              <a:solidFill>
                <a:schemeClr val="tx1"/>
              </a:solidFill>
              <a:sym typeface="+mn-lt"/>
            </a:endParaRPr>
          </a:p>
        </p:txBody>
      </p:sp>
      <p:sp>
        <p:nvSpPr>
          <p:cNvPr id="64" name="Rectangle 63"/>
          <p:cNvSpPr/>
          <p:nvPr>
            <p:custDataLst>
              <p:tags r:id="rId26"/>
            </p:custDataLst>
          </p:nvPr>
        </p:nvSpPr>
        <p:spPr bwMode="gray">
          <a:xfrm>
            <a:off x="7878763" y="19748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16235DB-61F2-460B-B720-04A499427D42}" type="datetime'''21''''''''''''''''''%'''''''''''''''''''''''">
              <a:rPr lang="en-US" sz="1000" smtClean="0">
                <a:solidFill>
                  <a:schemeClr val="tx1"/>
                </a:solidFill>
              </a:rPr>
              <a:pPr/>
              <a:t>21%</a:t>
            </a:fld>
            <a:endParaRPr lang="en-US" sz="1000">
              <a:solidFill>
                <a:schemeClr val="tx1"/>
              </a:solidFill>
              <a:sym typeface="+mn-lt"/>
            </a:endParaRPr>
          </a:p>
        </p:txBody>
      </p:sp>
      <p:sp>
        <p:nvSpPr>
          <p:cNvPr id="56" name="Rectangle 55"/>
          <p:cNvSpPr/>
          <p:nvPr>
            <p:custDataLst>
              <p:tags r:id="rId27"/>
            </p:custDataLst>
          </p:nvPr>
        </p:nvSpPr>
        <p:spPr bwMode="auto">
          <a:xfrm>
            <a:off x="767715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5CF4143-E50A-4B87-923C-2827AB453ADC}" type="datetime'''''''''''''''''''''''''''''''''''''''''''''1''''7'''''''">
              <a:rPr lang="en-US" sz="1000">
                <a:solidFill>
                  <a:schemeClr val="tx1"/>
                </a:solidFill>
              </a:rPr>
              <a:pPr algn="ctr">
                <a:spcBef>
                  <a:spcPct val="0"/>
                </a:spcBef>
                <a:spcAft>
                  <a:spcPct val="0"/>
                </a:spcAft>
              </a:pPr>
              <a:t>17</a:t>
            </a:fld>
            <a:endParaRPr lang="en-US" sz="1000">
              <a:solidFill>
                <a:schemeClr val="tx1"/>
              </a:solidFill>
              <a:sym typeface="+mn-lt"/>
            </a:endParaRPr>
          </a:p>
        </p:txBody>
      </p:sp>
      <p:sp>
        <p:nvSpPr>
          <p:cNvPr id="59" name="Rectangle 58"/>
          <p:cNvSpPr/>
          <p:nvPr>
            <p:custDataLst>
              <p:tags r:id="rId28"/>
            </p:custDataLst>
          </p:nvPr>
        </p:nvSpPr>
        <p:spPr bwMode="gray">
          <a:xfrm>
            <a:off x="7621588" y="19177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6712356-D25C-42BA-972E-951B2A7D5CDE}" type="datetime'2''''''''6''''''''''''''''''''''%'''''''''">
              <a:rPr lang="en-US" sz="1000" smtClean="0">
                <a:solidFill>
                  <a:schemeClr val="tx1"/>
                </a:solidFill>
              </a:rPr>
              <a:pPr/>
              <a:t>26%</a:t>
            </a:fld>
            <a:endParaRPr lang="en-US" sz="1000">
              <a:solidFill>
                <a:schemeClr val="tx1"/>
              </a:solidFill>
              <a:sym typeface="+mn-lt"/>
            </a:endParaRPr>
          </a:p>
        </p:txBody>
      </p:sp>
      <p:sp>
        <p:nvSpPr>
          <p:cNvPr id="62" name="Rectangle 61"/>
          <p:cNvSpPr/>
          <p:nvPr>
            <p:custDataLst>
              <p:tags r:id="rId29"/>
            </p:custDataLst>
          </p:nvPr>
        </p:nvSpPr>
        <p:spPr bwMode="auto">
          <a:xfrm>
            <a:off x="741997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ABCE9E9-C5D4-4832-9C36-89B47E8D9A40}" type="datetime'''''''''''1''''''''''''''''''''''6'''''''''''''''''''''">
              <a:rPr lang="en-US" sz="1000">
                <a:solidFill>
                  <a:schemeClr val="tx1"/>
                </a:solidFill>
              </a:rPr>
              <a:pPr algn="ctr">
                <a:spcBef>
                  <a:spcPct val="0"/>
                </a:spcBef>
                <a:spcAft>
                  <a:spcPct val="0"/>
                </a:spcAft>
              </a:pPr>
              <a:t>16</a:t>
            </a:fld>
            <a:endParaRPr lang="en-US" sz="1000">
              <a:solidFill>
                <a:schemeClr val="tx1"/>
              </a:solidFill>
              <a:sym typeface="+mn-lt"/>
            </a:endParaRPr>
          </a:p>
        </p:txBody>
      </p:sp>
      <p:sp>
        <p:nvSpPr>
          <p:cNvPr id="65" name="Rectangle 64"/>
          <p:cNvSpPr/>
          <p:nvPr>
            <p:custDataLst>
              <p:tags r:id="rId30"/>
            </p:custDataLst>
          </p:nvPr>
        </p:nvSpPr>
        <p:spPr bwMode="gray">
          <a:xfrm>
            <a:off x="7364413" y="17748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22F0839-08A0-41D5-AF41-938C485FD0D7}" type="datetime'''''''''''''''''''''''''''''''3''''''''6''%'''''''''''''''''">
              <a:rPr lang="en-US" sz="1000" smtClean="0">
                <a:solidFill>
                  <a:schemeClr val="tx1"/>
                </a:solidFill>
              </a:rPr>
              <a:pPr/>
              <a:t>36%</a:t>
            </a:fld>
            <a:endParaRPr lang="en-US" sz="1000">
              <a:solidFill>
                <a:schemeClr val="tx1"/>
              </a:solidFill>
              <a:sym typeface="+mn-lt"/>
            </a:endParaRPr>
          </a:p>
        </p:txBody>
      </p:sp>
      <p:sp>
        <p:nvSpPr>
          <p:cNvPr id="53" name="Rectangle 52"/>
          <p:cNvSpPr/>
          <p:nvPr>
            <p:custDataLst>
              <p:tags r:id="rId31"/>
            </p:custDataLst>
          </p:nvPr>
        </p:nvSpPr>
        <p:spPr bwMode="auto">
          <a:xfrm>
            <a:off x="716280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BB5C16-763D-436A-AF2D-0941E435E06A}" type="datetime'''''''''''''15'''''''''''''''''''''''''''''''''''''''''''">
              <a:rPr lang="en-US" sz="1000">
                <a:solidFill>
                  <a:schemeClr val="tx1"/>
                </a:solidFill>
              </a:rPr>
              <a:pPr algn="ctr">
                <a:spcBef>
                  <a:spcPct val="0"/>
                </a:spcBef>
                <a:spcAft>
                  <a:spcPct val="0"/>
                </a:spcAft>
              </a:pPr>
              <a:t>15</a:t>
            </a:fld>
            <a:endParaRPr lang="en-US" sz="1000">
              <a:solidFill>
                <a:schemeClr val="tx1"/>
              </a:solidFill>
              <a:sym typeface="+mn-lt"/>
            </a:endParaRPr>
          </a:p>
        </p:txBody>
      </p:sp>
      <p:sp>
        <p:nvSpPr>
          <p:cNvPr id="55" name="Rectangle 54"/>
          <p:cNvSpPr/>
          <p:nvPr>
            <p:custDataLst>
              <p:tags r:id="rId32"/>
            </p:custDataLst>
          </p:nvPr>
        </p:nvSpPr>
        <p:spPr bwMode="gray">
          <a:xfrm>
            <a:off x="7107238" y="16605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B68AFD5-0136-4C25-A4BD-EC20C11ACDAA}" type="datetime'''''''''''4''''''''''5''''''''%'''''''''''''''''''''''''''''''">
              <a:rPr lang="en-US" sz="1000" smtClean="0">
                <a:solidFill>
                  <a:schemeClr val="tx1"/>
                </a:solidFill>
              </a:rPr>
              <a:pPr/>
              <a:t>45%</a:t>
            </a:fld>
            <a:endParaRPr lang="en-US" sz="1000">
              <a:solidFill>
                <a:schemeClr val="tx1"/>
              </a:solidFill>
              <a:sym typeface="+mn-lt"/>
            </a:endParaRPr>
          </a:p>
        </p:txBody>
      </p:sp>
      <p:sp>
        <p:nvSpPr>
          <p:cNvPr id="58" name="Rectangle 57"/>
          <p:cNvSpPr/>
          <p:nvPr>
            <p:custDataLst>
              <p:tags r:id="rId33"/>
            </p:custDataLst>
          </p:nvPr>
        </p:nvSpPr>
        <p:spPr bwMode="auto">
          <a:xfrm>
            <a:off x="690562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2D9E3F5-4195-4853-9C25-5F5E63535CE4}" type="datetime'''''''''''''''''''''1''''''''''''''''''''''4'">
              <a:rPr lang="en-US" sz="1000">
                <a:solidFill>
                  <a:schemeClr val="tx1"/>
                </a:solidFill>
              </a:rPr>
              <a:pPr algn="ctr">
                <a:spcBef>
                  <a:spcPct val="0"/>
                </a:spcBef>
                <a:spcAft>
                  <a:spcPct val="0"/>
                </a:spcAft>
              </a:pPr>
              <a:t>14</a:t>
            </a:fld>
            <a:endParaRPr lang="en-US" sz="1000">
              <a:solidFill>
                <a:schemeClr val="tx1"/>
              </a:solidFill>
              <a:sym typeface="+mn-lt"/>
            </a:endParaRPr>
          </a:p>
        </p:txBody>
      </p:sp>
      <p:sp>
        <p:nvSpPr>
          <p:cNvPr id="28" name="Rectangle 27"/>
          <p:cNvSpPr/>
          <p:nvPr>
            <p:custDataLst>
              <p:tags r:id="rId34"/>
            </p:custDataLst>
          </p:nvPr>
        </p:nvSpPr>
        <p:spPr bwMode="gray">
          <a:xfrm>
            <a:off x="6850063" y="15938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3FDBA80-F1D0-4A91-81DF-F048D0F649F8}" type="datetime'''''''''''50''''''''''''''''''''''%'''''''''''''''''''''''">
              <a:rPr lang="en-US" sz="1000" smtClean="0">
                <a:solidFill>
                  <a:schemeClr val="tx1"/>
                </a:solidFill>
              </a:rPr>
              <a:pPr/>
              <a:t>50%</a:t>
            </a:fld>
            <a:endParaRPr lang="en-US" sz="1000">
              <a:solidFill>
                <a:schemeClr val="tx1"/>
              </a:solidFill>
              <a:sym typeface="+mn-lt"/>
            </a:endParaRPr>
          </a:p>
        </p:txBody>
      </p:sp>
      <p:sp>
        <p:nvSpPr>
          <p:cNvPr id="29" name="Rectangle 28"/>
          <p:cNvSpPr/>
          <p:nvPr>
            <p:custDataLst>
              <p:tags r:id="rId35"/>
            </p:custDataLst>
          </p:nvPr>
        </p:nvSpPr>
        <p:spPr bwMode="auto">
          <a:xfrm>
            <a:off x="664845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415F863-0D7E-4BC1-88EA-0B28C2D2FC2C}" type="datetime'''''''1''''''''''''''''''''''''''''''3'''''''''''''''">
              <a:rPr lang="en-US" sz="1000">
                <a:solidFill>
                  <a:schemeClr val="tx1"/>
                </a:solidFill>
              </a:rPr>
              <a:pPr algn="ctr">
                <a:spcBef>
                  <a:spcPct val="0"/>
                </a:spcBef>
                <a:spcAft>
                  <a:spcPct val="0"/>
                </a:spcAft>
              </a:pPr>
              <a:t>13</a:t>
            </a:fld>
            <a:endParaRPr lang="en-US" sz="1000">
              <a:solidFill>
                <a:schemeClr val="tx1"/>
              </a:solidFill>
              <a:sym typeface="+mn-lt"/>
            </a:endParaRPr>
          </a:p>
        </p:txBody>
      </p:sp>
      <p:sp>
        <p:nvSpPr>
          <p:cNvPr id="30" name="Rectangle 29"/>
          <p:cNvSpPr/>
          <p:nvPr>
            <p:custDataLst>
              <p:tags r:id="rId36"/>
            </p:custDataLst>
          </p:nvPr>
        </p:nvSpPr>
        <p:spPr bwMode="gray">
          <a:xfrm>
            <a:off x="6592888" y="15938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FA7023D-7DFA-4A99-8491-01E56CA6BEA7}" type="datetime'''''4''9''''''''''''''''''''''%'''''''''''''''''''''''''">
              <a:rPr lang="en-US" sz="1000" smtClean="0">
                <a:solidFill>
                  <a:schemeClr val="tx1"/>
                </a:solidFill>
              </a:rPr>
              <a:pPr/>
              <a:t>49%</a:t>
            </a:fld>
            <a:endParaRPr lang="en-US" sz="1000">
              <a:solidFill>
                <a:schemeClr val="tx1"/>
              </a:solidFill>
              <a:sym typeface="+mn-lt"/>
            </a:endParaRPr>
          </a:p>
        </p:txBody>
      </p:sp>
      <p:sp>
        <p:nvSpPr>
          <p:cNvPr id="31" name="Rectangle 30"/>
          <p:cNvSpPr/>
          <p:nvPr>
            <p:custDataLst>
              <p:tags r:id="rId37"/>
            </p:custDataLst>
          </p:nvPr>
        </p:nvSpPr>
        <p:spPr bwMode="auto">
          <a:xfrm>
            <a:off x="639127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C633A92-C059-4C8D-8F4F-1F69A68F9C54}" type="datetime'''''''''1''''''''''''''''''''''''''''2'''''''''''''">
              <a:rPr lang="en-US" sz="1000">
                <a:solidFill>
                  <a:schemeClr val="tx1"/>
                </a:solidFill>
              </a:rPr>
              <a:pPr algn="ctr">
                <a:spcBef>
                  <a:spcPct val="0"/>
                </a:spcBef>
                <a:spcAft>
                  <a:spcPct val="0"/>
                </a:spcAft>
              </a:pPr>
              <a:t>12</a:t>
            </a:fld>
            <a:endParaRPr lang="en-US" sz="1000">
              <a:solidFill>
                <a:schemeClr val="tx1"/>
              </a:solidFill>
              <a:sym typeface="+mn-lt"/>
            </a:endParaRPr>
          </a:p>
        </p:txBody>
      </p:sp>
      <p:sp>
        <p:nvSpPr>
          <p:cNvPr id="32" name="Rectangle 31"/>
          <p:cNvSpPr/>
          <p:nvPr>
            <p:custDataLst>
              <p:tags r:id="rId38"/>
            </p:custDataLst>
          </p:nvPr>
        </p:nvSpPr>
        <p:spPr bwMode="gray">
          <a:xfrm>
            <a:off x="6335713" y="15462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79386A6-F063-4127-8512-79676A9E30DD}" type="datetime'''''''''''''''''''53%'''''''''''''''''''''''">
              <a:rPr lang="en-US" sz="1000" smtClean="0">
                <a:solidFill>
                  <a:schemeClr val="tx1"/>
                </a:solidFill>
              </a:rPr>
              <a:pPr/>
              <a:t>53%</a:t>
            </a:fld>
            <a:endParaRPr lang="en-US" sz="1000">
              <a:solidFill>
                <a:schemeClr val="tx1"/>
              </a:solidFill>
              <a:sym typeface="+mn-lt"/>
            </a:endParaRPr>
          </a:p>
        </p:txBody>
      </p:sp>
      <p:sp>
        <p:nvSpPr>
          <p:cNvPr id="33" name="Rectangle 32"/>
          <p:cNvSpPr/>
          <p:nvPr>
            <p:custDataLst>
              <p:tags r:id="rId39"/>
            </p:custDataLst>
          </p:nvPr>
        </p:nvSpPr>
        <p:spPr bwMode="auto">
          <a:xfrm>
            <a:off x="613410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8715735-D167-4474-A83C-CE5FC21A24A8}" type="datetime'1''''''1'''''''''''''''''''''''''">
              <a:rPr lang="en-US" sz="1000">
                <a:solidFill>
                  <a:schemeClr val="tx1"/>
                </a:solidFill>
              </a:rPr>
              <a:pPr algn="ctr">
                <a:spcBef>
                  <a:spcPct val="0"/>
                </a:spcBef>
                <a:spcAft>
                  <a:spcPct val="0"/>
                </a:spcAft>
              </a:pPr>
              <a:t>11</a:t>
            </a:fld>
            <a:endParaRPr lang="en-US" sz="1000">
              <a:solidFill>
                <a:schemeClr val="tx1"/>
              </a:solidFill>
              <a:sym typeface="+mn-lt"/>
            </a:endParaRPr>
          </a:p>
        </p:txBody>
      </p:sp>
      <p:sp>
        <p:nvSpPr>
          <p:cNvPr id="34" name="Rectangle 33"/>
          <p:cNvSpPr/>
          <p:nvPr>
            <p:custDataLst>
              <p:tags r:id="rId40"/>
            </p:custDataLst>
          </p:nvPr>
        </p:nvSpPr>
        <p:spPr bwMode="gray">
          <a:xfrm>
            <a:off x="6078538" y="15748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3A8AE0B-A944-4A45-8C2E-36934BABA140}" type="datetime'''''''''''''''51''''''''''''''%'''''''''''">
              <a:rPr lang="en-US" sz="1000" smtClean="0">
                <a:solidFill>
                  <a:schemeClr val="tx1"/>
                </a:solidFill>
              </a:rPr>
              <a:pPr/>
              <a:t>51%</a:t>
            </a:fld>
            <a:endParaRPr lang="en-US" sz="1000">
              <a:solidFill>
                <a:schemeClr val="tx1"/>
              </a:solidFill>
              <a:sym typeface="+mn-lt"/>
            </a:endParaRPr>
          </a:p>
        </p:txBody>
      </p:sp>
      <p:sp>
        <p:nvSpPr>
          <p:cNvPr id="35" name="Rectangle 34"/>
          <p:cNvSpPr/>
          <p:nvPr>
            <p:custDataLst>
              <p:tags r:id="rId41"/>
            </p:custDataLst>
          </p:nvPr>
        </p:nvSpPr>
        <p:spPr bwMode="auto">
          <a:xfrm>
            <a:off x="587692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1E5BDC-2938-4E62-A710-36494C4A5C58}" type="datetime'''''''''1''0'''''''''">
              <a:rPr lang="en-US" sz="1000">
                <a:solidFill>
                  <a:schemeClr val="tx1"/>
                </a:solidFill>
              </a:rPr>
              <a:pPr algn="ctr">
                <a:spcBef>
                  <a:spcPct val="0"/>
                </a:spcBef>
                <a:spcAft>
                  <a:spcPct val="0"/>
                </a:spcAft>
              </a:pPr>
              <a:t>10</a:t>
            </a:fld>
            <a:endParaRPr lang="en-US" sz="1000">
              <a:solidFill>
                <a:schemeClr val="tx1"/>
              </a:solidFill>
              <a:sym typeface="+mn-lt"/>
            </a:endParaRPr>
          </a:p>
        </p:txBody>
      </p:sp>
      <p:sp>
        <p:nvSpPr>
          <p:cNvPr id="36" name="Rectangle 35"/>
          <p:cNvSpPr/>
          <p:nvPr>
            <p:custDataLst>
              <p:tags r:id="rId42"/>
            </p:custDataLst>
          </p:nvPr>
        </p:nvSpPr>
        <p:spPr bwMode="gray">
          <a:xfrm>
            <a:off x="5821363" y="16033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19E3F82-82AE-42FC-982C-DFFD82CE9087}" type="datetime'''''''4''''''9''''''''''''''%'''''''''''''''''''">
              <a:rPr lang="en-US" sz="1000" smtClean="0">
                <a:solidFill>
                  <a:schemeClr val="tx1"/>
                </a:solidFill>
              </a:rPr>
              <a:pPr/>
              <a:t>49%</a:t>
            </a:fld>
            <a:endParaRPr lang="en-US" sz="1000">
              <a:solidFill>
                <a:schemeClr val="tx1"/>
              </a:solidFill>
              <a:sym typeface="+mn-lt"/>
            </a:endParaRPr>
          </a:p>
        </p:txBody>
      </p:sp>
      <p:sp>
        <p:nvSpPr>
          <p:cNvPr id="37" name="Rectangle 36"/>
          <p:cNvSpPr/>
          <p:nvPr>
            <p:custDataLst>
              <p:tags r:id="rId43"/>
            </p:custDataLst>
          </p:nvPr>
        </p:nvSpPr>
        <p:spPr bwMode="auto">
          <a:xfrm>
            <a:off x="5653088"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008479A-29CA-4B44-8E73-206BE96AC265}" type="datetime'''''''''''''''''''''''''''''9'''''">
              <a:rPr lang="en-US" sz="1000">
                <a:solidFill>
                  <a:schemeClr val="tx1"/>
                </a:solidFill>
              </a:rPr>
              <a:pPr algn="ctr">
                <a:spcBef>
                  <a:spcPct val="0"/>
                </a:spcBef>
                <a:spcAft>
                  <a:spcPct val="0"/>
                </a:spcAft>
              </a:pPr>
              <a:t>9</a:t>
            </a:fld>
            <a:endParaRPr lang="en-US" sz="1000">
              <a:solidFill>
                <a:schemeClr val="tx1"/>
              </a:solidFill>
              <a:sym typeface="+mn-lt"/>
            </a:endParaRPr>
          </a:p>
        </p:txBody>
      </p:sp>
      <p:sp>
        <p:nvSpPr>
          <p:cNvPr id="38" name="Rectangle 37"/>
          <p:cNvSpPr/>
          <p:nvPr>
            <p:custDataLst>
              <p:tags r:id="rId44"/>
            </p:custDataLst>
          </p:nvPr>
        </p:nvSpPr>
        <p:spPr bwMode="gray">
          <a:xfrm>
            <a:off x="5564188" y="17176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BC768AF-2FA0-45AE-BEF6-9FF9D3237285}" type="datetime'4''''''0''''''%'''''''''''''''''''''''''''''''''''''''''''''''">
              <a:rPr lang="en-US" sz="1000" smtClean="0">
                <a:solidFill>
                  <a:schemeClr val="tx1"/>
                </a:solidFill>
              </a:rPr>
              <a:pPr/>
              <a:t>40%</a:t>
            </a:fld>
            <a:endParaRPr lang="en-US" sz="1000">
              <a:solidFill>
                <a:schemeClr val="tx1"/>
              </a:solidFill>
              <a:sym typeface="+mn-lt"/>
            </a:endParaRPr>
          </a:p>
        </p:txBody>
      </p:sp>
      <p:sp>
        <p:nvSpPr>
          <p:cNvPr id="39" name="Rectangle 38"/>
          <p:cNvSpPr/>
          <p:nvPr>
            <p:custDataLst>
              <p:tags r:id="rId45"/>
            </p:custDataLst>
          </p:nvPr>
        </p:nvSpPr>
        <p:spPr bwMode="auto">
          <a:xfrm>
            <a:off x="5395913"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FF3960E-EC42-42E9-8E1F-7277787C882F}" type="datetime'''''''''''''''''''''''''''''''''''''''8'''''''''''''''''''''''">
              <a:rPr lang="en-US" sz="1000">
                <a:solidFill>
                  <a:schemeClr val="tx1"/>
                </a:solidFill>
              </a:rPr>
              <a:pPr algn="ctr">
                <a:spcBef>
                  <a:spcPct val="0"/>
                </a:spcBef>
                <a:spcAft>
                  <a:spcPct val="0"/>
                </a:spcAft>
              </a:pPr>
              <a:t>8</a:t>
            </a:fld>
            <a:endParaRPr lang="en-US" sz="1000">
              <a:solidFill>
                <a:schemeClr val="tx1"/>
              </a:solidFill>
              <a:sym typeface="+mn-lt"/>
            </a:endParaRPr>
          </a:p>
        </p:txBody>
      </p:sp>
      <p:sp>
        <p:nvSpPr>
          <p:cNvPr id="40" name="Rectangle 39"/>
          <p:cNvSpPr/>
          <p:nvPr>
            <p:custDataLst>
              <p:tags r:id="rId46"/>
            </p:custDataLst>
          </p:nvPr>
        </p:nvSpPr>
        <p:spPr bwMode="gray">
          <a:xfrm>
            <a:off x="5307013" y="17843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F672110-71C1-4308-820B-2BB96EC75673}" type="datetime'''''3''''''6''''''''%'''''''''''''">
              <a:rPr lang="en-US" sz="1000" smtClean="0">
                <a:solidFill>
                  <a:schemeClr val="tx1"/>
                </a:solidFill>
              </a:rPr>
              <a:pPr/>
              <a:t>36%</a:t>
            </a:fld>
            <a:endParaRPr lang="en-US" sz="1000">
              <a:solidFill>
                <a:schemeClr val="tx1"/>
              </a:solidFill>
              <a:sym typeface="+mn-lt"/>
            </a:endParaRPr>
          </a:p>
        </p:txBody>
      </p:sp>
      <p:sp>
        <p:nvSpPr>
          <p:cNvPr id="41" name="Rectangle 40"/>
          <p:cNvSpPr/>
          <p:nvPr>
            <p:custDataLst>
              <p:tags r:id="rId47"/>
            </p:custDataLst>
          </p:nvPr>
        </p:nvSpPr>
        <p:spPr bwMode="auto">
          <a:xfrm>
            <a:off x="5138738"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CF66AD5-6303-4DFC-8CCD-142C58A728F5}" type="datetime'''''''''''''''''''7'''''''''''''''''''''''''''''''''''''''">
              <a:rPr lang="en-US" sz="1000">
                <a:solidFill>
                  <a:schemeClr val="tx1"/>
                </a:solidFill>
              </a:rPr>
              <a:pPr algn="ctr">
                <a:spcBef>
                  <a:spcPct val="0"/>
                </a:spcBef>
                <a:spcAft>
                  <a:spcPct val="0"/>
                </a:spcAft>
              </a:pPr>
              <a:t>7</a:t>
            </a:fld>
            <a:endParaRPr lang="en-US" sz="1000">
              <a:solidFill>
                <a:schemeClr val="tx1"/>
              </a:solidFill>
              <a:sym typeface="+mn-lt"/>
            </a:endParaRPr>
          </a:p>
        </p:txBody>
      </p:sp>
      <p:sp>
        <p:nvSpPr>
          <p:cNvPr id="42" name="Rectangle 41"/>
          <p:cNvSpPr/>
          <p:nvPr>
            <p:custDataLst>
              <p:tags r:id="rId48"/>
            </p:custDataLst>
          </p:nvPr>
        </p:nvSpPr>
        <p:spPr bwMode="gray">
          <a:xfrm>
            <a:off x="5049838" y="18224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5FF23F7-AEC1-4EE5-BE12-FD0EE847E8A6}" type="datetime'''''3''''3''''''''''''''''''''''''''''''%'''''''''''''''''''">
              <a:rPr lang="en-US" sz="1000" smtClean="0">
                <a:solidFill>
                  <a:schemeClr val="tx1"/>
                </a:solidFill>
              </a:rPr>
              <a:pPr/>
              <a:t>33%</a:t>
            </a:fld>
            <a:endParaRPr lang="en-US" sz="1000" dirty="0">
              <a:solidFill>
                <a:schemeClr val="tx1"/>
              </a:solidFill>
              <a:sym typeface="+mn-lt"/>
            </a:endParaRPr>
          </a:p>
        </p:txBody>
      </p:sp>
      <p:sp>
        <p:nvSpPr>
          <p:cNvPr id="43" name="Rectangle 42"/>
          <p:cNvSpPr/>
          <p:nvPr>
            <p:custDataLst>
              <p:tags r:id="rId49"/>
            </p:custDataLst>
          </p:nvPr>
        </p:nvSpPr>
        <p:spPr bwMode="auto">
          <a:xfrm>
            <a:off x="4881563"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9A46033-DD19-45F4-AB6F-D0D16BC9F1ED}" type="datetime'''''''''''''''6'''''''''''''''''''''''''''''''''''''''''''''''">
              <a:rPr lang="en-US" sz="1000">
                <a:solidFill>
                  <a:schemeClr val="tx1"/>
                </a:solidFill>
              </a:rPr>
              <a:pPr algn="ctr">
                <a:spcBef>
                  <a:spcPct val="0"/>
                </a:spcBef>
                <a:spcAft>
                  <a:spcPct val="0"/>
                </a:spcAft>
              </a:pPr>
              <a:t>6</a:t>
            </a:fld>
            <a:endParaRPr lang="en-US" sz="1000">
              <a:solidFill>
                <a:schemeClr val="tx1"/>
              </a:solidFill>
              <a:sym typeface="+mn-lt"/>
            </a:endParaRPr>
          </a:p>
        </p:txBody>
      </p:sp>
      <p:sp>
        <p:nvSpPr>
          <p:cNvPr id="44" name="Rectangle 43"/>
          <p:cNvSpPr/>
          <p:nvPr>
            <p:custDataLst>
              <p:tags r:id="rId50"/>
            </p:custDataLst>
          </p:nvPr>
        </p:nvSpPr>
        <p:spPr bwMode="gray">
          <a:xfrm>
            <a:off x="4792663" y="19081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9161A83-435D-4EF2-AB96-10523512668B}" type="datetime'''''2''''6''''''''''''%'">
              <a:rPr lang="en-US" sz="1000" smtClean="0">
                <a:solidFill>
                  <a:schemeClr val="tx1"/>
                </a:solidFill>
              </a:rPr>
              <a:pPr/>
              <a:t>26%</a:t>
            </a:fld>
            <a:endParaRPr lang="en-US" sz="1000">
              <a:solidFill>
                <a:schemeClr val="tx1"/>
              </a:solidFill>
              <a:sym typeface="+mn-lt"/>
            </a:endParaRPr>
          </a:p>
        </p:txBody>
      </p:sp>
      <p:sp>
        <p:nvSpPr>
          <p:cNvPr id="45" name="Rectangle 44"/>
          <p:cNvSpPr/>
          <p:nvPr>
            <p:custDataLst>
              <p:tags r:id="rId51"/>
            </p:custDataLst>
          </p:nvPr>
        </p:nvSpPr>
        <p:spPr bwMode="auto">
          <a:xfrm>
            <a:off x="4624388"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80B9DEA-D342-482B-BC40-FF9DC82CEBAF}" type="datetime'''''''''''''''''''''''''''''''''''''''''''5'''''''''''">
              <a:rPr lang="en-US" sz="1000">
                <a:solidFill>
                  <a:schemeClr val="tx1"/>
                </a:solidFill>
              </a:rPr>
              <a:pPr algn="ctr">
                <a:spcBef>
                  <a:spcPct val="0"/>
                </a:spcBef>
                <a:spcAft>
                  <a:spcPct val="0"/>
                </a:spcAft>
              </a:pPr>
              <a:t>5</a:t>
            </a:fld>
            <a:endParaRPr lang="en-US" sz="1000">
              <a:solidFill>
                <a:schemeClr val="tx1"/>
              </a:solidFill>
              <a:sym typeface="+mn-lt"/>
            </a:endParaRPr>
          </a:p>
        </p:txBody>
      </p:sp>
      <p:sp>
        <p:nvSpPr>
          <p:cNvPr id="46" name="Rectangle 45"/>
          <p:cNvSpPr/>
          <p:nvPr>
            <p:custDataLst>
              <p:tags r:id="rId52"/>
            </p:custDataLst>
          </p:nvPr>
        </p:nvSpPr>
        <p:spPr bwMode="gray">
          <a:xfrm>
            <a:off x="4535488" y="20129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A76937B-C1C0-461A-BB58-1077FCB903F2}" type="datetime'''''''''1''9''%'''''''">
              <a:rPr lang="en-US" sz="1000" smtClean="0">
                <a:solidFill>
                  <a:schemeClr val="tx1"/>
                </a:solidFill>
              </a:rPr>
              <a:pPr/>
              <a:t>19%</a:t>
            </a:fld>
            <a:endParaRPr lang="en-US" sz="1000">
              <a:solidFill>
                <a:schemeClr val="tx1"/>
              </a:solidFill>
              <a:sym typeface="+mn-lt"/>
            </a:endParaRPr>
          </a:p>
        </p:txBody>
      </p:sp>
      <p:sp>
        <p:nvSpPr>
          <p:cNvPr id="47" name="Rectangle 46"/>
          <p:cNvSpPr/>
          <p:nvPr>
            <p:custDataLst>
              <p:tags r:id="rId53"/>
            </p:custDataLst>
          </p:nvPr>
        </p:nvSpPr>
        <p:spPr bwMode="auto">
          <a:xfrm>
            <a:off x="4367213"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C15DE6F-B622-4DCC-A0D7-4B1BF4797E2E}" type="datetime'''''''''''''''''''''4'''''''''''''''''''''''''''''''''''''''">
              <a:rPr lang="en-US" sz="1000">
                <a:solidFill>
                  <a:schemeClr val="tx1"/>
                </a:solidFill>
              </a:rPr>
              <a:pPr algn="ctr">
                <a:spcBef>
                  <a:spcPct val="0"/>
                </a:spcBef>
                <a:spcAft>
                  <a:spcPct val="0"/>
                </a:spcAft>
              </a:pPr>
              <a:t>4</a:t>
            </a:fld>
            <a:endParaRPr lang="en-US" sz="1000">
              <a:solidFill>
                <a:schemeClr val="tx1"/>
              </a:solidFill>
              <a:sym typeface="+mn-lt"/>
            </a:endParaRPr>
          </a:p>
        </p:txBody>
      </p:sp>
      <p:sp>
        <p:nvSpPr>
          <p:cNvPr id="48" name="Rectangle 47"/>
          <p:cNvSpPr/>
          <p:nvPr>
            <p:custDataLst>
              <p:tags r:id="rId54"/>
            </p:custDataLst>
          </p:nvPr>
        </p:nvSpPr>
        <p:spPr bwMode="gray">
          <a:xfrm>
            <a:off x="4278313" y="20891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5570FF1-AFF0-4B71-946D-BD15E2945CD1}" type="datetime'''''''''''''''''''''''''''''''''''1''''3''''''''''''''''%'">
              <a:rPr lang="en-US" sz="1000" smtClean="0">
                <a:solidFill>
                  <a:schemeClr val="tx1"/>
                </a:solidFill>
              </a:rPr>
              <a:pPr/>
              <a:t>13%</a:t>
            </a:fld>
            <a:endParaRPr lang="en-US" sz="1000">
              <a:solidFill>
                <a:schemeClr val="tx1"/>
              </a:solidFill>
              <a:sym typeface="+mn-lt"/>
            </a:endParaRPr>
          </a:p>
        </p:txBody>
      </p:sp>
      <p:sp>
        <p:nvSpPr>
          <p:cNvPr id="49" name="Rectangle 48"/>
          <p:cNvSpPr/>
          <p:nvPr>
            <p:custDataLst>
              <p:tags r:id="rId55"/>
            </p:custDataLst>
          </p:nvPr>
        </p:nvSpPr>
        <p:spPr bwMode="auto">
          <a:xfrm>
            <a:off x="4110038"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0C8AE4A-01AA-45F3-8EDE-B14041085EE3}" type="datetime'''''''''''''''3'''''''''''''''''''''''">
              <a:rPr lang="en-US" sz="1000">
                <a:solidFill>
                  <a:schemeClr val="tx1"/>
                </a:solidFill>
              </a:rPr>
              <a:pPr algn="ctr">
                <a:spcBef>
                  <a:spcPct val="0"/>
                </a:spcBef>
                <a:spcAft>
                  <a:spcPct val="0"/>
                </a:spcAft>
              </a:pPr>
              <a:t>3</a:t>
            </a:fld>
            <a:endParaRPr lang="en-US" sz="1000">
              <a:solidFill>
                <a:schemeClr val="tx1"/>
              </a:solidFill>
              <a:sym typeface="+mn-lt"/>
            </a:endParaRPr>
          </a:p>
        </p:txBody>
      </p:sp>
      <p:sp>
        <p:nvSpPr>
          <p:cNvPr id="50" name="Rectangle 49"/>
          <p:cNvSpPr/>
          <p:nvPr>
            <p:custDataLst>
              <p:tags r:id="rId56"/>
            </p:custDataLst>
          </p:nvPr>
        </p:nvSpPr>
        <p:spPr bwMode="gray">
          <a:xfrm>
            <a:off x="4021138" y="21367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CD756F2-A7B9-4700-AAC3-AC704D258BDD}" type="datetime'''''''''''1''0''''''''''''''''''''''''%'''''''''''''''">
              <a:rPr lang="en-US" sz="1000" smtClean="0">
                <a:solidFill>
                  <a:schemeClr val="tx1"/>
                </a:solidFill>
              </a:rPr>
              <a:pPr/>
              <a:t>10%</a:t>
            </a:fld>
            <a:endParaRPr lang="en-US" sz="1000" dirty="0">
              <a:solidFill>
                <a:schemeClr val="tx1"/>
              </a:solidFill>
              <a:sym typeface="+mn-lt"/>
            </a:endParaRPr>
          </a:p>
        </p:txBody>
      </p:sp>
      <p:sp>
        <p:nvSpPr>
          <p:cNvPr id="67" name="Rectangle 66"/>
          <p:cNvSpPr/>
          <p:nvPr/>
        </p:nvSpPr>
        <p:spPr>
          <a:xfrm>
            <a:off x="3851921" y="1103313"/>
            <a:ext cx="5150792"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chemeClr val="bg1"/>
                </a:solidFill>
                <a:cs typeface="Cambria"/>
              </a:rPr>
              <a:t>Projekt</a:t>
            </a:r>
            <a:r>
              <a:rPr lang="lt-LT" sz="1200" dirty="0">
                <a:solidFill>
                  <a:schemeClr val="bg1"/>
                </a:solidFill>
                <a:cs typeface="Cambria"/>
              </a:rPr>
              <a:t>ų pasiskirstymas pagal vaikų ir jaunimo su kurie dalyvavo amžių, vnt.</a:t>
            </a:r>
          </a:p>
        </p:txBody>
      </p:sp>
      <p:sp>
        <p:nvSpPr>
          <p:cNvPr id="68" name="Rectangle 67"/>
          <p:cNvSpPr/>
          <p:nvPr/>
        </p:nvSpPr>
        <p:spPr>
          <a:xfrm>
            <a:off x="3851921" y="1390650"/>
            <a:ext cx="5150792" cy="1678491"/>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98" name="Rectangle 97"/>
          <p:cNvSpPr/>
          <p:nvPr/>
        </p:nvSpPr>
        <p:spPr>
          <a:xfrm>
            <a:off x="34926" y="3069141"/>
            <a:ext cx="3816996" cy="600164"/>
          </a:xfrm>
          <a:prstGeom prst="rect">
            <a:avLst/>
          </a:prstGeom>
        </p:spPr>
        <p:txBody>
          <a:bodyPr wrap="square">
            <a:spAutoFit/>
          </a:bodyPr>
          <a:lstStyle/>
          <a:p>
            <a:r>
              <a:rPr lang="lt-LT" sz="1100" dirty="0" smtClean="0">
                <a:solidFill>
                  <a:schemeClr val="bg1">
                    <a:lumMod val="50000"/>
                  </a:schemeClr>
                </a:solidFill>
              </a:rPr>
              <a:t>*Tas pats projektas gali būti skirtas keliomis amžiaus grupėmis todėl šiuose rodikliuos pateiktas bendras projektų skaičius viršija realų bendrą projektų skaičių</a:t>
            </a:r>
            <a:endParaRPr lang="en-US" sz="1100" dirty="0">
              <a:solidFill>
                <a:schemeClr val="bg1">
                  <a:lumMod val="50000"/>
                </a:schemeClr>
              </a:solidFill>
            </a:endParaRPr>
          </a:p>
        </p:txBody>
      </p:sp>
      <p:sp>
        <p:nvSpPr>
          <p:cNvPr id="99" name="Rectangle 98"/>
          <p:cNvSpPr/>
          <p:nvPr/>
        </p:nvSpPr>
        <p:spPr>
          <a:xfrm>
            <a:off x="3851924" y="3053266"/>
            <a:ext cx="5150790" cy="430887"/>
          </a:xfrm>
          <a:prstGeom prst="rect">
            <a:avLst/>
          </a:prstGeom>
        </p:spPr>
        <p:txBody>
          <a:bodyPr wrap="square">
            <a:spAutoFit/>
          </a:bodyPr>
          <a:lstStyle/>
          <a:p>
            <a:r>
              <a:rPr lang="lt-LT" sz="1100" dirty="0" smtClean="0">
                <a:solidFill>
                  <a:schemeClr val="bg1">
                    <a:lumMod val="50000"/>
                  </a:schemeClr>
                </a:solidFill>
              </a:rPr>
              <a:t>*Tas pats projektas gali būti skirtas keliomis amžiaus grupėmis todėl šiuose rodikliuos pateiktas bendras projektų skaičius viršija realų bendrą projektų skaičių</a:t>
            </a:r>
            <a:endParaRPr lang="en-US" sz="1100" dirty="0">
              <a:solidFill>
                <a:schemeClr val="bg1">
                  <a:lumMod val="50000"/>
                </a:schemeClr>
              </a:solidFill>
            </a:endParaRPr>
          </a:p>
        </p:txBody>
      </p:sp>
      <p:graphicFrame>
        <p:nvGraphicFramePr>
          <p:cNvPr id="70" name="Object 69"/>
          <p:cNvGraphicFramePr>
            <a:graphicFrameLocks/>
          </p:cNvGraphicFramePr>
          <p:nvPr>
            <p:custDataLst>
              <p:tags r:id="rId57"/>
            </p:custDataLst>
            <p:extLst>
              <p:ext uri="{D42A27DB-BD31-4B8C-83A1-F6EECF244321}">
                <p14:modId xmlns:p14="http://schemas.microsoft.com/office/powerpoint/2010/main" val="3143176521"/>
              </p:ext>
            </p:extLst>
          </p:nvPr>
        </p:nvGraphicFramePr>
        <p:xfrm>
          <a:off x="228600" y="4533899"/>
          <a:ext cx="8420044" cy="1228770"/>
        </p:xfrm>
        <a:graphic>
          <a:graphicData uri="http://schemas.openxmlformats.org/presentationml/2006/ole">
            <mc:AlternateContent xmlns:mc="http://schemas.openxmlformats.org/markup-compatibility/2006">
              <mc:Choice xmlns:v="urn:schemas-microsoft-com:vml" Requires="v">
                <p:oleObj spid="_x0000_s25649" name="Chart" r:id="rId102" imgW="8420202" imgH="1228823" progId="MSGraph.Chart.8">
                  <p:embed followColorScheme="full"/>
                </p:oleObj>
              </mc:Choice>
              <mc:Fallback>
                <p:oleObj name="Chart" r:id="rId102" imgW="8420202" imgH="1228823" progId="MSGraph.Chart.8">
                  <p:embed followColorScheme="full"/>
                  <p:pic>
                    <p:nvPicPr>
                      <p:cNvPr id="0" name=""/>
                      <p:cNvPicPr/>
                      <p:nvPr/>
                    </p:nvPicPr>
                    <p:blipFill>
                      <a:blip r:embed="rId103"/>
                      <a:stretch>
                        <a:fillRect/>
                      </a:stretch>
                    </p:blipFill>
                    <p:spPr>
                      <a:xfrm>
                        <a:off x="228600" y="4533899"/>
                        <a:ext cx="8420044" cy="1228770"/>
                      </a:xfrm>
                      <a:prstGeom prst="rect">
                        <a:avLst/>
                      </a:prstGeom>
                    </p:spPr>
                  </p:pic>
                </p:oleObj>
              </mc:Fallback>
            </mc:AlternateContent>
          </a:graphicData>
        </a:graphic>
      </p:graphicFrame>
      <p:sp>
        <p:nvSpPr>
          <p:cNvPr id="71" name="Rectangle 70"/>
          <p:cNvSpPr/>
          <p:nvPr>
            <p:custDataLst>
              <p:tags r:id="rId58"/>
            </p:custDataLst>
          </p:nvPr>
        </p:nvSpPr>
        <p:spPr bwMode="gray">
          <a:xfrm>
            <a:off x="465138" y="52895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0F917FF-EA27-4730-B879-9AEB2EB6E6A0}" type="datetime'1''%'''''''''''''''''''''''''''''''''''''''''">
              <a:rPr lang="en-US" sz="1000">
                <a:solidFill>
                  <a:schemeClr val="tx1"/>
                </a:solidFill>
              </a:rPr>
              <a:pPr algn="ctr">
                <a:spcBef>
                  <a:spcPct val="0"/>
                </a:spcBef>
                <a:spcAft>
                  <a:spcPct val="0"/>
                </a:spcAft>
              </a:pPr>
              <a:t>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7DF72BF8-359A-4253-933D-839B545C628C}" type="datetime'''''''''''''1''''''''8'''''''''''''''''''''''''">
              <a:rPr lang="en-US" sz="1000">
                <a:solidFill>
                  <a:schemeClr val="tx1"/>
                </a:solidFill>
              </a:rPr>
              <a:pPr algn="ctr">
                <a:spcBef>
                  <a:spcPct val="0"/>
                </a:spcBef>
                <a:spcAft>
                  <a:spcPct val="0"/>
                </a:spcAft>
              </a:pPr>
              <a:t>1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2" name="Rectangle 71"/>
          <p:cNvSpPr/>
          <p:nvPr>
            <p:custDataLst>
              <p:tags r:id="rId59"/>
            </p:custDataLst>
          </p:nvPr>
        </p:nvSpPr>
        <p:spPr bwMode="auto">
          <a:xfrm>
            <a:off x="8239125"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0C90A4E-EAC9-47BC-9959-2A82A312B10B}" type="datetime'''''''''''''''''1''''''7'''''''''">
              <a:rPr lang="en-US" sz="1000">
                <a:solidFill>
                  <a:schemeClr val="tx1"/>
                </a:solidFill>
              </a:rPr>
              <a:pPr algn="ctr">
                <a:spcBef>
                  <a:spcPct val="0"/>
                </a:spcBef>
                <a:spcAft>
                  <a:spcPct val="0"/>
                </a:spcAft>
              </a:pPr>
              <a:t>17</a:t>
            </a:fld>
            <a:endParaRPr lang="en-US" sz="1000">
              <a:solidFill>
                <a:schemeClr val="tx1"/>
              </a:solidFill>
              <a:sym typeface="+mn-lt"/>
            </a:endParaRPr>
          </a:p>
        </p:txBody>
      </p:sp>
      <p:sp>
        <p:nvSpPr>
          <p:cNvPr id="73" name="Rectangle 72"/>
          <p:cNvSpPr/>
          <p:nvPr>
            <p:custDataLst>
              <p:tags r:id="rId60"/>
            </p:custDataLst>
          </p:nvPr>
        </p:nvSpPr>
        <p:spPr bwMode="gray">
          <a:xfrm>
            <a:off x="885825" y="499427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9DFDA95-83D5-4171-977D-073E5D664020}" type="datetime'''''''''''''''''7''''''''''%'''''''''''''''''''''''''">
              <a:rPr lang="en-US" sz="1000">
                <a:solidFill>
                  <a:schemeClr val="tx1"/>
                </a:solidFill>
              </a:rPr>
              <a:pPr algn="ctr">
                <a:spcBef>
                  <a:spcPct val="0"/>
                </a:spcBef>
                <a:spcAft>
                  <a:spcPct val="0"/>
                </a:spcAft>
              </a:pPr>
              <a:t>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51EB5FC4-786F-4FF8-90FE-9FCCE70A07B6}" type="datetime'''''''''''''''''''''''''''''1''''2''''''''''5'''">
              <a:rPr lang="en-US" sz="1000">
                <a:solidFill>
                  <a:schemeClr val="tx1"/>
                </a:solidFill>
              </a:rPr>
              <a:pPr algn="ctr">
                <a:spcBef>
                  <a:spcPct val="0"/>
                </a:spcBef>
                <a:spcAft>
                  <a:spcPct val="0"/>
                </a:spcAft>
              </a:pPr>
              <a:t>125</a:t>
            </a:fld>
            <a:r>
              <a:rPr lang="en-US" sz="1000" smtClean="0">
                <a:solidFill>
                  <a:schemeClr val="tx1"/>
                </a:solidFill>
                <a:sym typeface="+mn-lt"/>
              </a:rPr>
              <a:t>)</a:t>
            </a:r>
            <a:endParaRPr lang="en-US" sz="1000">
              <a:solidFill>
                <a:schemeClr val="tx1"/>
              </a:solidFill>
              <a:sym typeface="+mn-lt"/>
            </a:endParaRPr>
          </a:p>
        </p:txBody>
      </p:sp>
      <p:sp>
        <p:nvSpPr>
          <p:cNvPr id="74" name="Rectangle 73"/>
          <p:cNvSpPr/>
          <p:nvPr>
            <p:custDataLst>
              <p:tags r:id="rId61"/>
            </p:custDataLst>
          </p:nvPr>
        </p:nvSpPr>
        <p:spPr bwMode="auto">
          <a:xfrm>
            <a:off x="7786688"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923535F-AB32-47A4-8974-2ABCF7F0C5AD}" type="datetime'''''''''''''''''''''''''1''''''''''''6'''''''''''''''''''">
              <a:rPr lang="en-US" sz="1000">
                <a:solidFill>
                  <a:schemeClr val="tx1"/>
                </a:solidFill>
              </a:rPr>
              <a:pPr algn="ctr">
                <a:spcBef>
                  <a:spcPct val="0"/>
                </a:spcBef>
                <a:spcAft>
                  <a:spcPct val="0"/>
                </a:spcAft>
              </a:pPr>
              <a:t>16</a:t>
            </a:fld>
            <a:endParaRPr lang="en-US" sz="1000">
              <a:solidFill>
                <a:schemeClr val="tx1"/>
              </a:solidFill>
              <a:sym typeface="+mn-lt"/>
            </a:endParaRPr>
          </a:p>
        </p:txBody>
      </p:sp>
      <p:sp>
        <p:nvSpPr>
          <p:cNvPr id="75" name="Rectangle 74"/>
          <p:cNvSpPr/>
          <p:nvPr>
            <p:custDataLst>
              <p:tags r:id="rId62"/>
            </p:custDataLst>
          </p:nvPr>
        </p:nvSpPr>
        <p:spPr bwMode="gray">
          <a:xfrm>
            <a:off x="1338263" y="45656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04143A8-19A9-4959-BDF4-0D0DE5326CA3}" type="datetime'''''''''''1''''5''''''''''''''''''''''''''''''''''%'''">
              <a:rPr lang="en-US" sz="1000">
                <a:solidFill>
                  <a:schemeClr val="tx1"/>
                </a:solidFill>
              </a:rPr>
              <a:pPr algn="ctr">
                <a:spcBef>
                  <a:spcPct val="0"/>
                </a:spcBef>
                <a:spcAft>
                  <a:spcPct val="0"/>
                </a:spcAft>
              </a:pPr>
              <a:t>1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CFEAAB5-E75C-4CEA-A974-2C454FC30E3B}" type="datetime'2''8''''''''''''''''''''0'''''''''''''''''''''''''">
              <a:rPr lang="en-US" sz="1000">
                <a:solidFill>
                  <a:schemeClr val="tx1"/>
                </a:solidFill>
              </a:rPr>
              <a:pPr algn="ctr">
                <a:spcBef>
                  <a:spcPct val="0"/>
                </a:spcBef>
                <a:spcAft>
                  <a:spcPct val="0"/>
                </a:spcAft>
              </a:pPr>
              <a:t>280</a:t>
            </a:fld>
            <a:r>
              <a:rPr lang="en-US" sz="1000" smtClean="0">
                <a:solidFill>
                  <a:schemeClr val="tx1"/>
                </a:solidFill>
                <a:sym typeface="+mn-lt"/>
              </a:rPr>
              <a:t>)</a:t>
            </a:r>
            <a:endParaRPr lang="en-US" sz="1000">
              <a:solidFill>
                <a:schemeClr val="tx1"/>
              </a:solidFill>
              <a:sym typeface="+mn-lt"/>
            </a:endParaRPr>
          </a:p>
        </p:txBody>
      </p:sp>
      <p:sp>
        <p:nvSpPr>
          <p:cNvPr id="76" name="Rectangle 75"/>
          <p:cNvSpPr/>
          <p:nvPr>
            <p:custDataLst>
              <p:tags r:id="rId63"/>
            </p:custDataLst>
          </p:nvPr>
        </p:nvSpPr>
        <p:spPr bwMode="auto">
          <a:xfrm>
            <a:off x="7334250"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0F383F-82D8-4AB7-9482-C27DDE79F601}" type="datetime'''''''''''''''''1''''5'''''''''''''''''''''''''''''''''''''''">
              <a:rPr lang="en-US" sz="1000">
                <a:solidFill>
                  <a:schemeClr val="tx1"/>
                </a:solidFill>
              </a:rPr>
              <a:pPr algn="ctr">
                <a:spcBef>
                  <a:spcPct val="0"/>
                </a:spcBef>
                <a:spcAft>
                  <a:spcPct val="0"/>
                </a:spcAft>
              </a:pPr>
              <a:t>15</a:t>
            </a:fld>
            <a:endParaRPr lang="en-US" sz="1000">
              <a:solidFill>
                <a:schemeClr val="tx1"/>
              </a:solidFill>
              <a:sym typeface="+mn-lt"/>
            </a:endParaRPr>
          </a:p>
        </p:txBody>
      </p:sp>
      <p:sp>
        <p:nvSpPr>
          <p:cNvPr id="77" name="Rectangle 76"/>
          <p:cNvSpPr/>
          <p:nvPr>
            <p:custDataLst>
              <p:tags r:id="rId64"/>
            </p:custDataLst>
          </p:nvPr>
        </p:nvSpPr>
        <p:spPr bwMode="gray">
          <a:xfrm>
            <a:off x="1795463" y="43180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04D2EF0-71D7-453B-A7FE-8DB2DE369616}" type="datetime'''''''2''''''''''''''''''''''''''0''''%'''''''''''''''''''''">
              <a:rPr lang="en-US" sz="1000">
                <a:solidFill>
                  <a:schemeClr val="tx1"/>
                </a:solidFill>
              </a:rPr>
              <a:pPr algn="ctr">
                <a:spcBef>
                  <a:spcPct val="0"/>
                </a:spcBef>
                <a:spcAft>
                  <a:spcPct val="0"/>
                </a:spcAft>
              </a:pPr>
              <a:t>2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F0448CF-5FE9-4216-93AE-A54C43567569}" type="datetime'''''''''''''''3''''''''''''''6''8'''''''">
              <a:rPr lang="en-US" sz="1000">
                <a:solidFill>
                  <a:schemeClr val="tx1"/>
                </a:solidFill>
              </a:rPr>
              <a:pPr algn="ctr">
                <a:spcBef>
                  <a:spcPct val="0"/>
                </a:spcBef>
                <a:spcAft>
                  <a:spcPct val="0"/>
                </a:spcAft>
              </a:pPr>
              <a:t>368</a:t>
            </a:fld>
            <a:r>
              <a:rPr lang="en-US" sz="1000" smtClean="0">
                <a:solidFill>
                  <a:schemeClr val="tx1"/>
                </a:solidFill>
                <a:sym typeface="+mn-lt"/>
              </a:rPr>
              <a:t>)</a:t>
            </a:r>
            <a:endParaRPr lang="en-US" sz="1000">
              <a:solidFill>
                <a:schemeClr val="tx1"/>
              </a:solidFill>
              <a:sym typeface="+mn-lt"/>
            </a:endParaRPr>
          </a:p>
        </p:txBody>
      </p:sp>
      <p:sp>
        <p:nvSpPr>
          <p:cNvPr id="78" name="Rectangle 77"/>
          <p:cNvSpPr/>
          <p:nvPr>
            <p:custDataLst>
              <p:tags r:id="rId65"/>
            </p:custDataLst>
          </p:nvPr>
        </p:nvSpPr>
        <p:spPr bwMode="auto">
          <a:xfrm>
            <a:off x="6877050"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7EE9DC7-B2C4-4834-859D-FAFD32EE6CFF}" type="datetime'''''''''''1''''4'''''''''''">
              <a:rPr lang="en-US" sz="1000">
                <a:solidFill>
                  <a:schemeClr val="tx1"/>
                </a:solidFill>
              </a:rPr>
              <a:pPr algn="ctr">
                <a:spcBef>
                  <a:spcPct val="0"/>
                </a:spcBef>
                <a:spcAft>
                  <a:spcPct val="0"/>
                </a:spcAft>
              </a:pPr>
              <a:t>14</a:t>
            </a:fld>
            <a:endParaRPr lang="en-US" sz="1000">
              <a:solidFill>
                <a:schemeClr val="tx1"/>
              </a:solidFill>
              <a:sym typeface="+mn-lt"/>
            </a:endParaRPr>
          </a:p>
        </p:txBody>
      </p:sp>
      <p:sp>
        <p:nvSpPr>
          <p:cNvPr id="79" name="Rectangle 78"/>
          <p:cNvSpPr/>
          <p:nvPr>
            <p:custDataLst>
              <p:tags r:id="rId66"/>
            </p:custDataLst>
          </p:nvPr>
        </p:nvSpPr>
        <p:spPr bwMode="gray">
          <a:xfrm>
            <a:off x="2252663" y="44894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02C2AD1-8035-4619-9DA9-CDD86B0372AC}" type="datetime'''''''''''''''''1''''''''''''7''%'''">
              <a:rPr lang="en-US" sz="1000">
                <a:solidFill>
                  <a:schemeClr val="tx1"/>
                </a:solidFill>
              </a:rPr>
              <a:pPr algn="ctr">
                <a:spcBef>
                  <a:spcPct val="0"/>
                </a:spcBef>
                <a:spcAft>
                  <a:spcPct val="0"/>
                </a:spcAft>
              </a:pPr>
              <a:t>1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D0EDC67-C8A1-4CCD-8763-000B374A7C90}" type="datetime'''''''''''3''''''05'">
              <a:rPr lang="en-US" sz="1000">
                <a:solidFill>
                  <a:schemeClr val="tx1"/>
                </a:solidFill>
              </a:rPr>
              <a:pPr algn="ctr">
                <a:spcBef>
                  <a:spcPct val="0"/>
                </a:spcBef>
                <a:spcAft>
                  <a:spcPct val="0"/>
                </a:spcAft>
              </a:pPr>
              <a:t>305</a:t>
            </a:fld>
            <a:r>
              <a:rPr lang="en-US" sz="1000" smtClean="0">
                <a:solidFill>
                  <a:schemeClr val="tx1"/>
                </a:solidFill>
                <a:sym typeface="+mn-lt"/>
              </a:rPr>
              <a:t>)</a:t>
            </a:r>
            <a:endParaRPr lang="en-US" sz="1000">
              <a:solidFill>
                <a:schemeClr val="tx1"/>
              </a:solidFill>
              <a:sym typeface="+mn-lt"/>
            </a:endParaRPr>
          </a:p>
        </p:txBody>
      </p:sp>
      <p:sp>
        <p:nvSpPr>
          <p:cNvPr id="80" name="Rectangle 79"/>
          <p:cNvSpPr/>
          <p:nvPr>
            <p:custDataLst>
              <p:tags r:id="rId67"/>
            </p:custDataLst>
          </p:nvPr>
        </p:nvSpPr>
        <p:spPr bwMode="auto">
          <a:xfrm>
            <a:off x="6419850"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EB8BD4B-5520-4D1F-A9FC-471110DC5416}" type="datetime'''''''''''''''''''1''''''''''3'''''''''''''''''''''">
              <a:rPr lang="en-US" sz="1000">
                <a:solidFill>
                  <a:schemeClr val="tx1"/>
                </a:solidFill>
              </a:rPr>
              <a:pPr algn="ctr">
                <a:spcBef>
                  <a:spcPct val="0"/>
                </a:spcBef>
                <a:spcAft>
                  <a:spcPct val="0"/>
                </a:spcAft>
              </a:pPr>
              <a:t>13</a:t>
            </a:fld>
            <a:endParaRPr lang="en-US" sz="1000">
              <a:solidFill>
                <a:schemeClr val="tx1"/>
              </a:solidFill>
              <a:sym typeface="+mn-lt"/>
            </a:endParaRPr>
          </a:p>
        </p:txBody>
      </p:sp>
      <p:sp>
        <p:nvSpPr>
          <p:cNvPr id="81" name="Rectangle 80"/>
          <p:cNvSpPr/>
          <p:nvPr>
            <p:custDataLst>
              <p:tags r:id="rId68"/>
            </p:custDataLst>
          </p:nvPr>
        </p:nvSpPr>
        <p:spPr bwMode="gray">
          <a:xfrm>
            <a:off x="2705100" y="48228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CCD7A80-DA2F-4F45-9AAA-8651B32FA38A}" type="datetime'''''''''''''''''''''''''1''''''''''''''''''''''''''0''%'">
              <a:rPr lang="en-US" sz="1000">
                <a:solidFill>
                  <a:schemeClr val="tx1"/>
                </a:solidFill>
              </a:rPr>
              <a:pPr algn="ctr">
                <a:spcBef>
                  <a:spcPct val="0"/>
                </a:spcBef>
                <a:spcAft>
                  <a:spcPct val="0"/>
                </a:spcAft>
              </a:pPr>
              <a:t>1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803A29D3-D1B0-4A57-9619-7C9525B80751}" type="datetime'''''''''''''''''''''''''1''''8''5'''''''''''''''''''''">
              <a:rPr lang="en-US" sz="1000">
                <a:solidFill>
                  <a:schemeClr val="tx1"/>
                </a:solidFill>
              </a:rPr>
              <a:pPr algn="ctr">
                <a:spcBef>
                  <a:spcPct val="0"/>
                </a:spcBef>
                <a:spcAft>
                  <a:spcPct val="0"/>
                </a:spcAft>
              </a:pPr>
              <a:t>185</a:t>
            </a:fld>
            <a:r>
              <a:rPr lang="en-US" sz="1000" smtClean="0">
                <a:solidFill>
                  <a:schemeClr val="tx1"/>
                </a:solidFill>
                <a:sym typeface="+mn-lt"/>
              </a:rPr>
              <a:t>)</a:t>
            </a:r>
            <a:endParaRPr lang="en-US" sz="1000">
              <a:solidFill>
                <a:schemeClr val="tx1"/>
              </a:solidFill>
              <a:sym typeface="+mn-lt"/>
            </a:endParaRPr>
          </a:p>
        </p:txBody>
      </p:sp>
      <p:sp>
        <p:nvSpPr>
          <p:cNvPr id="82" name="Rectangle 81"/>
          <p:cNvSpPr/>
          <p:nvPr>
            <p:custDataLst>
              <p:tags r:id="rId69"/>
            </p:custDataLst>
          </p:nvPr>
        </p:nvSpPr>
        <p:spPr bwMode="auto">
          <a:xfrm>
            <a:off x="5967413"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1EB5511-50C5-429C-BE83-04BD8284E43E}" type="datetime'''''''''''''1''''''''2'''">
              <a:rPr lang="en-US" sz="1000">
                <a:solidFill>
                  <a:schemeClr val="tx1"/>
                </a:solidFill>
              </a:rPr>
              <a:pPr algn="ctr">
                <a:spcBef>
                  <a:spcPct val="0"/>
                </a:spcBef>
                <a:spcAft>
                  <a:spcPct val="0"/>
                </a:spcAft>
              </a:pPr>
              <a:t>12</a:t>
            </a:fld>
            <a:endParaRPr lang="en-US" sz="1000">
              <a:solidFill>
                <a:schemeClr val="tx1"/>
              </a:solidFill>
              <a:sym typeface="+mn-lt"/>
            </a:endParaRPr>
          </a:p>
        </p:txBody>
      </p:sp>
      <p:sp>
        <p:nvSpPr>
          <p:cNvPr id="83" name="Rectangle 82"/>
          <p:cNvSpPr/>
          <p:nvPr>
            <p:custDataLst>
              <p:tags r:id="rId70"/>
            </p:custDataLst>
          </p:nvPr>
        </p:nvSpPr>
        <p:spPr bwMode="gray">
          <a:xfrm>
            <a:off x="3157538" y="491807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59BDFE9-E450-4B8A-9DF4-4DD58CB56ED7}" type="datetime'''''''''''''''''''''''''''8''''''''''''''%'''''''''''''''''">
              <a:rPr lang="en-US" sz="1000">
                <a:solidFill>
                  <a:schemeClr val="tx1"/>
                </a:solidFill>
              </a:rPr>
              <a:pPr algn="ctr">
                <a:spcBef>
                  <a:spcPct val="0"/>
                </a:spcBef>
                <a:spcAft>
                  <a:spcPct val="0"/>
                </a:spcAft>
              </a:pPr>
              <a:t>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6CA1D55-6D58-448D-9F63-DBC09733A45D}" type="datetime'''''''''''''''''''''''''''''''1''''5''''''''''''''2'''">
              <a:rPr lang="en-US" sz="1000">
                <a:solidFill>
                  <a:schemeClr val="tx1"/>
                </a:solidFill>
              </a:rPr>
              <a:pPr algn="ctr">
                <a:spcBef>
                  <a:spcPct val="0"/>
                </a:spcBef>
                <a:spcAft>
                  <a:spcPct val="0"/>
                </a:spcAft>
              </a:pPr>
              <a:t>152</a:t>
            </a:fld>
            <a:r>
              <a:rPr lang="en-US" sz="1000" smtClean="0">
                <a:solidFill>
                  <a:schemeClr val="tx1"/>
                </a:solidFill>
                <a:sym typeface="+mn-lt"/>
              </a:rPr>
              <a:t>)</a:t>
            </a:r>
            <a:endParaRPr lang="en-US" sz="1000">
              <a:solidFill>
                <a:schemeClr val="tx1"/>
              </a:solidFill>
              <a:sym typeface="+mn-lt"/>
            </a:endParaRPr>
          </a:p>
        </p:txBody>
      </p:sp>
      <p:sp>
        <p:nvSpPr>
          <p:cNvPr id="84" name="Rectangle 83"/>
          <p:cNvSpPr/>
          <p:nvPr>
            <p:custDataLst>
              <p:tags r:id="rId71"/>
            </p:custDataLst>
          </p:nvPr>
        </p:nvSpPr>
        <p:spPr bwMode="auto">
          <a:xfrm>
            <a:off x="5514975"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0909235-B3FC-4651-8D35-F72CFC8DF06F}" type="datetime'''''''''''1''''''''''''''''1'''''''''''''''''''''''">
              <a:rPr lang="en-US" sz="1000">
                <a:solidFill>
                  <a:schemeClr val="tx1"/>
                </a:solidFill>
              </a:rPr>
              <a:pPr algn="ctr">
                <a:spcBef>
                  <a:spcPct val="0"/>
                </a:spcBef>
                <a:spcAft>
                  <a:spcPct val="0"/>
                </a:spcAft>
              </a:pPr>
              <a:t>11</a:t>
            </a:fld>
            <a:endParaRPr lang="en-US" sz="1000">
              <a:solidFill>
                <a:schemeClr val="tx1"/>
              </a:solidFill>
              <a:sym typeface="+mn-lt"/>
            </a:endParaRPr>
          </a:p>
        </p:txBody>
      </p:sp>
      <p:sp>
        <p:nvSpPr>
          <p:cNvPr id="85" name="Rectangle 84"/>
          <p:cNvSpPr/>
          <p:nvPr>
            <p:custDataLst>
              <p:tags r:id="rId72"/>
            </p:custDataLst>
          </p:nvPr>
        </p:nvSpPr>
        <p:spPr bwMode="gray">
          <a:xfrm>
            <a:off x="3614738" y="50514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D40CF56-7945-4C69-A1B9-CF1271EB61A4}" type="datetime'''''''6''''''''''''''''''''''''''''%'''''''''''''''''''">
              <a:rPr lang="en-US" sz="1000">
                <a:solidFill>
                  <a:schemeClr val="tx1"/>
                </a:solidFill>
              </a:rPr>
              <a:pPr algn="ctr">
                <a:spcBef>
                  <a:spcPct val="0"/>
                </a:spcBef>
                <a:spcAft>
                  <a:spcPct val="0"/>
                </a:spcAft>
              </a:pPr>
              <a:t>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5663546A-578A-46B7-BFE1-C1AB21FDFA8B}" type="datetime'''''''''''1''''''''''''''''''''''0''''''''''''''''4'''">
              <a:rPr lang="en-US" sz="1000">
                <a:solidFill>
                  <a:schemeClr val="tx1"/>
                </a:solidFill>
              </a:rPr>
              <a:pPr algn="ctr">
                <a:spcBef>
                  <a:spcPct val="0"/>
                </a:spcBef>
                <a:spcAft>
                  <a:spcPct val="0"/>
                </a:spcAft>
              </a:pPr>
              <a:t>104</a:t>
            </a:fld>
            <a:r>
              <a:rPr lang="en-US" sz="1000" smtClean="0">
                <a:solidFill>
                  <a:schemeClr val="tx1"/>
                </a:solidFill>
                <a:sym typeface="+mn-lt"/>
              </a:rPr>
              <a:t>)</a:t>
            </a:r>
            <a:endParaRPr lang="en-US" sz="1000">
              <a:solidFill>
                <a:schemeClr val="tx1"/>
              </a:solidFill>
              <a:sym typeface="+mn-lt"/>
            </a:endParaRPr>
          </a:p>
        </p:txBody>
      </p:sp>
      <p:sp>
        <p:nvSpPr>
          <p:cNvPr id="86" name="Rectangle 85"/>
          <p:cNvSpPr/>
          <p:nvPr>
            <p:custDataLst>
              <p:tags r:id="rId73"/>
            </p:custDataLst>
          </p:nvPr>
        </p:nvSpPr>
        <p:spPr bwMode="auto">
          <a:xfrm>
            <a:off x="5057775"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1C66024-584D-4150-996A-637BE4AE7B57}" type="datetime'''''1''''''''''''''''''''''''''''''''''''''''''0'''''''">
              <a:rPr lang="en-US" sz="1000">
                <a:solidFill>
                  <a:schemeClr val="tx1"/>
                </a:solidFill>
              </a:rPr>
              <a:pPr algn="ctr">
                <a:spcBef>
                  <a:spcPct val="0"/>
                </a:spcBef>
                <a:spcAft>
                  <a:spcPct val="0"/>
                </a:spcAft>
              </a:pPr>
              <a:t>10</a:t>
            </a:fld>
            <a:endParaRPr lang="en-US" sz="1000">
              <a:solidFill>
                <a:schemeClr val="tx1"/>
              </a:solidFill>
              <a:sym typeface="+mn-lt"/>
            </a:endParaRPr>
          </a:p>
        </p:txBody>
      </p:sp>
      <p:sp>
        <p:nvSpPr>
          <p:cNvPr id="87" name="Rectangle 86"/>
          <p:cNvSpPr/>
          <p:nvPr>
            <p:custDataLst>
              <p:tags r:id="rId74"/>
            </p:custDataLst>
          </p:nvPr>
        </p:nvSpPr>
        <p:spPr bwMode="gray">
          <a:xfrm>
            <a:off x="4103688" y="51371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AA77D54-3D7F-4655-A701-FB7E6937E726}" type="datetime'''''''''''''''''''''''''''''''''''''4''''''''''''''''''%'">
              <a:rPr lang="en-US" sz="1000">
                <a:solidFill>
                  <a:schemeClr val="tx1"/>
                </a:solidFill>
              </a:rPr>
              <a:pPr algn="ctr">
                <a:spcBef>
                  <a:spcPct val="0"/>
                </a:spcBef>
                <a:spcAft>
                  <a:spcPct val="0"/>
                </a:spcAft>
              </a:pPr>
              <a:t>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88248717-8A17-4182-A329-9514D23033AF}" type="datetime'''''''''''''''''''''''''''''''''7''''''''''''''''''1'''">
              <a:rPr lang="en-US" sz="1000">
                <a:solidFill>
                  <a:schemeClr val="tx1"/>
                </a:solidFill>
              </a:rPr>
              <a:pPr algn="ctr">
                <a:spcBef>
                  <a:spcPct val="0"/>
                </a:spcBef>
                <a:spcAft>
                  <a:spcPct val="0"/>
                </a:spcAft>
              </a:pPr>
              <a:t>71</a:t>
            </a:fld>
            <a:r>
              <a:rPr lang="en-US" sz="1000" smtClean="0">
                <a:solidFill>
                  <a:schemeClr val="tx1"/>
                </a:solidFill>
                <a:sym typeface="+mn-lt"/>
              </a:rPr>
              <a:t>)</a:t>
            </a:r>
            <a:endParaRPr lang="en-US" sz="1000">
              <a:solidFill>
                <a:schemeClr val="tx1"/>
              </a:solidFill>
              <a:sym typeface="+mn-lt"/>
            </a:endParaRPr>
          </a:p>
        </p:txBody>
      </p:sp>
      <p:sp>
        <p:nvSpPr>
          <p:cNvPr id="88" name="Rectangle 87"/>
          <p:cNvSpPr/>
          <p:nvPr>
            <p:custDataLst>
              <p:tags r:id="rId75"/>
            </p:custDataLst>
          </p:nvPr>
        </p:nvSpPr>
        <p:spPr bwMode="auto">
          <a:xfrm>
            <a:off x="4638675"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7FFEAC2-4551-4297-B5F2-9B59DF22DA7D}" type="datetime'''''''''''''''''''''''''''''''''''''''''''''''9'''''''''">
              <a:rPr lang="en-US" sz="1000">
                <a:solidFill>
                  <a:schemeClr val="tx1"/>
                </a:solidFill>
              </a:rPr>
              <a:pPr algn="ctr">
                <a:spcBef>
                  <a:spcPct val="0"/>
                </a:spcBef>
                <a:spcAft>
                  <a:spcPct val="0"/>
                </a:spcAft>
              </a:pPr>
              <a:t>9</a:t>
            </a:fld>
            <a:endParaRPr lang="en-US" sz="1000">
              <a:solidFill>
                <a:schemeClr val="tx1"/>
              </a:solidFill>
              <a:sym typeface="+mn-lt"/>
            </a:endParaRPr>
          </a:p>
        </p:txBody>
      </p:sp>
      <p:sp>
        <p:nvSpPr>
          <p:cNvPr id="89" name="Rectangle 88"/>
          <p:cNvSpPr/>
          <p:nvPr>
            <p:custDataLst>
              <p:tags r:id="rId76"/>
            </p:custDataLst>
          </p:nvPr>
        </p:nvSpPr>
        <p:spPr bwMode="gray">
          <a:xfrm>
            <a:off x="4556125" y="516572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19E4335-CD20-4C77-B8A7-1BE4937DE627}" type="datetime'''''''''''''''''''''''3''''''''''''''''%'''''''''''''''''''">
              <a:rPr lang="en-US" sz="1000">
                <a:solidFill>
                  <a:schemeClr val="tx1"/>
                </a:solidFill>
              </a:rPr>
              <a:pPr algn="ctr">
                <a:spcBef>
                  <a:spcPct val="0"/>
                </a:spcBef>
                <a:spcAft>
                  <a:spcPct val="0"/>
                </a:spcAft>
              </a:pPr>
              <a:t>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83E02F56-4849-4E38-A924-60470C6D039B}" type="datetime'6''''3'">
              <a:rPr lang="en-US" sz="1000">
                <a:solidFill>
                  <a:schemeClr val="tx1"/>
                </a:solidFill>
              </a:rPr>
              <a:pPr algn="ctr">
                <a:spcBef>
                  <a:spcPct val="0"/>
                </a:spcBef>
                <a:spcAft>
                  <a:spcPct val="0"/>
                </a:spcAft>
              </a:pPr>
              <a:t>63</a:t>
            </a:fld>
            <a:r>
              <a:rPr lang="en-US" sz="1000" smtClean="0">
                <a:solidFill>
                  <a:schemeClr val="tx1"/>
                </a:solidFill>
                <a:sym typeface="+mn-lt"/>
              </a:rPr>
              <a:t>)</a:t>
            </a:r>
            <a:endParaRPr lang="en-US" sz="1000">
              <a:solidFill>
                <a:schemeClr val="tx1"/>
              </a:solidFill>
              <a:sym typeface="+mn-lt"/>
            </a:endParaRPr>
          </a:p>
        </p:txBody>
      </p:sp>
      <p:sp>
        <p:nvSpPr>
          <p:cNvPr id="90" name="Rectangle 89"/>
          <p:cNvSpPr/>
          <p:nvPr>
            <p:custDataLst>
              <p:tags r:id="rId77"/>
            </p:custDataLst>
          </p:nvPr>
        </p:nvSpPr>
        <p:spPr bwMode="auto">
          <a:xfrm>
            <a:off x="4186238"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00124FE-D9F5-48B7-A9E6-3894B029EE5B}" type="datetime'''''''''''''''''''8'''''''''''''''''''''''''''''''''">
              <a:rPr lang="en-US" sz="1000">
                <a:solidFill>
                  <a:schemeClr val="tx1"/>
                </a:solidFill>
              </a:rPr>
              <a:pPr algn="ctr">
                <a:spcBef>
                  <a:spcPct val="0"/>
                </a:spcBef>
                <a:spcAft>
                  <a:spcPct val="0"/>
                </a:spcAft>
              </a:pPr>
              <a:t>8</a:t>
            </a:fld>
            <a:endParaRPr lang="en-US" sz="1000">
              <a:solidFill>
                <a:schemeClr val="tx1"/>
              </a:solidFill>
              <a:sym typeface="+mn-lt"/>
            </a:endParaRPr>
          </a:p>
        </p:txBody>
      </p:sp>
      <p:sp>
        <p:nvSpPr>
          <p:cNvPr id="91" name="Rectangle 90"/>
          <p:cNvSpPr/>
          <p:nvPr>
            <p:custDataLst>
              <p:tags r:id="rId78"/>
            </p:custDataLst>
          </p:nvPr>
        </p:nvSpPr>
        <p:spPr bwMode="gray">
          <a:xfrm>
            <a:off x="5008563" y="52514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42BB10E-3779-46E5-8971-FEC3415C11CB}" type="datetime'''''''''''''''''''''''''''2''''''%'''">
              <a:rPr lang="en-US" sz="1000">
                <a:solidFill>
                  <a:schemeClr val="tx1"/>
                </a:solidFill>
              </a:rPr>
              <a:pPr algn="ctr">
                <a:spcBef>
                  <a:spcPct val="0"/>
                </a:spcBef>
                <a:spcAft>
                  <a:spcPct val="0"/>
                </a:spcAft>
              </a:pPr>
              <a:t>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66421A3-9FF8-46FD-B5D2-5259F95C9459}" type="datetime'''''''''''''''''3''''''''''2'''''''''''''">
              <a:rPr lang="en-US" sz="1000">
                <a:solidFill>
                  <a:schemeClr val="tx1"/>
                </a:solidFill>
              </a:rPr>
              <a:pPr algn="ctr">
                <a:spcBef>
                  <a:spcPct val="0"/>
                </a:spcBef>
                <a:spcAft>
                  <a:spcPct val="0"/>
                </a:spcAft>
              </a:pPr>
              <a:t>32</a:t>
            </a:fld>
            <a:r>
              <a:rPr lang="en-US" sz="1000" smtClean="0">
                <a:solidFill>
                  <a:schemeClr val="tx1"/>
                </a:solidFill>
                <a:sym typeface="+mn-lt"/>
              </a:rPr>
              <a:t>)</a:t>
            </a:r>
            <a:endParaRPr lang="en-US" sz="1000">
              <a:solidFill>
                <a:schemeClr val="tx1"/>
              </a:solidFill>
              <a:sym typeface="+mn-lt"/>
            </a:endParaRPr>
          </a:p>
        </p:txBody>
      </p:sp>
      <p:sp>
        <p:nvSpPr>
          <p:cNvPr id="92" name="Rectangle 91"/>
          <p:cNvSpPr/>
          <p:nvPr>
            <p:custDataLst>
              <p:tags r:id="rId79"/>
            </p:custDataLst>
          </p:nvPr>
        </p:nvSpPr>
        <p:spPr bwMode="auto">
          <a:xfrm>
            <a:off x="3729038"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DAEE873-CC71-4523-A0A9-17BE4A0136F0}" type="datetime'''''''''''''''''''''''''''''''''''''''''''7'''''">
              <a:rPr lang="en-US" sz="1000">
                <a:solidFill>
                  <a:schemeClr val="tx1"/>
                </a:solidFill>
              </a:rPr>
              <a:pPr algn="ctr">
                <a:spcBef>
                  <a:spcPct val="0"/>
                </a:spcBef>
                <a:spcAft>
                  <a:spcPct val="0"/>
                </a:spcAft>
              </a:pPr>
              <a:t>7</a:t>
            </a:fld>
            <a:endParaRPr lang="en-US" sz="1000">
              <a:solidFill>
                <a:schemeClr val="tx1"/>
              </a:solidFill>
              <a:sym typeface="+mn-lt"/>
            </a:endParaRPr>
          </a:p>
        </p:txBody>
      </p:sp>
      <p:sp>
        <p:nvSpPr>
          <p:cNvPr id="93" name="Rectangle 92"/>
          <p:cNvSpPr/>
          <p:nvPr>
            <p:custDataLst>
              <p:tags r:id="rId80"/>
            </p:custDataLst>
          </p:nvPr>
        </p:nvSpPr>
        <p:spPr bwMode="gray">
          <a:xfrm>
            <a:off x="5465763" y="526097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706760C-228E-4BE9-BAE3-0F05D1772A27}"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50F5ECC-1555-48F1-949E-403BD5819F11}" type="datetime'''2''6'''''''''''''''''''''''''''''''''''''''''''''''''''">
              <a:rPr lang="en-US" sz="1000">
                <a:solidFill>
                  <a:schemeClr val="tx1"/>
                </a:solidFill>
              </a:rPr>
              <a:pPr algn="ct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94" name="Rectangle 93"/>
          <p:cNvSpPr/>
          <p:nvPr>
            <p:custDataLst>
              <p:tags r:id="rId81"/>
            </p:custDataLst>
          </p:nvPr>
        </p:nvSpPr>
        <p:spPr bwMode="auto">
          <a:xfrm>
            <a:off x="3271838"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C6978AF-9EDA-4E5A-8736-7C8897DD115E}" type="datetime'''''''''''''''''''''''''''''''''''6'''''''">
              <a:rPr lang="en-US" sz="1000">
                <a:solidFill>
                  <a:schemeClr val="tx1"/>
                </a:solidFill>
              </a:rPr>
              <a:pPr algn="ctr">
                <a:spcBef>
                  <a:spcPct val="0"/>
                </a:spcBef>
                <a:spcAft>
                  <a:spcPct val="0"/>
                </a:spcAft>
              </a:pPr>
              <a:t>6</a:t>
            </a:fld>
            <a:endParaRPr lang="en-US" sz="1000">
              <a:solidFill>
                <a:schemeClr val="tx1"/>
              </a:solidFill>
              <a:sym typeface="+mn-lt"/>
            </a:endParaRPr>
          </a:p>
        </p:txBody>
      </p:sp>
      <p:sp>
        <p:nvSpPr>
          <p:cNvPr id="95" name="Rectangle 94"/>
          <p:cNvSpPr/>
          <p:nvPr>
            <p:custDataLst>
              <p:tags r:id="rId82"/>
            </p:custDataLst>
          </p:nvPr>
        </p:nvSpPr>
        <p:spPr bwMode="gray">
          <a:xfrm>
            <a:off x="5918200" y="52705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B663CDF-2D0A-4E7E-A726-0EA6AC53116A}"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394824A7-77BD-4E9A-AA82-FCFA762A5EE2}" type="datetime'''''''''''''''''''''''2''''''''4'''''''''''''''">
              <a:rPr lang="en-US" sz="1000">
                <a:solidFill>
                  <a:schemeClr val="tx1"/>
                </a:solidFill>
              </a:rPr>
              <a:pPr algn="ctr">
                <a:spcBef>
                  <a:spcPct val="0"/>
                </a:spcBef>
                <a:spcAft>
                  <a:spcPct val="0"/>
                </a:spcAft>
              </a:pPr>
              <a:t>24</a:t>
            </a:fld>
            <a:r>
              <a:rPr lang="en-US" sz="1000" smtClean="0">
                <a:solidFill>
                  <a:schemeClr val="tx1"/>
                </a:solidFill>
                <a:sym typeface="+mn-lt"/>
              </a:rPr>
              <a:t>)</a:t>
            </a:r>
            <a:endParaRPr lang="en-US" sz="1000">
              <a:solidFill>
                <a:schemeClr val="tx1"/>
              </a:solidFill>
              <a:sym typeface="+mn-lt"/>
            </a:endParaRPr>
          </a:p>
        </p:txBody>
      </p:sp>
      <p:sp>
        <p:nvSpPr>
          <p:cNvPr id="96" name="Rectangle 95"/>
          <p:cNvSpPr/>
          <p:nvPr>
            <p:custDataLst>
              <p:tags r:id="rId83"/>
            </p:custDataLst>
          </p:nvPr>
        </p:nvSpPr>
        <p:spPr bwMode="auto">
          <a:xfrm>
            <a:off x="2819400"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9CE2037-8FDE-4E57-93AE-099AC2D81C93}" type="datetime'''''''''''''5'">
              <a:rPr lang="en-US" sz="1000">
                <a:solidFill>
                  <a:schemeClr val="tx1"/>
                </a:solidFill>
              </a:rPr>
              <a:pPr algn="ctr">
                <a:spcBef>
                  <a:spcPct val="0"/>
                </a:spcBef>
                <a:spcAft>
                  <a:spcPct val="0"/>
                </a:spcAft>
              </a:pPr>
              <a:t>5</a:t>
            </a:fld>
            <a:endParaRPr lang="en-US" sz="1000">
              <a:solidFill>
                <a:schemeClr val="tx1"/>
              </a:solidFill>
              <a:sym typeface="+mn-lt"/>
            </a:endParaRPr>
          </a:p>
        </p:txBody>
      </p:sp>
      <p:sp>
        <p:nvSpPr>
          <p:cNvPr id="97" name="Rectangle 96"/>
          <p:cNvSpPr/>
          <p:nvPr>
            <p:custDataLst>
              <p:tags r:id="rId84"/>
            </p:custDataLst>
          </p:nvPr>
        </p:nvSpPr>
        <p:spPr bwMode="gray">
          <a:xfrm>
            <a:off x="6370638" y="52895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52C0639-B70F-460C-9FE5-54C3D03A6663}"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4166BBF-41AE-4D75-8AEF-BAAB6C11B544}" type="datetime'''''''1''''8'''''''''''''''''''''''">
              <a:rPr lang="en-US" sz="1000">
                <a:solidFill>
                  <a:schemeClr val="tx1"/>
                </a:solidFill>
              </a:rPr>
              <a:pPr algn="ctr">
                <a:spcBef>
                  <a:spcPct val="0"/>
                </a:spcBef>
                <a:spcAft>
                  <a:spcPct val="0"/>
                </a:spcAft>
              </a:pPr>
              <a:t>18</a:t>
            </a:fld>
            <a:r>
              <a:rPr lang="en-US" sz="1000" smtClean="0">
                <a:solidFill>
                  <a:schemeClr val="tx1"/>
                </a:solidFill>
                <a:sym typeface="+mn-lt"/>
              </a:rPr>
              <a:t>)</a:t>
            </a:r>
            <a:endParaRPr lang="en-US" sz="1000">
              <a:solidFill>
                <a:schemeClr val="tx1"/>
              </a:solidFill>
              <a:sym typeface="+mn-lt"/>
            </a:endParaRPr>
          </a:p>
        </p:txBody>
      </p:sp>
      <p:sp>
        <p:nvSpPr>
          <p:cNvPr id="101" name="Rectangle 100"/>
          <p:cNvSpPr/>
          <p:nvPr>
            <p:custDataLst>
              <p:tags r:id="rId85"/>
            </p:custDataLst>
          </p:nvPr>
        </p:nvSpPr>
        <p:spPr bwMode="auto">
          <a:xfrm>
            <a:off x="2366963"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EA80F3C-432D-4A03-ABA1-CE08BEEFEBB6}" type="datetime'''''''''''''''''4'''''''''''''''''''''''">
              <a:rPr lang="en-US" sz="1000">
                <a:solidFill>
                  <a:schemeClr val="tx1"/>
                </a:solidFill>
              </a:rPr>
              <a:pPr algn="ctr">
                <a:spcBef>
                  <a:spcPct val="0"/>
                </a:spcBef>
                <a:spcAft>
                  <a:spcPct val="0"/>
                </a:spcAft>
              </a:pPr>
              <a:t>4</a:t>
            </a:fld>
            <a:endParaRPr lang="en-US" sz="1000">
              <a:solidFill>
                <a:schemeClr val="tx1"/>
              </a:solidFill>
              <a:sym typeface="+mn-lt"/>
            </a:endParaRPr>
          </a:p>
        </p:txBody>
      </p:sp>
      <p:sp>
        <p:nvSpPr>
          <p:cNvPr id="102" name="Rectangle 101"/>
          <p:cNvSpPr/>
          <p:nvPr>
            <p:custDataLst>
              <p:tags r:id="rId86"/>
            </p:custDataLst>
          </p:nvPr>
        </p:nvSpPr>
        <p:spPr bwMode="gray">
          <a:xfrm>
            <a:off x="6827838" y="53086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338366E-2F24-4473-B03D-385AE3BF0ECF}"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AC25AEB-AB5E-4EC6-8ED5-5E870096FFE2}" type="datetime'1''''''''''''''''''2'''''''''''''''''''''''''''''''''''">
              <a:rPr lang="en-US" sz="1000">
                <a:solidFill>
                  <a:schemeClr val="tx1"/>
                </a:solidFill>
              </a:rPr>
              <a:pPr algn="ct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103" name="Rectangle 102"/>
          <p:cNvSpPr/>
          <p:nvPr>
            <p:custDataLst>
              <p:tags r:id="rId87"/>
            </p:custDataLst>
          </p:nvPr>
        </p:nvSpPr>
        <p:spPr bwMode="auto">
          <a:xfrm>
            <a:off x="1909763"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102F336-9F82-4344-B1C5-AC91BE9DC234}" type="datetime'''''''''''''''''''''''''''''''''3'''">
              <a:rPr lang="en-US" sz="1000">
                <a:solidFill>
                  <a:schemeClr val="tx1"/>
                </a:solidFill>
              </a:rPr>
              <a:pPr algn="ctr">
                <a:spcBef>
                  <a:spcPct val="0"/>
                </a:spcBef>
                <a:spcAft>
                  <a:spcPct val="0"/>
                </a:spcAft>
              </a:pPr>
              <a:t>3</a:t>
            </a:fld>
            <a:endParaRPr lang="en-US" sz="1000">
              <a:solidFill>
                <a:schemeClr val="tx1"/>
              </a:solidFill>
              <a:sym typeface="+mn-lt"/>
            </a:endParaRPr>
          </a:p>
        </p:txBody>
      </p:sp>
      <p:sp>
        <p:nvSpPr>
          <p:cNvPr id="104" name="Rectangle 103"/>
          <p:cNvSpPr/>
          <p:nvPr>
            <p:custDataLst>
              <p:tags r:id="rId88"/>
            </p:custDataLst>
          </p:nvPr>
        </p:nvSpPr>
        <p:spPr bwMode="gray">
          <a:xfrm>
            <a:off x="7285038" y="53086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23D2751-7037-4687-B369-D4E629208F80}"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B3B1E39-1031-4162-91ED-968BD50F69FD}" type="datetime'''''''''''''''''''''''''1''2'''''''''''''''">
              <a:rPr lang="en-US" sz="1000">
                <a:solidFill>
                  <a:schemeClr val="tx1"/>
                </a:solidFill>
              </a:rPr>
              <a:pPr algn="ct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105" name="Rectangle 104"/>
          <p:cNvSpPr/>
          <p:nvPr>
            <p:custDataLst>
              <p:tags r:id="rId89"/>
            </p:custDataLst>
          </p:nvPr>
        </p:nvSpPr>
        <p:spPr bwMode="auto">
          <a:xfrm>
            <a:off x="1452563"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D0DCF5D-EF33-494D-9D12-70772CF015D3}" type="datetime'''''''''''''''''''''''''''''''''''''2'''''''''''''''''''''''">
              <a:rPr lang="en-US" sz="1000">
                <a:solidFill>
                  <a:schemeClr val="tx1"/>
                </a:solidFill>
              </a:rPr>
              <a:pPr algn="ctr">
                <a:spcBef>
                  <a:spcPct val="0"/>
                </a:spcBef>
                <a:spcAft>
                  <a:spcPct val="0"/>
                </a:spcAft>
              </a:pPr>
              <a:t>2</a:t>
            </a:fld>
            <a:endParaRPr lang="en-US" sz="1000">
              <a:solidFill>
                <a:schemeClr val="tx1"/>
              </a:solidFill>
              <a:sym typeface="+mn-lt"/>
            </a:endParaRPr>
          </a:p>
        </p:txBody>
      </p:sp>
      <p:sp>
        <p:nvSpPr>
          <p:cNvPr id="106" name="Rectangle 105"/>
          <p:cNvSpPr/>
          <p:nvPr>
            <p:custDataLst>
              <p:tags r:id="rId90"/>
            </p:custDataLst>
          </p:nvPr>
        </p:nvSpPr>
        <p:spPr bwMode="gray">
          <a:xfrm>
            <a:off x="7737475" y="53086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F1EB1FA-6666-456C-856A-54976B9F001E}"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D6C033B-37AF-4830-A86D-EBFB54E92701}" type="datetime'''1''''''''''1'''''''''''''''">
              <a:rPr lang="en-US" sz="1000">
                <a:solidFill>
                  <a:schemeClr val="tx1"/>
                </a:solidFill>
              </a:rPr>
              <a:pPr algn="ct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107" name="Rectangle 106"/>
          <p:cNvSpPr/>
          <p:nvPr>
            <p:custDataLst>
              <p:tags r:id="rId91"/>
            </p:custDataLst>
          </p:nvPr>
        </p:nvSpPr>
        <p:spPr bwMode="auto">
          <a:xfrm>
            <a:off x="1000125"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D5DB92B-45DF-48E2-8A73-4655D32FFA56}" type="datetime'''''''''''''''''''''''''''''''''1'''''''''''''''''''''''">
              <a:rPr lang="en-US" sz="1000">
                <a:solidFill>
                  <a:schemeClr val="tx1"/>
                </a:solidFill>
              </a:rPr>
              <a:pPr algn="ctr">
                <a:spcBef>
                  <a:spcPct val="0"/>
                </a:spcBef>
                <a:spcAft>
                  <a:spcPct val="0"/>
                </a:spcAft>
              </a:pPr>
              <a:t>1</a:t>
            </a:fld>
            <a:endParaRPr lang="en-US" sz="1000">
              <a:solidFill>
                <a:schemeClr val="tx1"/>
              </a:solidFill>
              <a:sym typeface="+mn-lt"/>
            </a:endParaRPr>
          </a:p>
        </p:txBody>
      </p:sp>
      <p:sp>
        <p:nvSpPr>
          <p:cNvPr id="108" name="Rectangle 107"/>
          <p:cNvSpPr/>
          <p:nvPr>
            <p:custDataLst>
              <p:tags r:id="rId92"/>
            </p:custDataLst>
          </p:nvPr>
        </p:nvSpPr>
        <p:spPr bwMode="gray">
          <a:xfrm>
            <a:off x="8189913" y="52895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60366A7-CDF1-48C2-B736-E9E04C30CA86}"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2C47CDC-54DE-4562-B6E6-14E909DCFE53}" type="datetime'''''''''''1''''''''''''''''''''''''''''''7'''''''''''">
              <a:rPr lang="en-US" sz="1000">
                <a:solidFill>
                  <a:schemeClr val="tx1"/>
                </a:solidFill>
              </a:rPr>
              <a:pPr algn="ct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109" name="Rectangle 108"/>
          <p:cNvSpPr/>
          <p:nvPr>
            <p:custDataLst>
              <p:tags r:id="rId93"/>
            </p:custDataLst>
          </p:nvPr>
        </p:nvSpPr>
        <p:spPr bwMode="auto">
          <a:xfrm>
            <a:off x="547688"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5F51BA4-6C03-42A1-8CB0-9B7D20E50887}" type="datetime'''''''''''''0'''''''''''''''''''''''''''''''''''''''''''">
              <a:rPr lang="en-US" sz="1000">
                <a:solidFill>
                  <a:schemeClr val="tx1"/>
                </a:solidFill>
              </a:rPr>
              <a:pPr algn="ctr">
                <a:spcBef>
                  <a:spcPct val="0"/>
                </a:spcBef>
                <a:spcAft>
                  <a:spcPct val="0"/>
                </a:spcAft>
              </a:pPr>
              <a:t>0</a:t>
            </a:fld>
            <a:endParaRPr lang="en-US" sz="1000">
              <a:solidFill>
                <a:schemeClr val="tx1"/>
              </a:solidFill>
              <a:sym typeface="+mn-lt"/>
            </a:endParaRPr>
          </a:p>
        </p:txBody>
      </p:sp>
      <p:sp>
        <p:nvSpPr>
          <p:cNvPr id="110" name="Rectangle 109"/>
          <p:cNvSpPr/>
          <p:nvPr>
            <p:custDataLst>
              <p:tags r:id="rId94"/>
            </p:custDataLst>
          </p:nvPr>
        </p:nvSpPr>
        <p:spPr bwMode="auto">
          <a:xfrm>
            <a:off x="3590925" y="6038850"/>
            <a:ext cx="1725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smtClean="0">
                <a:solidFill>
                  <a:schemeClr val="tx1"/>
                </a:solidFill>
                <a:sym typeface="+mn-lt"/>
              </a:rPr>
              <a:t>Metai kelis apima amžiaus grupė</a:t>
            </a:r>
            <a:endParaRPr lang="en-US" sz="1000" b="1" dirty="0">
              <a:solidFill>
                <a:schemeClr val="tx1"/>
              </a:solidFill>
              <a:sym typeface="+mn-lt"/>
            </a:endParaRPr>
          </a:p>
        </p:txBody>
      </p:sp>
      <p:sp>
        <p:nvSpPr>
          <p:cNvPr id="111" name="Rectangle 110"/>
          <p:cNvSpPr/>
          <p:nvPr/>
        </p:nvSpPr>
        <p:spPr>
          <a:xfrm>
            <a:off x="87312" y="3789363"/>
            <a:ext cx="8915401"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chemeClr val="bg1"/>
                </a:solidFill>
                <a:cs typeface="Cambria"/>
              </a:rPr>
              <a:t>Projekt</a:t>
            </a:r>
            <a:r>
              <a:rPr lang="lt-LT" sz="1200" dirty="0">
                <a:solidFill>
                  <a:schemeClr val="bg1"/>
                </a:solidFill>
                <a:cs typeface="Cambria"/>
              </a:rPr>
              <a:t>ų pasiskirstymas pagal </a:t>
            </a:r>
            <a:r>
              <a:rPr lang="lt-LT" sz="1200" dirty="0" smtClean="0">
                <a:solidFill>
                  <a:schemeClr val="bg1"/>
                </a:solidFill>
                <a:cs typeface="Cambria"/>
              </a:rPr>
              <a:t> amžiaus grupės dydį – skirtumą tarp vyriausių ir jauniausių projekto dalyvių amžiaus, </a:t>
            </a:r>
            <a:r>
              <a:rPr lang="lt-LT" sz="1200" dirty="0">
                <a:solidFill>
                  <a:schemeClr val="bg1"/>
                </a:solidFill>
                <a:cs typeface="Cambria"/>
              </a:rPr>
              <a:t>vnt.</a:t>
            </a:r>
          </a:p>
        </p:txBody>
      </p:sp>
      <p:sp>
        <p:nvSpPr>
          <p:cNvPr id="112" name="Rectangle 111"/>
          <p:cNvSpPr/>
          <p:nvPr/>
        </p:nvSpPr>
        <p:spPr>
          <a:xfrm>
            <a:off x="87312" y="4078288"/>
            <a:ext cx="8915401" cy="223224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67267486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2958345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9"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23528" y="224644"/>
            <a:ext cx="8604956" cy="487362"/>
          </a:xfrm>
        </p:spPr>
        <p:txBody>
          <a:bodyPr>
            <a:noAutofit/>
          </a:bodyPr>
          <a:lstStyle/>
          <a:p>
            <a:r>
              <a:rPr lang="lt-LT" sz="2000" b="1" dirty="0">
                <a:solidFill>
                  <a:schemeClr val="tx2">
                    <a:lumMod val="75000"/>
                  </a:schemeClr>
                </a:solidFill>
              </a:rPr>
              <a:t>Didžiausias skaičius ir didžiausia dalis visų įvykdytų projektų (24 proc.) buvo įvykdyta Kauno regione</a:t>
            </a:r>
            <a:endParaRPr lang="en-US" sz="2000" b="1" dirty="0">
              <a:solidFill>
                <a:schemeClr val="tx2">
                  <a:lumMod val="75000"/>
                </a:schemeClr>
              </a:solidFill>
            </a:endParaRPr>
          </a:p>
        </p:txBody>
      </p:sp>
      <p:sp>
        <p:nvSpPr>
          <p:cNvPr id="5" name="Rectangle 4"/>
          <p:cNvSpPr/>
          <p:nvPr/>
        </p:nvSpPr>
        <p:spPr>
          <a:xfrm>
            <a:off x="141288" y="1282700"/>
            <a:ext cx="4523300" cy="496303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141288" y="981075"/>
            <a:ext cx="4527817"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skaičiaus pasiskirstymas pagal regioną, vnt. </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2769213708"/>
              </p:ext>
            </p:extLst>
          </p:nvPr>
        </p:nvGraphicFramePr>
        <p:xfrm>
          <a:off x="152400" y="1257300"/>
          <a:ext cx="4524457" cy="1247670"/>
        </p:xfrm>
        <a:graphic>
          <a:graphicData uri="http://schemas.openxmlformats.org/presentationml/2006/ole">
            <mc:AlternateContent xmlns:mc="http://schemas.openxmlformats.org/markup-compatibility/2006">
              <mc:Choice xmlns:v="urn:schemas-microsoft-com:vml" Requires="v">
                <p:oleObj spid="_x0000_s26660" name="Chart" r:id="rId39" imgW="4524262" imgH="1247782" progId="MSGraph.Chart.8">
                  <p:embed followColorScheme="full"/>
                </p:oleObj>
              </mc:Choice>
              <mc:Fallback>
                <p:oleObj name="Chart" r:id="rId39" imgW="4524262" imgH="1247782" progId="MSGraph.Chart.8">
                  <p:embed followColorScheme="full"/>
                  <p:pic>
                    <p:nvPicPr>
                      <p:cNvPr id="0" name=""/>
                      <p:cNvPicPr/>
                      <p:nvPr/>
                    </p:nvPicPr>
                    <p:blipFill>
                      <a:blip r:embed="rId40"/>
                      <a:stretch>
                        <a:fillRect/>
                      </a:stretch>
                    </p:blipFill>
                    <p:spPr>
                      <a:xfrm>
                        <a:off x="152400" y="1257300"/>
                        <a:ext cx="4524457" cy="1247670"/>
                      </a:xfrm>
                      <a:prstGeom prst="rect">
                        <a:avLst/>
                      </a:prstGeom>
                    </p:spPr>
                  </p:pic>
                </p:oleObj>
              </mc:Fallback>
            </mc:AlternateContent>
          </a:graphicData>
        </a:graphic>
      </p:graphicFrame>
      <p:sp>
        <p:nvSpPr>
          <p:cNvPr id="11" name="Rectangle 10"/>
          <p:cNvSpPr/>
          <p:nvPr>
            <p:custDataLst>
              <p:tags r:id="rId5"/>
            </p:custDataLst>
          </p:nvPr>
        </p:nvSpPr>
        <p:spPr bwMode="auto">
          <a:xfrm flipV="1">
            <a:off x="2995613" y="2508250"/>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AC94EC0-8497-4E35-9A3A-44FB7B941AD7}"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6"/>
            </p:custDataLst>
          </p:nvPr>
        </p:nvSpPr>
        <p:spPr bwMode="auto">
          <a:xfrm flipV="1">
            <a:off x="2566988" y="2508250"/>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DA14380-1331-4A59-BCF9-99C01205D1BC}"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3" name="Rectangle 12"/>
          <p:cNvSpPr/>
          <p:nvPr>
            <p:custDataLst>
              <p:tags r:id="rId7"/>
            </p:custDataLst>
          </p:nvPr>
        </p:nvSpPr>
        <p:spPr bwMode="auto">
          <a:xfrm flipV="1">
            <a:off x="2138363" y="2508250"/>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16C0F6-87FD-403B-A98A-46EC8538E0C8}"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4" name="Rectangle 13"/>
          <p:cNvSpPr/>
          <p:nvPr>
            <p:custDataLst>
              <p:tags r:id="rId8"/>
            </p:custDataLst>
          </p:nvPr>
        </p:nvSpPr>
        <p:spPr bwMode="auto">
          <a:xfrm flipV="1">
            <a:off x="1709738" y="2508250"/>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0885EC5-59B9-4CFF-B095-1B0E9C1D8B39}"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15" name="Rectangle 14"/>
          <p:cNvSpPr/>
          <p:nvPr>
            <p:custDataLst>
              <p:tags r:id="rId9"/>
            </p:custDataLst>
          </p:nvPr>
        </p:nvSpPr>
        <p:spPr bwMode="auto">
          <a:xfrm flipV="1">
            <a:off x="1276350" y="2508250"/>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964025A-73C4-4719-933D-4C7844B2D6EF}"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6" name="Rectangle 15"/>
          <p:cNvSpPr/>
          <p:nvPr>
            <p:custDataLst>
              <p:tags r:id="rId10"/>
            </p:custDataLst>
          </p:nvPr>
        </p:nvSpPr>
        <p:spPr bwMode="auto">
          <a:xfrm flipV="1">
            <a:off x="842963" y="2508250"/>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D32455E-BF0E-4FB7-ACAE-FCBCF1C49AF3}"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17" name="Rectangle 16"/>
          <p:cNvSpPr/>
          <p:nvPr>
            <p:custDataLst>
              <p:tags r:id="rId11"/>
            </p:custDataLst>
          </p:nvPr>
        </p:nvSpPr>
        <p:spPr bwMode="auto">
          <a:xfrm flipV="1">
            <a:off x="414338" y="2508250"/>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F92A82C-790C-4284-81B3-16C949965B7E}"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8" name="Rectangle 7"/>
          <p:cNvSpPr/>
          <p:nvPr>
            <p:custDataLst>
              <p:tags r:id="rId12"/>
            </p:custDataLst>
          </p:nvPr>
        </p:nvSpPr>
        <p:spPr bwMode="auto">
          <a:xfrm flipV="1">
            <a:off x="4291013" y="2508250"/>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D9D065D-B677-4C89-8689-BE89D9D1176A}"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9" name="Rectangle 8"/>
          <p:cNvSpPr/>
          <p:nvPr>
            <p:custDataLst>
              <p:tags r:id="rId13"/>
            </p:custDataLst>
          </p:nvPr>
        </p:nvSpPr>
        <p:spPr bwMode="auto">
          <a:xfrm flipV="1">
            <a:off x="3862388" y="2508250"/>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7A9AEFF-939B-46AA-BBB0-1FB857A71D48}"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10" name="Rectangle 9"/>
          <p:cNvSpPr/>
          <p:nvPr>
            <p:custDataLst>
              <p:tags r:id="rId14"/>
            </p:custDataLst>
          </p:nvPr>
        </p:nvSpPr>
        <p:spPr bwMode="auto">
          <a:xfrm flipV="1">
            <a:off x="3429000" y="2508250"/>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5971CE5-EB90-4199-BCE6-E5F9D9B17658}"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grpSp>
        <p:nvGrpSpPr>
          <p:cNvPr id="18" name="Group 17"/>
          <p:cNvGrpSpPr/>
          <p:nvPr/>
        </p:nvGrpSpPr>
        <p:grpSpPr>
          <a:xfrm>
            <a:off x="566898" y="3364914"/>
            <a:ext cx="3741738" cy="2781852"/>
            <a:chOff x="1027629" y="1069816"/>
            <a:chExt cx="6939630" cy="5159375"/>
          </a:xfrm>
        </p:grpSpPr>
        <p:grpSp>
          <p:nvGrpSpPr>
            <p:cNvPr id="19" name="Group 18"/>
            <p:cNvGrpSpPr/>
            <p:nvPr/>
          </p:nvGrpSpPr>
          <p:grpSpPr>
            <a:xfrm>
              <a:off x="1204509" y="1069816"/>
              <a:ext cx="6762750" cy="5159375"/>
              <a:chOff x="2140960" y="943031"/>
              <a:chExt cx="6762750" cy="5159375"/>
            </a:xfrm>
          </p:grpSpPr>
          <p:sp>
            <p:nvSpPr>
              <p:cNvPr id="30" name="Freeform 29"/>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3364435" y="1910380"/>
              <a:ext cx="1206778" cy="277000"/>
            </a:xfrm>
            <a:prstGeom prst="rect">
              <a:avLst/>
            </a:prstGeom>
            <a:noFill/>
            <a:ln w="6350">
              <a:noFill/>
            </a:ln>
          </p:spPr>
          <p:txBody>
            <a:bodyPr wrap="square" rtlCol="0">
              <a:spAutoFit/>
            </a:bodyPr>
            <a:lstStyle/>
            <a:p>
              <a:r>
                <a:rPr lang="lt-LT" sz="1200" b="1" dirty="0" smtClean="0"/>
                <a:t>Šiaulių regionas</a:t>
              </a:r>
            </a:p>
          </p:txBody>
        </p:sp>
        <p:sp>
          <p:nvSpPr>
            <p:cNvPr id="21" name="TextBox 20"/>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2" name="TextBox 21"/>
            <p:cNvSpPr txBox="1"/>
            <p:nvPr/>
          </p:nvSpPr>
          <p:spPr>
            <a:xfrm>
              <a:off x="5457420" y="4309720"/>
              <a:ext cx="1682203" cy="856229"/>
            </a:xfrm>
            <a:prstGeom prst="rect">
              <a:avLst/>
            </a:prstGeom>
            <a:noFill/>
            <a:ln w="6350">
              <a:noFill/>
            </a:ln>
          </p:spPr>
          <p:txBody>
            <a:bodyPr wrap="square" rtlCol="0">
              <a:spAutoFit/>
            </a:bodyPr>
            <a:lstStyle/>
            <a:p>
              <a:r>
                <a:rPr lang="lt-LT" sz="1200" b="1" dirty="0" smtClean="0"/>
                <a:t>Vilniaus regionas</a:t>
              </a:r>
            </a:p>
          </p:txBody>
        </p:sp>
        <p:sp>
          <p:nvSpPr>
            <p:cNvPr id="23" name="TextBox 22"/>
            <p:cNvSpPr txBox="1"/>
            <p:nvPr/>
          </p:nvSpPr>
          <p:spPr>
            <a:xfrm>
              <a:off x="4189946" y="5249939"/>
              <a:ext cx="1768753" cy="277000"/>
            </a:xfrm>
            <a:prstGeom prst="rect">
              <a:avLst/>
            </a:prstGeom>
            <a:noFill/>
            <a:ln w="6350">
              <a:noFill/>
            </a:ln>
          </p:spPr>
          <p:txBody>
            <a:bodyPr wrap="square" rtlCol="0">
              <a:spAutoFit/>
            </a:bodyPr>
            <a:lstStyle/>
            <a:p>
              <a:r>
                <a:rPr lang="lt-LT" sz="1200" b="1" dirty="0" smtClean="0"/>
                <a:t>Alytaus regionas</a:t>
              </a:r>
            </a:p>
          </p:txBody>
        </p:sp>
        <p:sp>
          <p:nvSpPr>
            <p:cNvPr id="24" name="TextBox 23"/>
            <p:cNvSpPr txBox="1"/>
            <p:nvPr/>
          </p:nvSpPr>
          <p:spPr>
            <a:xfrm>
              <a:off x="4083478" y="3505284"/>
              <a:ext cx="2023841" cy="856229"/>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5" name="TextBox 24"/>
            <p:cNvSpPr txBox="1"/>
            <p:nvPr/>
          </p:nvSpPr>
          <p:spPr>
            <a:xfrm>
              <a:off x="2459873" y="4309719"/>
              <a:ext cx="2059222" cy="769145"/>
            </a:xfrm>
            <a:prstGeom prst="rect">
              <a:avLst/>
            </a:prstGeom>
            <a:noFill/>
            <a:ln w="6350">
              <a:noFill/>
            </a:ln>
          </p:spPr>
          <p:txBody>
            <a:bodyPr wrap="square" rtlCol="0">
              <a:spAutoFit/>
            </a:bodyPr>
            <a:lstStyle/>
            <a:p>
              <a:r>
                <a:rPr lang="lt-LT" sz="1200" b="1" dirty="0" smtClean="0"/>
                <a:t>Marijampolės regionas</a:t>
              </a:r>
            </a:p>
          </p:txBody>
        </p:sp>
        <p:sp>
          <p:nvSpPr>
            <p:cNvPr id="26" name="TextBox 25"/>
            <p:cNvSpPr txBox="1"/>
            <p:nvPr/>
          </p:nvSpPr>
          <p:spPr>
            <a:xfrm>
              <a:off x="1027629" y="1099979"/>
              <a:ext cx="2074016" cy="769145"/>
            </a:xfrm>
            <a:prstGeom prst="rect">
              <a:avLst/>
            </a:prstGeom>
            <a:noFill/>
            <a:ln w="6350">
              <a:noFill/>
            </a:ln>
          </p:spPr>
          <p:txBody>
            <a:bodyPr wrap="square" rtlCol="0">
              <a:spAutoFit/>
            </a:bodyPr>
            <a:lstStyle/>
            <a:p>
              <a:r>
                <a:rPr lang="lt-LT" sz="1200" b="1" dirty="0" smtClean="0"/>
                <a:t>Klaipėdos regionas</a:t>
              </a:r>
            </a:p>
          </p:txBody>
        </p:sp>
        <p:sp>
          <p:nvSpPr>
            <p:cNvPr id="27" name="TextBox 26"/>
            <p:cNvSpPr txBox="1"/>
            <p:nvPr/>
          </p:nvSpPr>
          <p:spPr>
            <a:xfrm>
              <a:off x="2159738" y="1662462"/>
              <a:ext cx="1667199" cy="856229"/>
            </a:xfrm>
            <a:prstGeom prst="rect">
              <a:avLst/>
            </a:prstGeom>
            <a:noFill/>
            <a:ln w="6350">
              <a:noFill/>
            </a:ln>
          </p:spPr>
          <p:txBody>
            <a:bodyPr wrap="square" rtlCol="0">
              <a:spAutoFit/>
            </a:bodyPr>
            <a:lstStyle/>
            <a:p>
              <a:r>
                <a:rPr lang="lt-LT" sz="1200" b="1" dirty="0" smtClean="0"/>
                <a:t>Telšių regionas</a:t>
              </a:r>
            </a:p>
          </p:txBody>
        </p:sp>
        <p:sp>
          <p:nvSpPr>
            <p:cNvPr id="28" name="TextBox 27"/>
            <p:cNvSpPr txBox="1"/>
            <p:nvPr/>
          </p:nvSpPr>
          <p:spPr>
            <a:xfrm>
              <a:off x="2224678" y="3128583"/>
              <a:ext cx="1483911" cy="277000"/>
            </a:xfrm>
            <a:prstGeom prst="rect">
              <a:avLst/>
            </a:prstGeom>
            <a:noFill/>
            <a:ln w="6350">
              <a:noFill/>
            </a:ln>
          </p:spPr>
          <p:txBody>
            <a:bodyPr wrap="square" rtlCol="0">
              <a:spAutoFit/>
            </a:bodyPr>
            <a:lstStyle/>
            <a:p>
              <a:r>
                <a:rPr lang="lt-LT" sz="1200" b="1" dirty="0" smtClean="0"/>
                <a:t>Tauragės regionas</a:t>
              </a:r>
            </a:p>
          </p:txBody>
        </p:sp>
        <p:sp>
          <p:nvSpPr>
            <p:cNvPr id="29" name="TextBox 28"/>
            <p:cNvSpPr txBox="1"/>
            <p:nvPr/>
          </p:nvSpPr>
          <p:spPr>
            <a:xfrm>
              <a:off x="5899563" y="2630181"/>
              <a:ext cx="1498739" cy="277000"/>
            </a:xfrm>
            <a:prstGeom prst="rect">
              <a:avLst/>
            </a:prstGeom>
            <a:noFill/>
            <a:ln w="6350">
              <a:noFill/>
            </a:ln>
          </p:spPr>
          <p:txBody>
            <a:bodyPr wrap="square" rtlCol="0">
              <a:spAutoFit/>
            </a:bodyPr>
            <a:lstStyle/>
            <a:p>
              <a:r>
                <a:rPr lang="lt-LT" sz="1200" b="1" dirty="0" smtClean="0"/>
                <a:t>Utenos regionas</a:t>
              </a:r>
            </a:p>
          </p:txBody>
        </p:sp>
      </p:grpSp>
      <p:sp>
        <p:nvSpPr>
          <p:cNvPr id="40" name="Rectangle 39"/>
          <p:cNvSpPr/>
          <p:nvPr/>
        </p:nvSpPr>
        <p:spPr>
          <a:xfrm>
            <a:off x="190500" y="1392238"/>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
        <p:nvSpPr>
          <p:cNvPr id="41" name="Rectangle 40"/>
          <p:cNvSpPr/>
          <p:nvPr/>
        </p:nvSpPr>
        <p:spPr>
          <a:xfrm>
            <a:off x="4808538" y="1282700"/>
            <a:ext cx="4241675" cy="496303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2" name="Rectangle 41"/>
          <p:cNvSpPr/>
          <p:nvPr/>
        </p:nvSpPr>
        <p:spPr>
          <a:xfrm>
            <a:off x="4808538" y="981075"/>
            <a:ext cx="4245911" cy="41059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dalis lyginant su visų vykdytų projektų skaičiumi pagal regioną, proc. </a:t>
            </a:r>
            <a:endParaRPr lang="lt-LT" sz="1200" dirty="0">
              <a:solidFill>
                <a:schemeClr val="bg1"/>
              </a:solidFill>
              <a:cs typeface="Cambria"/>
            </a:endParaRPr>
          </a:p>
        </p:txBody>
      </p:sp>
      <p:graphicFrame>
        <p:nvGraphicFramePr>
          <p:cNvPr id="43" name="Object 42"/>
          <p:cNvGraphicFramePr>
            <a:graphicFrameLocks/>
          </p:cNvGraphicFramePr>
          <p:nvPr>
            <p:custDataLst>
              <p:tags r:id="rId15"/>
            </p:custDataLst>
            <p:extLst>
              <p:ext uri="{D42A27DB-BD31-4B8C-83A1-F6EECF244321}">
                <p14:modId xmlns:p14="http://schemas.microsoft.com/office/powerpoint/2010/main" val="3112217567"/>
              </p:ext>
            </p:extLst>
          </p:nvPr>
        </p:nvGraphicFramePr>
        <p:xfrm>
          <a:off x="4762501" y="1485900"/>
          <a:ext cx="4248111" cy="1038150"/>
        </p:xfrm>
        <a:graphic>
          <a:graphicData uri="http://schemas.openxmlformats.org/presentationml/2006/ole">
            <mc:AlternateContent xmlns:mc="http://schemas.openxmlformats.org/markup-compatibility/2006">
              <mc:Choice xmlns:v="urn:schemas-microsoft-com:vml" Requires="v">
                <p:oleObj spid="_x0000_s26661" name="Chart" r:id="rId41" imgW="4248011" imgH="1038179" progId="MSGraph.Chart.8">
                  <p:embed followColorScheme="full"/>
                </p:oleObj>
              </mc:Choice>
              <mc:Fallback>
                <p:oleObj name="Chart" r:id="rId41" imgW="4248011" imgH="1038179" progId="MSGraph.Chart.8">
                  <p:embed followColorScheme="full"/>
                  <p:pic>
                    <p:nvPicPr>
                      <p:cNvPr id="0" name=""/>
                      <p:cNvPicPr/>
                      <p:nvPr/>
                    </p:nvPicPr>
                    <p:blipFill>
                      <a:blip r:embed="rId42"/>
                      <a:stretch>
                        <a:fillRect/>
                      </a:stretch>
                    </p:blipFill>
                    <p:spPr>
                      <a:xfrm>
                        <a:off x="4762501" y="1485900"/>
                        <a:ext cx="4248111" cy="1038150"/>
                      </a:xfrm>
                      <a:prstGeom prst="rect">
                        <a:avLst/>
                      </a:prstGeom>
                    </p:spPr>
                  </p:pic>
                </p:oleObj>
              </mc:Fallback>
            </mc:AlternateContent>
          </a:graphicData>
        </a:graphic>
      </p:graphicFrame>
      <p:sp>
        <p:nvSpPr>
          <p:cNvPr id="59" name="Rectangle 58"/>
          <p:cNvSpPr/>
          <p:nvPr>
            <p:custDataLst>
              <p:tags r:id="rId16"/>
            </p:custDataLst>
          </p:nvPr>
        </p:nvSpPr>
        <p:spPr bwMode="auto">
          <a:xfrm flipV="1">
            <a:off x="6610350" y="2536825"/>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98ACF50-C186-48A9-8CFB-D714F31A53E5}"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49" name="Rectangle 48"/>
          <p:cNvSpPr/>
          <p:nvPr>
            <p:custDataLst>
              <p:tags r:id="rId17"/>
            </p:custDataLst>
          </p:nvPr>
        </p:nvSpPr>
        <p:spPr bwMode="gray">
          <a:xfrm>
            <a:off x="7348538" y="20224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193364-65A3-4DCE-B1D6-28A6EFF9FE1B}" type="datetime'''''''''6'''''''''''''''''''''''''''''''',''''''''''4%'''''''">
              <a:rPr lang="en-US" sz="1000">
                <a:solidFill>
                  <a:schemeClr val="tx1"/>
                </a:solidFill>
              </a:rPr>
              <a:pPr algn="ctr">
                <a:spcBef>
                  <a:spcPct val="0"/>
                </a:spcBef>
                <a:spcAft>
                  <a:spcPct val="0"/>
                </a:spcAft>
              </a:pPr>
              <a:t>6,4%</a:t>
            </a:fld>
            <a:endParaRPr lang="en-US" sz="1000" dirty="0">
              <a:solidFill>
                <a:schemeClr val="tx1"/>
              </a:solidFill>
              <a:latin typeface="Calibri"/>
              <a:sym typeface="Calibri"/>
            </a:endParaRPr>
          </a:p>
        </p:txBody>
      </p:sp>
      <p:sp>
        <p:nvSpPr>
          <p:cNvPr id="62" name="Rectangle 61"/>
          <p:cNvSpPr/>
          <p:nvPr>
            <p:custDataLst>
              <p:tags r:id="rId18"/>
            </p:custDataLst>
          </p:nvPr>
        </p:nvSpPr>
        <p:spPr bwMode="auto">
          <a:xfrm flipV="1">
            <a:off x="6205538" y="2536825"/>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7A60B7D-297D-428F-870A-B3C829E59635}"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48" name="Rectangle 47"/>
          <p:cNvSpPr/>
          <p:nvPr>
            <p:custDataLst>
              <p:tags r:id="rId19"/>
            </p:custDataLst>
          </p:nvPr>
        </p:nvSpPr>
        <p:spPr bwMode="gray">
          <a:xfrm>
            <a:off x="6948488" y="19843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2E1B245-B052-40FE-A71E-A796421F9D63}" type="datetime'''''''''''''7'''''''''''',4''''''''''''''%'''''''''''''''''">
              <a:rPr lang="en-US" sz="1000">
                <a:solidFill>
                  <a:schemeClr val="tx1"/>
                </a:solidFill>
              </a:rPr>
              <a:pPr algn="ctr">
                <a:spcBef>
                  <a:spcPct val="0"/>
                </a:spcBef>
                <a:spcAft>
                  <a:spcPct val="0"/>
                </a:spcAft>
              </a:pPr>
              <a:t>7,4%</a:t>
            </a:fld>
            <a:endParaRPr lang="en-US" sz="1000" dirty="0">
              <a:solidFill>
                <a:schemeClr val="tx1"/>
              </a:solidFill>
              <a:latin typeface="Calibri"/>
              <a:sym typeface="Calibri"/>
            </a:endParaRPr>
          </a:p>
        </p:txBody>
      </p:sp>
      <p:sp>
        <p:nvSpPr>
          <p:cNvPr id="52" name="Rectangle 51"/>
          <p:cNvSpPr/>
          <p:nvPr>
            <p:custDataLst>
              <p:tags r:id="rId20"/>
            </p:custDataLst>
          </p:nvPr>
        </p:nvSpPr>
        <p:spPr bwMode="gray">
          <a:xfrm>
            <a:off x="8558213" y="21748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0F3405A-8BD1-4749-8515-BDC534176769}" type="datetime'''''''2'''''''''''',''''0%'''''''''''''''''''''">
              <a:rPr lang="en-US" sz="1000">
                <a:solidFill>
                  <a:schemeClr val="tx1"/>
                </a:solidFill>
              </a:rPr>
              <a:pPr algn="ctr">
                <a:spcBef>
                  <a:spcPct val="0"/>
                </a:spcBef>
                <a:spcAft>
                  <a:spcPct val="0"/>
                </a:spcAft>
              </a:pPr>
              <a:t>2,0%</a:t>
            </a:fld>
            <a:endParaRPr lang="en-US" sz="1000" dirty="0">
              <a:solidFill>
                <a:schemeClr val="tx1"/>
              </a:solidFill>
              <a:latin typeface="Calibri"/>
              <a:sym typeface="Calibri"/>
            </a:endParaRPr>
          </a:p>
        </p:txBody>
      </p:sp>
      <p:sp>
        <p:nvSpPr>
          <p:cNvPr id="55" name="Rectangle 54"/>
          <p:cNvSpPr/>
          <p:nvPr>
            <p:custDataLst>
              <p:tags r:id="rId21"/>
            </p:custDataLst>
          </p:nvPr>
        </p:nvSpPr>
        <p:spPr bwMode="auto">
          <a:xfrm flipV="1">
            <a:off x="5805488" y="2536825"/>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A7FC7B0-9D58-43E2-8516-6E83F9939AFD}"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60" name="Rectangle 59"/>
          <p:cNvSpPr/>
          <p:nvPr>
            <p:custDataLst>
              <p:tags r:id="rId22"/>
            </p:custDataLst>
          </p:nvPr>
        </p:nvSpPr>
        <p:spPr bwMode="gray">
          <a:xfrm>
            <a:off x="6105525" y="182245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C1573A1-4836-4CA3-9DD0-021E822ACAB0}" type="datetime'''1''2'''''''''''''''''''''''''',''''''1''''''''''''''''%'''">
              <a:rPr lang="en-US" sz="1000">
                <a:solidFill>
                  <a:schemeClr val="tx1"/>
                </a:solidFill>
              </a:rPr>
              <a:pPr algn="ctr">
                <a:spcBef>
                  <a:spcPct val="0"/>
                </a:spcBef>
                <a:spcAft>
                  <a:spcPct val="0"/>
                </a:spcAft>
              </a:pPr>
              <a:t>12,1%</a:t>
            </a:fld>
            <a:endParaRPr lang="en-US" sz="1000" dirty="0">
              <a:solidFill>
                <a:schemeClr val="tx1"/>
              </a:solidFill>
              <a:latin typeface="Calibri"/>
              <a:sym typeface="Calibri"/>
            </a:endParaRPr>
          </a:p>
        </p:txBody>
      </p:sp>
      <p:sp>
        <p:nvSpPr>
          <p:cNvPr id="47" name="Rectangle 46"/>
          <p:cNvSpPr/>
          <p:nvPr>
            <p:custDataLst>
              <p:tags r:id="rId23"/>
            </p:custDataLst>
          </p:nvPr>
        </p:nvSpPr>
        <p:spPr bwMode="auto">
          <a:xfrm flipV="1">
            <a:off x="7015163" y="2536825"/>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4BF860A-0631-42EC-B7AF-8B174AA04286}"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46" name="Rectangle 45"/>
          <p:cNvSpPr/>
          <p:nvPr>
            <p:custDataLst>
              <p:tags r:id="rId24"/>
            </p:custDataLst>
          </p:nvPr>
        </p:nvSpPr>
        <p:spPr bwMode="gray">
          <a:xfrm>
            <a:off x="8153400" y="20891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7BC7581-54B1-4F52-83C4-80328B24A05A}" type="datetime'''''''''4,''''''4''%'''''''''''''''''''''''''''">
              <a:rPr lang="en-US" sz="1000">
                <a:solidFill>
                  <a:schemeClr val="tx1"/>
                </a:solidFill>
              </a:rPr>
              <a:pPr algn="ctr">
                <a:spcBef>
                  <a:spcPct val="0"/>
                </a:spcBef>
                <a:spcAft>
                  <a:spcPct val="0"/>
                </a:spcAft>
              </a:pPr>
              <a:t>4,4%</a:t>
            </a:fld>
            <a:endParaRPr lang="en-US" sz="1000" dirty="0">
              <a:solidFill>
                <a:schemeClr val="tx1"/>
              </a:solidFill>
              <a:latin typeface="Calibri"/>
              <a:sym typeface="Calibri"/>
            </a:endParaRPr>
          </a:p>
        </p:txBody>
      </p:sp>
      <p:sp>
        <p:nvSpPr>
          <p:cNvPr id="50" name="Rectangle 49"/>
          <p:cNvSpPr/>
          <p:nvPr>
            <p:custDataLst>
              <p:tags r:id="rId25"/>
            </p:custDataLst>
          </p:nvPr>
        </p:nvSpPr>
        <p:spPr bwMode="auto">
          <a:xfrm flipV="1">
            <a:off x="7815263" y="2536825"/>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6B2852F-0474-43DE-B5BF-C9A1FE4FA2BC}"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63" name="Rectangle 62"/>
          <p:cNvSpPr/>
          <p:nvPr>
            <p:custDataLst>
              <p:tags r:id="rId26"/>
            </p:custDataLst>
          </p:nvPr>
        </p:nvSpPr>
        <p:spPr bwMode="gray">
          <a:xfrm>
            <a:off x="7748588" y="20701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F34BC92-B85F-4371-8050-DB9228233507}" type="datetime'''''''''''''''''''5'''',''''''1%'''''''''''''''''''''''''">
              <a:rPr lang="en-US" sz="1000">
                <a:solidFill>
                  <a:schemeClr val="tx1"/>
                </a:solidFill>
              </a:rPr>
              <a:pPr algn="ctr">
                <a:spcBef>
                  <a:spcPct val="0"/>
                </a:spcBef>
                <a:spcAft>
                  <a:spcPct val="0"/>
                </a:spcAft>
              </a:pPr>
              <a:t>5,1%</a:t>
            </a:fld>
            <a:endParaRPr lang="en-US" sz="1000" dirty="0">
              <a:solidFill>
                <a:schemeClr val="tx1"/>
              </a:solidFill>
              <a:latin typeface="Calibri"/>
              <a:sym typeface="Calibri"/>
            </a:endParaRPr>
          </a:p>
        </p:txBody>
      </p:sp>
      <p:sp>
        <p:nvSpPr>
          <p:cNvPr id="45" name="Rectangle 44"/>
          <p:cNvSpPr/>
          <p:nvPr>
            <p:custDataLst>
              <p:tags r:id="rId27"/>
            </p:custDataLst>
          </p:nvPr>
        </p:nvSpPr>
        <p:spPr bwMode="auto">
          <a:xfrm flipV="1">
            <a:off x="7415213" y="2536825"/>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2AFEF13-3917-40EC-B7E0-84C9CB70B091}"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44" name="Rectangle 43"/>
          <p:cNvSpPr/>
          <p:nvPr>
            <p:custDataLst>
              <p:tags r:id="rId28"/>
            </p:custDataLst>
          </p:nvPr>
        </p:nvSpPr>
        <p:spPr bwMode="auto">
          <a:xfrm flipV="1">
            <a:off x="8624888" y="2536825"/>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3A29656-49BD-486B-B69D-F45F5ED81E47}"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61" name="Rectangle 60"/>
          <p:cNvSpPr/>
          <p:nvPr>
            <p:custDataLst>
              <p:tags r:id="rId29"/>
            </p:custDataLst>
          </p:nvPr>
        </p:nvSpPr>
        <p:spPr bwMode="gray">
          <a:xfrm>
            <a:off x="6510338" y="187960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AC41B7-597F-48D5-A5F4-712F2D48889A}" type="datetime'''''''1''''''''''''''0'''''''''''',''''6''''%'''''''''''">
              <a:rPr lang="en-US" sz="1000">
                <a:solidFill>
                  <a:schemeClr val="tx1"/>
                </a:solidFill>
              </a:rPr>
              <a:pPr algn="ctr">
                <a:spcBef>
                  <a:spcPct val="0"/>
                </a:spcBef>
                <a:spcAft>
                  <a:spcPct val="0"/>
                </a:spcAft>
              </a:pPr>
              <a:t>10,6%</a:t>
            </a:fld>
            <a:endParaRPr lang="en-US" sz="1000" dirty="0">
              <a:solidFill>
                <a:schemeClr val="tx1"/>
              </a:solidFill>
              <a:latin typeface="Calibri"/>
              <a:sym typeface="Calibri"/>
            </a:endParaRPr>
          </a:p>
        </p:txBody>
      </p:sp>
      <p:sp>
        <p:nvSpPr>
          <p:cNvPr id="51" name="Rectangle 50"/>
          <p:cNvSpPr/>
          <p:nvPr>
            <p:custDataLst>
              <p:tags r:id="rId30"/>
            </p:custDataLst>
          </p:nvPr>
        </p:nvSpPr>
        <p:spPr bwMode="auto">
          <a:xfrm flipV="1">
            <a:off x="8220075" y="2536825"/>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7EB7E92-DD9F-45B1-9CE2-BFC1DFA18383}"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57" name="Rectangle 56"/>
          <p:cNvSpPr/>
          <p:nvPr>
            <p:custDataLst>
              <p:tags r:id="rId31"/>
            </p:custDataLst>
          </p:nvPr>
        </p:nvSpPr>
        <p:spPr bwMode="gray">
          <a:xfrm>
            <a:off x="5705475" y="176530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291F812-A08D-4BA6-8603-6C5475C4A46B}" type="datetime'''''''''''''''''''''''1''4'''''''''',''''''''''''''''''''0''%'">
              <a:rPr lang="en-US" sz="1000">
                <a:solidFill>
                  <a:schemeClr val="tx1"/>
                </a:solidFill>
              </a:rPr>
              <a:pPr algn="ctr">
                <a:spcBef>
                  <a:spcPct val="0"/>
                </a:spcBef>
                <a:spcAft>
                  <a:spcPct val="0"/>
                </a:spcAft>
              </a:pPr>
              <a:t>14,0%</a:t>
            </a:fld>
            <a:endParaRPr lang="en-US" sz="1000" dirty="0">
              <a:solidFill>
                <a:schemeClr val="tx1"/>
              </a:solidFill>
              <a:latin typeface="Calibri"/>
              <a:sym typeface="Calibri"/>
            </a:endParaRPr>
          </a:p>
        </p:txBody>
      </p:sp>
      <p:sp>
        <p:nvSpPr>
          <p:cNvPr id="58" name="Rectangle 57"/>
          <p:cNvSpPr/>
          <p:nvPr>
            <p:custDataLst>
              <p:tags r:id="rId32"/>
            </p:custDataLst>
          </p:nvPr>
        </p:nvSpPr>
        <p:spPr bwMode="auto">
          <a:xfrm flipV="1">
            <a:off x="5400675" y="2536825"/>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4B340E2-3289-4486-A987-7D638689D373}"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56" name="Rectangle 55"/>
          <p:cNvSpPr/>
          <p:nvPr>
            <p:custDataLst>
              <p:tags r:id="rId33"/>
            </p:custDataLst>
          </p:nvPr>
        </p:nvSpPr>
        <p:spPr bwMode="gray">
          <a:xfrm>
            <a:off x="5300663" y="175577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3D3674D-19A2-43C1-BB60-3D1707CB113B}" type="datetime'''''''''''''''''1''4'''''''',3''''%'''">
              <a:rPr lang="en-US" sz="1000">
                <a:solidFill>
                  <a:schemeClr val="tx1"/>
                </a:solidFill>
              </a:rPr>
              <a:pPr algn="ctr">
                <a:spcBef>
                  <a:spcPct val="0"/>
                </a:spcBef>
                <a:spcAft>
                  <a:spcPct val="0"/>
                </a:spcAft>
              </a:pPr>
              <a:t>14,3%</a:t>
            </a:fld>
            <a:endParaRPr lang="en-US" sz="1000" dirty="0">
              <a:solidFill>
                <a:schemeClr val="tx1"/>
              </a:solidFill>
              <a:latin typeface="Calibri"/>
              <a:sym typeface="Calibri"/>
            </a:endParaRPr>
          </a:p>
        </p:txBody>
      </p:sp>
      <p:sp>
        <p:nvSpPr>
          <p:cNvPr id="53" name="Rectangle 52"/>
          <p:cNvSpPr/>
          <p:nvPr>
            <p:custDataLst>
              <p:tags r:id="rId34"/>
            </p:custDataLst>
          </p:nvPr>
        </p:nvSpPr>
        <p:spPr bwMode="auto">
          <a:xfrm flipV="1">
            <a:off x="4995863" y="2536825"/>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66DF0AB-3ACB-4708-9A08-2A91EC1A403D}"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54" name="Rectangle 53"/>
          <p:cNvSpPr/>
          <p:nvPr>
            <p:custDataLst>
              <p:tags r:id="rId35"/>
            </p:custDataLst>
          </p:nvPr>
        </p:nvSpPr>
        <p:spPr bwMode="gray">
          <a:xfrm>
            <a:off x="4895850" y="143192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647CB62-C9A3-4EF0-9680-412250E215B5}" type="datetime'''''''2''3'''''',''''''''6''''''''''''''%'''''''''''''''">
              <a:rPr lang="en-US" sz="1000">
                <a:solidFill>
                  <a:schemeClr val="tx1"/>
                </a:solidFill>
              </a:rPr>
              <a:pPr algn="ctr">
                <a:spcBef>
                  <a:spcPct val="0"/>
                </a:spcBef>
                <a:spcAft>
                  <a:spcPct val="0"/>
                </a:spcAft>
              </a:pPr>
              <a:t>23,6%</a:t>
            </a:fld>
            <a:endParaRPr lang="en-US" sz="1000" dirty="0">
              <a:solidFill>
                <a:schemeClr val="tx1"/>
              </a:solidFill>
              <a:latin typeface="Calibri"/>
              <a:sym typeface="Calibri"/>
            </a:endParaRPr>
          </a:p>
        </p:txBody>
      </p:sp>
      <p:grpSp>
        <p:nvGrpSpPr>
          <p:cNvPr id="64" name="Group 63"/>
          <p:cNvGrpSpPr/>
          <p:nvPr/>
        </p:nvGrpSpPr>
        <p:grpSpPr>
          <a:xfrm>
            <a:off x="5136661" y="3364590"/>
            <a:ext cx="3701176" cy="2782176"/>
            <a:chOff x="1103655" y="1069816"/>
            <a:chExt cx="6863604" cy="5159375"/>
          </a:xfrm>
        </p:grpSpPr>
        <p:grpSp>
          <p:nvGrpSpPr>
            <p:cNvPr id="65" name="Group 64"/>
            <p:cNvGrpSpPr/>
            <p:nvPr/>
          </p:nvGrpSpPr>
          <p:grpSpPr>
            <a:xfrm>
              <a:off x="1204509" y="1069816"/>
              <a:ext cx="6762750" cy="5159375"/>
              <a:chOff x="2140960" y="943031"/>
              <a:chExt cx="6762750" cy="5159375"/>
            </a:xfrm>
          </p:grpSpPr>
          <p:sp>
            <p:nvSpPr>
              <p:cNvPr id="76" name="Freeform 75"/>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76"/>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p:cNvSpPr txBox="1"/>
            <p:nvPr/>
          </p:nvSpPr>
          <p:spPr>
            <a:xfrm>
              <a:off x="3364436" y="2137852"/>
              <a:ext cx="1564347" cy="856129"/>
            </a:xfrm>
            <a:prstGeom prst="rect">
              <a:avLst/>
            </a:prstGeom>
            <a:noFill/>
            <a:ln w="6350">
              <a:noFill/>
            </a:ln>
          </p:spPr>
          <p:txBody>
            <a:bodyPr wrap="square" rtlCol="0">
              <a:spAutoFit/>
            </a:bodyPr>
            <a:lstStyle/>
            <a:p>
              <a:r>
                <a:rPr lang="lt-LT" sz="1200" b="1" dirty="0" smtClean="0"/>
                <a:t>Šiaulių regionas</a:t>
              </a:r>
            </a:p>
          </p:txBody>
        </p:sp>
        <p:sp>
          <p:nvSpPr>
            <p:cNvPr id="67" name="TextBox 6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68" name="TextBox 67"/>
            <p:cNvSpPr txBox="1"/>
            <p:nvPr/>
          </p:nvSpPr>
          <p:spPr>
            <a:xfrm>
              <a:off x="5457421" y="4509119"/>
              <a:ext cx="1646853" cy="856129"/>
            </a:xfrm>
            <a:prstGeom prst="rect">
              <a:avLst/>
            </a:prstGeom>
            <a:noFill/>
            <a:ln w="6350">
              <a:noFill/>
            </a:ln>
          </p:spPr>
          <p:txBody>
            <a:bodyPr wrap="square" rtlCol="0">
              <a:spAutoFit/>
            </a:bodyPr>
            <a:lstStyle/>
            <a:p>
              <a:r>
                <a:rPr lang="lt-LT" sz="1200" b="1" dirty="0" smtClean="0"/>
                <a:t>Vilniaus regionas</a:t>
              </a:r>
            </a:p>
          </p:txBody>
        </p:sp>
        <p:sp>
          <p:nvSpPr>
            <p:cNvPr id="69" name="TextBox 68"/>
            <p:cNvSpPr txBox="1"/>
            <p:nvPr/>
          </p:nvSpPr>
          <p:spPr>
            <a:xfrm>
              <a:off x="4158557" y="5249939"/>
              <a:ext cx="1768752" cy="277000"/>
            </a:xfrm>
            <a:prstGeom prst="rect">
              <a:avLst/>
            </a:prstGeom>
            <a:noFill/>
            <a:ln w="6350">
              <a:noFill/>
            </a:ln>
          </p:spPr>
          <p:txBody>
            <a:bodyPr wrap="square" rtlCol="0">
              <a:spAutoFit/>
            </a:bodyPr>
            <a:lstStyle/>
            <a:p>
              <a:r>
                <a:rPr lang="lt-LT" sz="1200" b="1" dirty="0" smtClean="0"/>
                <a:t>Alytaus regionas</a:t>
              </a:r>
            </a:p>
          </p:txBody>
        </p:sp>
        <p:sp>
          <p:nvSpPr>
            <p:cNvPr id="70" name="TextBox 69"/>
            <p:cNvSpPr txBox="1"/>
            <p:nvPr/>
          </p:nvSpPr>
          <p:spPr>
            <a:xfrm>
              <a:off x="4174401" y="3757602"/>
              <a:ext cx="1557337" cy="856129"/>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71" name="TextBox 70"/>
            <p:cNvSpPr txBox="1"/>
            <p:nvPr/>
          </p:nvSpPr>
          <p:spPr>
            <a:xfrm>
              <a:off x="2495180" y="4314265"/>
              <a:ext cx="1795741" cy="758773"/>
            </a:xfrm>
            <a:prstGeom prst="rect">
              <a:avLst/>
            </a:prstGeom>
            <a:noFill/>
            <a:ln w="6350">
              <a:noFill/>
            </a:ln>
          </p:spPr>
          <p:txBody>
            <a:bodyPr wrap="square" rtlCol="0">
              <a:spAutoFit/>
            </a:bodyPr>
            <a:lstStyle/>
            <a:p>
              <a:r>
                <a:rPr lang="lt-LT" sz="1200" b="1" dirty="0" smtClean="0"/>
                <a:t>Marijampolės regionas</a:t>
              </a:r>
            </a:p>
          </p:txBody>
        </p:sp>
        <p:sp>
          <p:nvSpPr>
            <p:cNvPr id="72" name="TextBox 71"/>
            <p:cNvSpPr txBox="1"/>
            <p:nvPr/>
          </p:nvSpPr>
          <p:spPr>
            <a:xfrm>
              <a:off x="1103655" y="1212812"/>
              <a:ext cx="1620932" cy="758773"/>
            </a:xfrm>
            <a:prstGeom prst="rect">
              <a:avLst/>
            </a:prstGeom>
            <a:noFill/>
            <a:ln w="6350">
              <a:noFill/>
            </a:ln>
          </p:spPr>
          <p:txBody>
            <a:bodyPr wrap="square" rtlCol="0">
              <a:spAutoFit/>
            </a:bodyPr>
            <a:lstStyle/>
            <a:p>
              <a:r>
                <a:rPr lang="lt-LT" sz="1200" b="1" dirty="0" smtClean="0"/>
                <a:t>Klaipėdos regionas</a:t>
              </a:r>
            </a:p>
          </p:txBody>
        </p:sp>
        <p:sp>
          <p:nvSpPr>
            <p:cNvPr id="73" name="TextBox 72"/>
            <p:cNvSpPr txBox="1"/>
            <p:nvPr/>
          </p:nvSpPr>
          <p:spPr>
            <a:xfrm>
              <a:off x="2094177" y="1774471"/>
              <a:ext cx="1435718" cy="856129"/>
            </a:xfrm>
            <a:prstGeom prst="rect">
              <a:avLst/>
            </a:prstGeom>
            <a:noFill/>
            <a:ln w="6350">
              <a:noFill/>
            </a:ln>
          </p:spPr>
          <p:txBody>
            <a:bodyPr wrap="square" rtlCol="0">
              <a:spAutoFit/>
            </a:bodyPr>
            <a:lstStyle/>
            <a:p>
              <a:r>
                <a:rPr lang="lt-LT" sz="1200" b="1" dirty="0" smtClean="0"/>
                <a:t>Telšių regionas</a:t>
              </a:r>
            </a:p>
          </p:txBody>
        </p:sp>
        <p:sp>
          <p:nvSpPr>
            <p:cNvPr id="74" name="TextBox 73"/>
            <p:cNvSpPr txBox="1"/>
            <p:nvPr/>
          </p:nvSpPr>
          <p:spPr>
            <a:xfrm>
              <a:off x="2313112" y="3090470"/>
              <a:ext cx="1483911" cy="277000"/>
            </a:xfrm>
            <a:prstGeom prst="rect">
              <a:avLst/>
            </a:prstGeom>
            <a:noFill/>
            <a:ln w="6350">
              <a:noFill/>
            </a:ln>
          </p:spPr>
          <p:txBody>
            <a:bodyPr wrap="square" rtlCol="0">
              <a:spAutoFit/>
            </a:bodyPr>
            <a:lstStyle/>
            <a:p>
              <a:r>
                <a:rPr lang="lt-LT" sz="1200" b="1" dirty="0" smtClean="0"/>
                <a:t>Tauragės regionas</a:t>
              </a:r>
            </a:p>
          </p:txBody>
        </p:sp>
        <p:sp>
          <p:nvSpPr>
            <p:cNvPr id="75" name="TextBox 74"/>
            <p:cNvSpPr txBox="1"/>
            <p:nvPr/>
          </p:nvSpPr>
          <p:spPr>
            <a:xfrm>
              <a:off x="5967112" y="2657375"/>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86" name="Rectangle 85"/>
          <p:cNvSpPr/>
          <p:nvPr/>
        </p:nvSpPr>
        <p:spPr>
          <a:xfrm>
            <a:off x="190500" y="1392238"/>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41424047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8466" y="368660"/>
            <a:ext cx="8229600" cy="487362"/>
          </a:xfrm>
        </p:spPr>
        <p:txBody>
          <a:bodyPr>
            <a:normAutofit fontScale="90000"/>
          </a:bodyPr>
          <a:lstStyle/>
          <a:p>
            <a:r>
              <a:rPr lang="lt-LT" sz="2200" b="1" dirty="0">
                <a:solidFill>
                  <a:schemeClr val="tx2">
                    <a:lumMod val="75000"/>
                  </a:schemeClr>
                </a:solidFill>
              </a:rPr>
              <a:t>Daugiausiai projektų, sukurtų vartotojų iš Lietuvos, buvo Kauno ir Šiaulių regionuose</a:t>
            </a:r>
            <a:endParaRPr lang="en-US" sz="2200" b="1" dirty="0">
              <a:solidFill>
                <a:schemeClr val="tx2">
                  <a:lumMod val="75000"/>
                </a:schemeClr>
              </a:solidFill>
            </a:endParaRPr>
          </a:p>
        </p:txBody>
      </p:sp>
      <p:pic>
        <p:nvPicPr>
          <p:cNvPr id="5" name="Picture 4" descr="C:\Users\Karolina\„Google“ diskas\SC_Vykdomi projektai\63SMPF_SMPF etwinning\Projekto vykdymas\01 projektu ir profiliu analize\projektu analize\slides for word\22.gif"/>
          <p:cNvPicPr/>
          <p:nvPr/>
        </p:nvPicPr>
        <p:blipFill rotWithShape="1">
          <a:blip r:embed="rId2">
            <a:extLst>
              <a:ext uri="{28A0092B-C50C-407E-A947-70E740481C1C}">
                <a14:useLocalDpi xmlns:a14="http://schemas.microsoft.com/office/drawing/2010/main" val="0"/>
              </a:ext>
            </a:extLst>
          </a:blip>
          <a:srcRect t="15668" b="11605"/>
          <a:stretch/>
        </p:blipFill>
        <p:spPr bwMode="auto">
          <a:xfrm>
            <a:off x="114457" y="1052736"/>
            <a:ext cx="9038632" cy="493254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052572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5" name="Object 344" hidden="1"/>
          <p:cNvGraphicFramePr>
            <a:graphicFrameLocks noChangeAspect="1"/>
          </p:cNvGraphicFramePr>
          <p:nvPr>
            <p:custDataLst>
              <p:tags r:id="rId2"/>
            </p:custDataLst>
            <p:extLst>
              <p:ext uri="{D42A27DB-BD31-4B8C-83A1-F6EECF244321}">
                <p14:modId xmlns:p14="http://schemas.microsoft.com/office/powerpoint/2010/main" val="212310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2" name="think-cell Slide" r:id="rId101" imgW="270" imgH="270" progId="TCLayout.ActiveDocument.1">
                  <p:embed/>
                </p:oleObj>
              </mc:Choice>
              <mc:Fallback>
                <p:oleObj name="think-cell Slide" r:id="rId101" imgW="270" imgH="270" progId="TCLayout.ActiveDocument.1">
                  <p:embed/>
                  <p:pic>
                    <p:nvPicPr>
                      <p:cNvPr id="0" name=""/>
                      <p:cNvPicPr/>
                      <p:nvPr/>
                    </p:nvPicPr>
                    <p:blipFill>
                      <a:blip r:embed="rId102"/>
                      <a:stretch>
                        <a:fillRect/>
                      </a:stretch>
                    </p:blipFill>
                    <p:spPr>
                      <a:xfrm>
                        <a:off x="1588" y="1588"/>
                        <a:ext cx="1587" cy="1587"/>
                      </a:xfrm>
                      <a:prstGeom prst="rect">
                        <a:avLst/>
                      </a:prstGeom>
                    </p:spPr>
                  </p:pic>
                </p:oleObj>
              </mc:Fallback>
            </mc:AlternateContent>
          </a:graphicData>
        </a:graphic>
      </p:graphicFrame>
      <p:sp>
        <p:nvSpPr>
          <p:cNvPr id="344" name="Rectangle 34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23528" y="260648"/>
            <a:ext cx="8229600" cy="487362"/>
          </a:xfrm>
        </p:spPr>
        <p:txBody>
          <a:bodyPr>
            <a:noAutofit/>
          </a:bodyPr>
          <a:lstStyle/>
          <a:p>
            <a:r>
              <a:rPr lang="lt-LT" sz="2000" b="1" dirty="0">
                <a:solidFill>
                  <a:schemeClr val="tx2">
                    <a:lumMod val="75000"/>
                  </a:schemeClr>
                </a:solidFill>
              </a:rPr>
              <a:t>Didžiojoje dalyje projektų, kuriuose dalyvavo vartotojai iš Lietuvos, tarp partnerių buvo Lenkija</a:t>
            </a:r>
            <a:endParaRPr lang="en-US" sz="2000" b="1" dirty="0">
              <a:solidFill>
                <a:schemeClr val="tx2">
                  <a:lumMod val="75000"/>
                </a:schemeClr>
              </a:solidFill>
            </a:endParaRPr>
          </a:p>
        </p:txBody>
      </p:sp>
      <p:sp>
        <p:nvSpPr>
          <p:cNvPr id="5" name="Rectangle 4"/>
          <p:cNvSpPr/>
          <p:nvPr/>
        </p:nvSpPr>
        <p:spPr>
          <a:xfrm>
            <a:off x="107950" y="1238250"/>
            <a:ext cx="8900526" cy="608012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107950" y="944563"/>
            <a:ext cx="8909415" cy="32580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pasiskirstymas pagal šalis, su kuriomis projektai buvo vykdomi, vnt.</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3190555345"/>
              </p:ext>
            </p:extLst>
          </p:nvPr>
        </p:nvGraphicFramePr>
        <p:xfrm>
          <a:off x="1143000" y="1181100"/>
          <a:ext cx="2324224" cy="5152950"/>
        </p:xfrm>
        <a:graphic>
          <a:graphicData uri="http://schemas.openxmlformats.org/presentationml/2006/ole">
            <mc:AlternateContent xmlns:mc="http://schemas.openxmlformats.org/markup-compatibility/2006">
              <mc:Choice xmlns:v="urn:schemas-microsoft-com:vml" Requires="v">
                <p:oleObj spid="_x0000_s27673" name="Chart" r:id="rId103" imgW="2324085" imgH="5152979" progId="MSGraph.Chart.8">
                  <p:embed followColorScheme="full"/>
                </p:oleObj>
              </mc:Choice>
              <mc:Fallback>
                <p:oleObj name="Chart" r:id="rId103" imgW="2324085" imgH="5152979" progId="MSGraph.Chart.8">
                  <p:embed followColorScheme="full"/>
                  <p:pic>
                    <p:nvPicPr>
                      <p:cNvPr id="0" name=""/>
                      <p:cNvPicPr/>
                      <p:nvPr/>
                    </p:nvPicPr>
                    <p:blipFill>
                      <a:blip r:embed="rId104"/>
                      <a:stretch>
                        <a:fillRect/>
                      </a:stretch>
                    </p:blipFill>
                    <p:spPr>
                      <a:xfrm>
                        <a:off x="1143000" y="1181100"/>
                        <a:ext cx="2324224" cy="5152950"/>
                      </a:xfrm>
                      <a:prstGeom prst="rect">
                        <a:avLst/>
                      </a:prstGeom>
                    </p:spPr>
                  </p:pic>
                </p:oleObj>
              </mc:Fallback>
            </mc:AlternateContent>
          </a:graphicData>
        </a:graphic>
      </p:graphicFrame>
      <p:sp>
        <p:nvSpPr>
          <p:cNvPr id="13" name="Rectangle 12"/>
          <p:cNvSpPr/>
          <p:nvPr>
            <p:custDataLst>
              <p:tags r:id="rId5"/>
            </p:custDataLst>
          </p:nvPr>
        </p:nvSpPr>
        <p:spPr bwMode="auto">
          <a:xfrm>
            <a:off x="720725" y="6086475"/>
            <a:ext cx="454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C9ED855-5346-4045-933B-0840B78589CF}" type="datetime'''''M''''''o''ld''''''''''''''''''''''''''''''''ov''a'''">
              <a:rPr lang="en-US" sz="1000">
                <a:solidFill>
                  <a:schemeClr val="tx1"/>
                </a:solidFill>
              </a:rPr>
              <a:pPr algn="r">
                <a:spcBef>
                  <a:spcPct val="0"/>
                </a:spcBef>
                <a:spcAft>
                  <a:spcPct val="0"/>
                </a:spcAft>
              </a:pPr>
              <a:t>Moldova</a:t>
            </a:fld>
            <a:endParaRPr lang="en-US" sz="1000" dirty="0">
              <a:solidFill>
                <a:schemeClr val="tx1"/>
              </a:solidFill>
              <a:latin typeface="Calibri"/>
              <a:sym typeface="Calibri"/>
            </a:endParaRPr>
          </a:p>
        </p:txBody>
      </p:sp>
      <p:sp>
        <p:nvSpPr>
          <p:cNvPr id="14" name="Rectangle 13"/>
          <p:cNvSpPr/>
          <p:nvPr>
            <p:custDataLst>
              <p:tags r:id="rId6"/>
            </p:custDataLst>
          </p:nvPr>
        </p:nvSpPr>
        <p:spPr bwMode="gray">
          <a:xfrm>
            <a:off x="1320800" y="6086475"/>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8EEDAB2-3FA1-435E-8874-F1162E9D2D0E}"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00D2FFF8-FF26-4BD1-9FE9-2F7CA7272731}" type="datetime'''''''''''''7'''''''''''''''">
              <a:rPr lang="en-US" sz="1000">
                <a:solidFill>
                  <a:schemeClr val="tx1"/>
                </a:solidFill>
              </a:rPr>
              <a:pPr>
                <a:spcBef>
                  <a:spcPct val="0"/>
                </a:spcBef>
                <a:spcAft>
                  <a:spcPct val="0"/>
                </a:spcAft>
              </a:pPr>
              <a:t>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1" name="Rectangle 10"/>
          <p:cNvSpPr/>
          <p:nvPr>
            <p:custDataLst>
              <p:tags r:id="rId7"/>
            </p:custDataLst>
          </p:nvPr>
        </p:nvSpPr>
        <p:spPr bwMode="auto">
          <a:xfrm>
            <a:off x="406400" y="5957888"/>
            <a:ext cx="768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824B02A-31F5-4258-BD5C-AED6E82073E3}" type="datetime'''Li''uk''''''''se''''m''''''b''u''''''rg''as'''''''">
              <a:rPr lang="en-US" sz="1000">
                <a:solidFill>
                  <a:schemeClr val="tx1"/>
                </a:solidFill>
              </a:rPr>
              <a:pPr algn="r">
                <a:spcBef>
                  <a:spcPct val="0"/>
                </a:spcBef>
                <a:spcAft>
                  <a:spcPct val="0"/>
                </a:spcAft>
              </a:pPr>
              <a:t>Liuksemburgas</a:t>
            </a:fld>
            <a:endParaRPr lang="en-US" sz="1000" dirty="0">
              <a:solidFill>
                <a:schemeClr val="tx1"/>
              </a:solidFill>
              <a:latin typeface="Calibri"/>
              <a:sym typeface="Calibri"/>
            </a:endParaRPr>
          </a:p>
        </p:txBody>
      </p:sp>
      <p:sp>
        <p:nvSpPr>
          <p:cNvPr id="15" name="Rectangle 14"/>
          <p:cNvSpPr/>
          <p:nvPr>
            <p:custDataLst>
              <p:tags r:id="rId8"/>
            </p:custDataLst>
          </p:nvPr>
        </p:nvSpPr>
        <p:spPr bwMode="gray">
          <a:xfrm>
            <a:off x="1320800" y="595788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C6685D8-C129-4BBD-B801-F64B1E7FBB87}"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C17D54A6-CFAF-4771-A089-BED0131897ED}"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2" name="Rectangle 11"/>
          <p:cNvSpPr/>
          <p:nvPr>
            <p:custDataLst>
              <p:tags r:id="rId9"/>
            </p:custDataLst>
          </p:nvPr>
        </p:nvSpPr>
        <p:spPr bwMode="auto">
          <a:xfrm>
            <a:off x="433388" y="5829300"/>
            <a:ext cx="741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88673A-6ADB-46DD-A29C-09C398734875}" type="datetime'''''A''''''''z''''e''rb''a''i''''''''''''''d''ža''n''''as'''''">
              <a:rPr lang="en-US" sz="1000">
                <a:solidFill>
                  <a:schemeClr val="tx1"/>
                </a:solidFill>
              </a:rPr>
              <a:pPr algn="r">
                <a:spcBef>
                  <a:spcPct val="0"/>
                </a:spcBef>
                <a:spcAft>
                  <a:spcPct val="0"/>
                </a:spcAft>
              </a:pPr>
              <a:t>Azerbaidžanas</a:t>
            </a:fld>
            <a:endParaRPr lang="en-US" sz="1000" dirty="0">
              <a:solidFill>
                <a:schemeClr val="tx1"/>
              </a:solidFill>
              <a:latin typeface="Calibri"/>
              <a:sym typeface="Calibri"/>
            </a:endParaRPr>
          </a:p>
        </p:txBody>
      </p:sp>
      <p:sp>
        <p:nvSpPr>
          <p:cNvPr id="8" name="Rectangle 7"/>
          <p:cNvSpPr/>
          <p:nvPr>
            <p:custDataLst>
              <p:tags r:id="rId10"/>
            </p:custDataLst>
          </p:nvPr>
        </p:nvSpPr>
        <p:spPr bwMode="gray">
          <a:xfrm>
            <a:off x="1320800" y="5829300"/>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367467-591F-4851-9E2C-FB3E9874BDD6}"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74A901AC-B2BC-48B9-81A3-C43D3357D451}" type="datetime'''''''''''''''''''9'''''">
              <a:rPr lang="en-US" sz="1000">
                <a:solidFill>
                  <a:schemeClr val="tx1"/>
                </a:solidFill>
              </a:rPr>
              <a:pPr>
                <a:spcBef>
                  <a:spcPct val="0"/>
                </a:spcBef>
                <a:spcAft>
                  <a:spcPct val="0"/>
                </a:spcAft>
              </a:pPr>
              <a:t>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9" name="Rectangle 8"/>
          <p:cNvSpPr/>
          <p:nvPr>
            <p:custDataLst>
              <p:tags r:id="rId11"/>
            </p:custDataLst>
          </p:nvPr>
        </p:nvSpPr>
        <p:spPr bwMode="auto">
          <a:xfrm>
            <a:off x="688975" y="5700713"/>
            <a:ext cx="485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25DCF7-EA76-4584-9CAE-0125FC4F453B}" type="datetime'''''''''Š''''''''''''''''''''v''''e''''i''c''''ar''ija'''''">
              <a:rPr lang="en-US" sz="1000">
                <a:solidFill>
                  <a:schemeClr val="tx1"/>
                </a:solidFill>
              </a:rPr>
              <a:pPr algn="r">
                <a:spcBef>
                  <a:spcPct val="0"/>
                </a:spcBef>
                <a:spcAft>
                  <a:spcPct val="0"/>
                </a:spcAft>
              </a:pPr>
              <a:t>Šveicarija</a:t>
            </a:fld>
            <a:endParaRPr lang="en-US" sz="1000" dirty="0">
              <a:solidFill>
                <a:schemeClr val="tx1"/>
              </a:solidFill>
              <a:latin typeface="Calibri"/>
              <a:sym typeface="Calibri"/>
            </a:endParaRPr>
          </a:p>
        </p:txBody>
      </p:sp>
      <p:sp>
        <p:nvSpPr>
          <p:cNvPr id="10" name="Rectangle 9"/>
          <p:cNvSpPr/>
          <p:nvPr>
            <p:custDataLst>
              <p:tags r:id="rId12"/>
            </p:custDataLst>
          </p:nvPr>
        </p:nvSpPr>
        <p:spPr bwMode="gray">
          <a:xfrm>
            <a:off x="1330325" y="57007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1778AE3-06A4-488E-90A2-397CD5FCA5CD}"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 (</a:t>
            </a:r>
            <a:fld id="{793F9BCA-184F-41D5-A4A1-90AD5B258D7A}" type="datetime'''''''''''''''''''''''1''''''''''''''0'''''''''''''''''''''">
              <a:rPr lang="en-US" sz="1000">
                <a:solidFill>
                  <a:schemeClr val="tx1"/>
                </a:solidFill>
              </a:rPr>
              <a:pPr>
                <a:spcBef>
                  <a:spcPct val="0"/>
                </a:spcBef>
                <a:spcAft>
                  <a:spcPct val="0"/>
                </a:spcAft>
              </a:pPr>
              <a:t>1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8" name="Rectangle 57"/>
          <p:cNvSpPr/>
          <p:nvPr>
            <p:custDataLst>
              <p:tags r:id="rId13"/>
            </p:custDataLst>
          </p:nvPr>
        </p:nvSpPr>
        <p:spPr bwMode="auto">
          <a:xfrm>
            <a:off x="814388" y="5572125"/>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5944288-9AEC-4F37-A8E2-3DB530714132}" type="datetime'''''''''G''r''''''''''''''''u''zi''''''''''j''''a'''''">
              <a:rPr lang="en-US" sz="1000">
                <a:solidFill>
                  <a:schemeClr val="tx1"/>
                </a:solidFill>
              </a:rPr>
              <a:pPr algn="r">
                <a:spcBef>
                  <a:spcPct val="0"/>
                </a:spcBef>
                <a:spcAft>
                  <a:spcPct val="0"/>
                </a:spcAft>
              </a:pPr>
              <a:t>Gruzija</a:t>
            </a:fld>
            <a:endParaRPr lang="en-US" sz="1000" dirty="0">
              <a:solidFill>
                <a:schemeClr val="tx1"/>
              </a:solidFill>
              <a:latin typeface="Calibri"/>
              <a:sym typeface="Calibri"/>
            </a:endParaRPr>
          </a:p>
        </p:txBody>
      </p:sp>
      <p:sp>
        <p:nvSpPr>
          <p:cNvPr id="59" name="Rectangle 58"/>
          <p:cNvSpPr/>
          <p:nvPr>
            <p:custDataLst>
              <p:tags r:id="rId14"/>
            </p:custDataLst>
          </p:nvPr>
        </p:nvSpPr>
        <p:spPr bwMode="gray">
          <a:xfrm>
            <a:off x="1358900" y="55721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50B4E15-FC72-4371-806F-01912B50DFEF}"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 (</a:t>
            </a:r>
            <a:fld id="{01C3043F-C930-4AAB-8F9A-ABDB87F3FA46}" type="datetime'''''''''''''''''2''''''''''''''''''''5'''''">
              <a:rPr lang="en-US" sz="1000">
                <a:solidFill>
                  <a:schemeClr val="tx1"/>
                </a:solidFill>
              </a:rPr>
              <a:pPr>
                <a:spcBef>
                  <a:spcPct val="0"/>
                </a:spcBef>
                <a:spcAft>
                  <a:spcPct val="0"/>
                </a:spcAft>
              </a:pPr>
              <a:t>2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3" name="Rectangle 32"/>
          <p:cNvSpPr/>
          <p:nvPr>
            <p:custDataLst>
              <p:tags r:id="rId15"/>
            </p:custDataLst>
          </p:nvPr>
        </p:nvSpPr>
        <p:spPr bwMode="auto">
          <a:xfrm>
            <a:off x="776288" y="5438775"/>
            <a:ext cx="398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B8C03E3-4CFD-4114-818E-B01AE7134003}" type="datetime'''''Uk''''''''''''''''''''''r''''ai''n''''''''''''a'''''''''">
              <a:rPr lang="en-US" sz="1000">
                <a:solidFill>
                  <a:schemeClr val="tx1"/>
                </a:solidFill>
              </a:rPr>
              <a:pPr algn="r">
                <a:spcBef>
                  <a:spcPct val="0"/>
                </a:spcBef>
                <a:spcAft>
                  <a:spcPct val="0"/>
                </a:spcAft>
              </a:pPr>
              <a:t>Ukraina</a:t>
            </a:fld>
            <a:endParaRPr lang="en-US" sz="1000" dirty="0">
              <a:solidFill>
                <a:schemeClr val="tx1"/>
              </a:solidFill>
              <a:latin typeface="Calibri"/>
              <a:sym typeface="Calibri"/>
            </a:endParaRPr>
          </a:p>
        </p:txBody>
      </p:sp>
      <p:sp>
        <p:nvSpPr>
          <p:cNvPr id="32" name="Rectangle 31"/>
          <p:cNvSpPr/>
          <p:nvPr>
            <p:custDataLst>
              <p:tags r:id="rId16"/>
            </p:custDataLst>
          </p:nvPr>
        </p:nvSpPr>
        <p:spPr bwMode="gray">
          <a:xfrm>
            <a:off x="1377950" y="54387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F869030-5B0C-43A5-A019-B6AD4B8F6A83}" type="datetime'''''''''''''''''''''''''2''%'''''''''''''''">
              <a:rPr lang="en-US" sz="1000">
                <a:solidFill>
                  <a:schemeClr val="tx1"/>
                </a:solidFill>
              </a:rPr>
              <a:pPr>
                <a:spcBef>
                  <a:spcPct val="0"/>
                </a:spcBef>
                <a:spcAft>
                  <a:spcPct val="0"/>
                </a:spcAft>
              </a:pPr>
              <a:t>2%</a:t>
            </a:fld>
            <a:r>
              <a:rPr lang="en-US" sz="1000" smtClean="0">
                <a:solidFill>
                  <a:schemeClr val="tx1"/>
                </a:solidFill>
                <a:latin typeface="Calibri"/>
                <a:sym typeface="Calibri"/>
              </a:rPr>
              <a:t> (</a:t>
            </a:r>
            <a:fld id="{D07FC7C8-07DB-4B5D-98F0-C9E747BF5F30}" type="datetime'''''''''''''''''3''''''''''''''''''''''''''0'''''''''''''''">
              <a:rPr lang="en-US" sz="1000">
                <a:solidFill>
                  <a:schemeClr val="tx1"/>
                </a:solidFill>
              </a:rPr>
              <a:pPr>
                <a:spcBef>
                  <a:spcPct val="0"/>
                </a:spcBef>
                <a:spcAft>
                  <a:spcPct val="0"/>
                </a:spcAft>
              </a:pPr>
              <a:t>3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0" name="Rectangle 59"/>
          <p:cNvSpPr/>
          <p:nvPr>
            <p:custDataLst>
              <p:tags r:id="rId17"/>
            </p:custDataLst>
          </p:nvPr>
        </p:nvSpPr>
        <p:spPr bwMode="auto">
          <a:xfrm>
            <a:off x="706438" y="5310188"/>
            <a:ext cx="468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DAF2FC2-B16F-4ACD-839A-EC08D9AD9AAB}" type="datetime'A''''''r''''''''''mė''n''''''''i''''''ja'''''''''''''''''''">
              <a:rPr lang="en-US" sz="1000">
                <a:solidFill>
                  <a:schemeClr val="tx1"/>
                </a:solidFill>
              </a:rPr>
              <a:pPr algn="r">
                <a:spcBef>
                  <a:spcPct val="0"/>
                </a:spcBef>
                <a:spcAft>
                  <a:spcPct val="0"/>
                </a:spcAft>
              </a:pPr>
              <a:t>Armėnija</a:t>
            </a:fld>
            <a:endParaRPr lang="en-US" sz="1000" dirty="0">
              <a:solidFill>
                <a:schemeClr val="tx1"/>
              </a:solidFill>
              <a:latin typeface="Calibri"/>
              <a:sym typeface="Calibri"/>
            </a:endParaRPr>
          </a:p>
        </p:txBody>
      </p:sp>
      <p:sp>
        <p:nvSpPr>
          <p:cNvPr id="61" name="Rectangle 60"/>
          <p:cNvSpPr/>
          <p:nvPr>
            <p:custDataLst>
              <p:tags r:id="rId18"/>
            </p:custDataLst>
          </p:nvPr>
        </p:nvSpPr>
        <p:spPr bwMode="gray">
          <a:xfrm>
            <a:off x="1377950" y="53101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FE119DA-4804-4204-9F01-EDDCCFD7BBE2}" type="datetime'''2''''''''''%'''''''''''''''''">
              <a:rPr lang="en-US" sz="1000">
                <a:solidFill>
                  <a:schemeClr val="tx1"/>
                </a:solidFill>
              </a:rPr>
              <a:pPr>
                <a:spcBef>
                  <a:spcPct val="0"/>
                </a:spcBef>
                <a:spcAft>
                  <a:spcPct val="0"/>
                </a:spcAft>
              </a:pPr>
              <a:t>2%</a:t>
            </a:fld>
            <a:r>
              <a:rPr lang="en-US" sz="1000" smtClean="0">
                <a:solidFill>
                  <a:schemeClr val="tx1"/>
                </a:solidFill>
                <a:latin typeface="Calibri"/>
                <a:sym typeface="Calibri"/>
              </a:rPr>
              <a:t> (</a:t>
            </a:r>
            <a:fld id="{C2905180-DC99-49C5-939A-ABD9FB277E71}" type="datetime'''''''''''3''''''''''''''''''''''''''''''''''''''1'''''">
              <a:rPr lang="en-US" sz="1000">
                <a:solidFill>
                  <a:schemeClr val="tx1"/>
                </a:solidFill>
              </a:rPr>
              <a:pPr>
                <a:spcBef>
                  <a:spcPct val="0"/>
                </a:spcBef>
                <a:spcAft>
                  <a:spcPct val="0"/>
                </a:spcAft>
              </a:pPr>
              <a:t>3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2" name="Rectangle 61"/>
          <p:cNvSpPr/>
          <p:nvPr>
            <p:custDataLst>
              <p:tags r:id="rId19"/>
            </p:custDataLst>
          </p:nvPr>
        </p:nvSpPr>
        <p:spPr bwMode="auto">
          <a:xfrm>
            <a:off x="566738" y="5181600"/>
            <a:ext cx="608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48C294B-1BE4-4CEB-9EB6-FF9D98E4E45B}" type="datetime'M''''''''a''k''edo''''n''''i''''''''''''''j''''''''''a'''">
              <a:rPr lang="en-US" sz="1000">
                <a:solidFill>
                  <a:schemeClr val="tx1"/>
                </a:solidFill>
              </a:rPr>
              <a:pPr algn="r">
                <a:spcBef>
                  <a:spcPct val="0"/>
                </a:spcBef>
                <a:spcAft>
                  <a:spcPct val="0"/>
                </a:spcAft>
              </a:pPr>
              <a:t>Makedonija</a:t>
            </a:fld>
            <a:endParaRPr lang="en-US" sz="1000" dirty="0">
              <a:solidFill>
                <a:schemeClr val="tx1"/>
              </a:solidFill>
              <a:latin typeface="Calibri"/>
              <a:sym typeface="Calibri"/>
            </a:endParaRPr>
          </a:p>
        </p:txBody>
      </p:sp>
      <p:sp>
        <p:nvSpPr>
          <p:cNvPr id="63" name="Rectangle 62"/>
          <p:cNvSpPr/>
          <p:nvPr>
            <p:custDataLst>
              <p:tags r:id="rId20"/>
            </p:custDataLst>
          </p:nvPr>
        </p:nvSpPr>
        <p:spPr bwMode="gray">
          <a:xfrm>
            <a:off x="1444625" y="51816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3B2266E-801E-44C5-99F3-E4BAE9C7ED2C}" type="datetime'''''''''''''''''3''''''''''''''''''''''''''''%'''''''''">
              <a:rPr lang="en-US" sz="1000">
                <a:solidFill>
                  <a:schemeClr val="tx1"/>
                </a:solidFill>
              </a:rPr>
              <a:pPr>
                <a:spcBef>
                  <a:spcPct val="0"/>
                </a:spcBef>
                <a:spcAft>
                  <a:spcPct val="0"/>
                </a:spcAft>
              </a:pPr>
              <a:t>3%</a:t>
            </a:fld>
            <a:r>
              <a:rPr lang="en-US" sz="1000" smtClean="0">
                <a:solidFill>
                  <a:schemeClr val="tx1"/>
                </a:solidFill>
                <a:latin typeface="Calibri"/>
                <a:sym typeface="Calibri"/>
              </a:rPr>
              <a:t> (</a:t>
            </a:r>
            <a:fld id="{F9B79367-CB18-4B40-8650-EEBBCF986B72}" type="datetime'''''''''''''''''''''''''''''''''''''59'''''''''''''''''''''''">
              <a:rPr lang="en-US" sz="1000">
                <a:solidFill>
                  <a:schemeClr val="tx1"/>
                </a:solidFill>
              </a:rPr>
              <a:pPr>
                <a:spcBef>
                  <a:spcPct val="0"/>
                </a:spcBef>
                <a:spcAft>
                  <a:spcPct val="0"/>
                </a:spcAft>
              </a:pPr>
              <a:t>5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4" name="Rectangle 63"/>
          <p:cNvSpPr/>
          <p:nvPr>
            <p:custDataLst>
              <p:tags r:id="rId21"/>
            </p:custDataLst>
          </p:nvPr>
        </p:nvSpPr>
        <p:spPr bwMode="auto">
          <a:xfrm>
            <a:off x="909638" y="5053013"/>
            <a:ext cx="2651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824E068-B37D-4D46-892D-442455A79B0A}" type="datetime'''''''''''''''''''''''''''''''''''A''''''''''''''iri''ja'">
              <a:rPr lang="en-US" sz="1000">
                <a:solidFill>
                  <a:schemeClr val="tx1"/>
                </a:solidFill>
              </a:rPr>
              <a:pPr algn="r">
                <a:spcBef>
                  <a:spcPct val="0"/>
                </a:spcBef>
                <a:spcAft>
                  <a:spcPct val="0"/>
                </a:spcAft>
              </a:pPr>
              <a:t>Airija</a:t>
            </a:fld>
            <a:endParaRPr lang="en-US" sz="1000" dirty="0">
              <a:solidFill>
                <a:schemeClr val="tx1"/>
              </a:solidFill>
              <a:latin typeface="Calibri"/>
              <a:sym typeface="Calibri"/>
            </a:endParaRPr>
          </a:p>
        </p:txBody>
      </p:sp>
      <p:sp>
        <p:nvSpPr>
          <p:cNvPr id="65" name="Rectangle 64"/>
          <p:cNvSpPr/>
          <p:nvPr>
            <p:custDataLst>
              <p:tags r:id="rId22"/>
            </p:custDataLst>
          </p:nvPr>
        </p:nvSpPr>
        <p:spPr bwMode="gray">
          <a:xfrm>
            <a:off x="1463675" y="50530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F0DAA6E-9201-4A19-9C0A-01B17F6E4DC3}"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FA36C7B6-B531-46BE-B326-15F41E0A6436}" type="datetime'''''''''''''6''''''5'''''''''''''">
              <a:rPr lang="en-US" sz="1000">
                <a:solidFill>
                  <a:schemeClr val="tx1"/>
                </a:solidFill>
              </a:rPr>
              <a:pPr>
                <a:spcBef>
                  <a:spcPct val="0"/>
                </a:spcBef>
                <a:spcAft>
                  <a:spcPct val="0"/>
                </a:spcAft>
              </a:pPr>
              <a:t>6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6" name="Rectangle 65"/>
          <p:cNvSpPr/>
          <p:nvPr>
            <p:custDataLst>
              <p:tags r:id="rId23"/>
            </p:custDataLst>
          </p:nvPr>
        </p:nvSpPr>
        <p:spPr bwMode="auto">
          <a:xfrm>
            <a:off x="752475" y="4924425"/>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CE87C1F-A883-4158-AF4A-40807E9B7805}" type="datetime'''I''s''''''l''an''''''''d''''''i''ja'''''''''''''''">
              <a:rPr lang="en-US" sz="1000">
                <a:solidFill>
                  <a:schemeClr val="tx1"/>
                </a:solidFill>
              </a:rPr>
              <a:pPr algn="r">
                <a:spcBef>
                  <a:spcPct val="0"/>
                </a:spcBef>
                <a:spcAft>
                  <a:spcPct val="0"/>
                </a:spcAft>
              </a:pPr>
              <a:t>Islandija</a:t>
            </a:fld>
            <a:endParaRPr lang="en-US" sz="1000" dirty="0">
              <a:solidFill>
                <a:schemeClr val="tx1"/>
              </a:solidFill>
              <a:latin typeface="Calibri"/>
              <a:sym typeface="Calibri"/>
            </a:endParaRPr>
          </a:p>
        </p:txBody>
      </p:sp>
      <p:sp>
        <p:nvSpPr>
          <p:cNvPr id="67" name="Rectangle 66"/>
          <p:cNvSpPr/>
          <p:nvPr>
            <p:custDataLst>
              <p:tags r:id="rId24"/>
            </p:custDataLst>
          </p:nvPr>
        </p:nvSpPr>
        <p:spPr bwMode="gray">
          <a:xfrm>
            <a:off x="1463675" y="49244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DC41BEA-18F2-4C4A-AA42-78243877DBD0}"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A9EC927D-D9E3-467D-A0D7-BADDD18051B6}" type="datetime'''''''6''8'''''''''''''''''''''''''''''''''''''''''">
              <a:rPr lang="en-US" sz="1000">
                <a:solidFill>
                  <a:schemeClr val="tx1"/>
                </a:solidFill>
              </a:rPr>
              <a:pPr>
                <a:spcBef>
                  <a:spcPct val="0"/>
                </a:spcBef>
                <a:spcAft>
                  <a:spcPct val="0"/>
                </a:spcAft>
              </a:pPr>
              <a:t>6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8" name="Rectangle 67"/>
          <p:cNvSpPr/>
          <p:nvPr>
            <p:custDataLst>
              <p:tags r:id="rId25"/>
            </p:custDataLst>
          </p:nvPr>
        </p:nvSpPr>
        <p:spPr bwMode="auto">
          <a:xfrm>
            <a:off x="850900" y="4791075"/>
            <a:ext cx="323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E9A2E6A-A981-47C7-B1F4-299BBF0FB42A}" type="datetime'D''''''ani''''ja'''">
              <a:rPr lang="en-US" sz="1000">
                <a:solidFill>
                  <a:schemeClr val="tx1"/>
                </a:solidFill>
              </a:rPr>
              <a:pPr algn="r">
                <a:spcBef>
                  <a:spcPct val="0"/>
                </a:spcBef>
                <a:spcAft>
                  <a:spcPct val="0"/>
                </a:spcAft>
              </a:pPr>
              <a:t>Danija</a:t>
            </a:fld>
            <a:endParaRPr lang="en-US" sz="1000" dirty="0">
              <a:solidFill>
                <a:schemeClr val="tx1"/>
              </a:solidFill>
              <a:latin typeface="Calibri"/>
              <a:sym typeface="Calibri"/>
            </a:endParaRPr>
          </a:p>
        </p:txBody>
      </p:sp>
      <p:sp>
        <p:nvSpPr>
          <p:cNvPr id="69" name="Rectangle 68"/>
          <p:cNvSpPr/>
          <p:nvPr>
            <p:custDataLst>
              <p:tags r:id="rId26"/>
            </p:custDataLst>
          </p:nvPr>
        </p:nvSpPr>
        <p:spPr bwMode="gray">
          <a:xfrm>
            <a:off x="1473200" y="47910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64F4E0C-9D32-4E24-A65E-2322017174A4}"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B6331B1B-0652-4763-BCFB-45C24CFF5361}" type="datetime'''''''6''''''''''''''''''''''''9'''''''''''">
              <a:rPr lang="en-US" sz="1000">
                <a:solidFill>
                  <a:schemeClr val="tx1"/>
                </a:solidFill>
              </a:rPr>
              <a:pPr>
                <a:spcBef>
                  <a:spcPct val="0"/>
                </a:spcBef>
                <a:spcAft>
                  <a:spcPct val="0"/>
                </a:spcAft>
              </a:pPr>
              <a:t>6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0" name="Rectangle 69"/>
          <p:cNvSpPr/>
          <p:nvPr>
            <p:custDataLst>
              <p:tags r:id="rId27"/>
            </p:custDataLst>
          </p:nvPr>
        </p:nvSpPr>
        <p:spPr bwMode="auto">
          <a:xfrm>
            <a:off x="779463" y="4662488"/>
            <a:ext cx="395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CF39A86-33E3-4B72-959C-EF533EB0C7C2}" type="datetime'''''''Au''''''s''''''''t''''''''''''''''''''r''ij''''''''a'''">
              <a:rPr lang="en-US" sz="1000">
                <a:solidFill>
                  <a:schemeClr val="tx1"/>
                </a:solidFill>
              </a:rPr>
              <a:pPr algn="r">
                <a:spcBef>
                  <a:spcPct val="0"/>
                </a:spcBef>
                <a:spcAft>
                  <a:spcPct val="0"/>
                </a:spcAft>
              </a:pPr>
              <a:t>Austrija</a:t>
            </a:fld>
            <a:endParaRPr lang="en-US" sz="1000" dirty="0">
              <a:solidFill>
                <a:schemeClr val="tx1"/>
              </a:solidFill>
              <a:latin typeface="Calibri"/>
              <a:sym typeface="Calibri"/>
            </a:endParaRPr>
          </a:p>
        </p:txBody>
      </p:sp>
      <p:sp>
        <p:nvSpPr>
          <p:cNvPr id="71" name="Rectangle 70"/>
          <p:cNvSpPr/>
          <p:nvPr>
            <p:custDataLst>
              <p:tags r:id="rId28"/>
            </p:custDataLst>
          </p:nvPr>
        </p:nvSpPr>
        <p:spPr bwMode="gray">
          <a:xfrm>
            <a:off x="1473200" y="46624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528FB9D-9CD6-486B-A62C-15EE35821F7C}"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7634348D-0E5D-4CA9-8025-EB146B964661}" type="datetime'''''''7''''''''''''''''1'''''''''''''''''''''''">
              <a:rPr lang="en-US" sz="1000">
                <a:solidFill>
                  <a:schemeClr val="tx1"/>
                </a:solidFill>
              </a:rPr>
              <a:pPr>
                <a:spcBef>
                  <a:spcPct val="0"/>
                </a:spcBef>
                <a:spcAft>
                  <a:spcPct val="0"/>
                </a:spcAft>
              </a:pPr>
              <a:t>7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2" name="Rectangle 71"/>
          <p:cNvSpPr/>
          <p:nvPr>
            <p:custDataLst>
              <p:tags r:id="rId29"/>
            </p:custDataLst>
          </p:nvPr>
        </p:nvSpPr>
        <p:spPr bwMode="auto">
          <a:xfrm>
            <a:off x="874713" y="4533900"/>
            <a:ext cx="300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ED87CE2-5875-4FE9-821D-00850F650859}" type="datetime'''''''''''''''''''''M''''''''''al''''''''''''''''t''''''a'">
              <a:rPr lang="en-US" sz="1000">
                <a:solidFill>
                  <a:schemeClr val="tx1"/>
                </a:solidFill>
              </a:rPr>
              <a:pPr algn="r">
                <a:spcBef>
                  <a:spcPct val="0"/>
                </a:spcBef>
                <a:spcAft>
                  <a:spcPct val="0"/>
                </a:spcAft>
              </a:pPr>
              <a:t>Malta</a:t>
            </a:fld>
            <a:endParaRPr lang="en-US" sz="1000" dirty="0">
              <a:solidFill>
                <a:schemeClr val="tx1"/>
              </a:solidFill>
              <a:latin typeface="Calibri"/>
              <a:sym typeface="Calibri"/>
            </a:endParaRPr>
          </a:p>
        </p:txBody>
      </p:sp>
      <p:sp>
        <p:nvSpPr>
          <p:cNvPr id="73" name="Rectangle 72"/>
          <p:cNvSpPr/>
          <p:nvPr>
            <p:custDataLst>
              <p:tags r:id="rId30"/>
            </p:custDataLst>
          </p:nvPr>
        </p:nvSpPr>
        <p:spPr bwMode="gray">
          <a:xfrm>
            <a:off x="1501775" y="45339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C1B5C89-E9A8-47E0-B61F-074C807507A2}"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10EDB2B7-E79C-4855-9BF5-DA4D6CF80B36}" type="datetime'''''''''''8''''''''''''''''''0'''''''''''''''''''''''">
              <a:rPr lang="en-US" sz="1000">
                <a:solidFill>
                  <a:schemeClr val="tx1"/>
                </a:solidFill>
              </a:rPr>
              <a:pPr>
                <a:spcBef>
                  <a:spcPct val="0"/>
                </a:spcBef>
                <a:spcAft>
                  <a:spcPct val="0"/>
                </a:spcAft>
              </a:pPr>
              <a:t>8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4" name="Rectangle 73"/>
          <p:cNvSpPr/>
          <p:nvPr>
            <p:custDataLst>
              <p:tags r:id="rId31"/>
            </p:custDataLst>
          </p:nvPr>
        </p:nvSpPr>
        <p:spPr bwMode="auto">
          <a:xfrm>
            <a:off x="681038" y="4405313"/>
            <a:ext cx="493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FE3F7A-E0CF-4753-8098-FFCCEAFA66E0}" type="datetime'''''No''r''''''v''e''''''''''''''gi''j''''a'''''''''">
              <a:rPr lang="en-US" sz="1000">
                <a:solidFill>
                  <a:schemeClr val="tx1"/>
                </a:solidFill>
              </a:rPr>
              <a:pPr algn="r">
                <a:spcBef>
                  <a:spcPct val="0"/>
                </a:spcBef>
                <a:spcAft>
                  <a:spcPct val="0"/>
                </a:spcAft>
              </a:pPr>
              <a:t>Norvegija</a:t>
            </a:fld>
            <a:endParaRPr lang="en-US" sz="1000" dirty="0">
              <a:solidFill>
                <a:schemeClr val="tx1"/>
              </a:solidFill>
              <a:latin typeface="Calibri"/>
              <a:sym typeface="Calibri"/>
            </a:endParaRPr>
          </a:p>
        </p:txBody>
      </p:sp>
      <p:sp>
        <p:nvSpPr>
          <p:cNvPr id="75" name="Rectangle 74"/>
          <p:cNvSpPr/>
          <p:nvPr>
            <p:custDataLst>
              <p:tags r:id="rId32"/>
            </p:custDataLst>
          </p:nvPr>
        </p:nvSpPr>
        <p:spPr bwMode="gray">
          <a:xfrm>
            <a:off x="1501775" y="44053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B2EEC18-3257-4096-BC88-7AEB94F9F368}"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D859C33C-1354-477B-88E5-F591C2E776EC}" type="datetime'''''''''''8''''''''''''''''''''''''''3'''''''''">
              <a:rPr lang="en-US" sz="1000">
                <a:solidFill>
                  <a:schemeClr val="tx1"/>
                </a:solidFill>
              </a:rPr>
              <a:pPr>
                <a:spcBef>
                  <a:spcPct val="0"/>
                </a:spcBef>
                <a:spcAft>
                  <a:spcPct val="0"/>
                </a:spcAft>
              </a:pPr>
              <a:t>8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6" name="Rectangle 75"/>
          <p:cNvSpPr/>
          <p:nvPr>
            <p:custDataLst>
              <p:tags r:id="rId33"/>
            </p:custDataLst>
          </p:nvPr>
        </p:nvSpPr>
        <p:spPr bwMode="auto">
          <a:xfrm>
            <a:off x="749300" y="42767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E6870E8-827C-4FDD-AF2E-F2B6F8D99B85}" type="datetime'''''''''''O''''''''''''''''la''''''ndija'''''''''''''''">
              <a:rPr lang="en-US" sz="1000">
                <a:solidFill>
                  <a:schemeClr val="tx1"/>
                </a:solidFill>
              </a:rPr>
              <a:pPr algn="r">
                <a:spcBef>
                  <a:spcPct val="0"/>
                </a:spcBef>
                <a:spcAft>
                  <a:spcPct val="0"/>
                </a:spcAft>
              </a:pPr>
              <a:t>Olandija</a:t>
            </a:fld>
            <a:endParaRPr lang="en-US" sz="1000" dirty="0">
              <a:solidFill>
                <a:schemeClr val="tx1"/>
              </a:solidFill>
              <a:latin typeface="Calibri"/>
              <a:sym typeface="Calibri"/>
            </a:endParaRPr>
          </a:p>
        </p:txBody>
      </p:sp>
      <p:sp>
        <p:nvSpPr>
          <p:cNvPr id="77" name="Rectangle 76"/>
          <p:cNvSpPr/>
          <p:nvPr>
            <p:custDataLst>
              <p:tags r:id="rId34"/>
            </p:custDataLst>
          </p:nvPr>
        </p:nvSpPr>
        <p:spPr bwMode="gray">
          <a:xfrm>
            <a:off x="1511300" y="42767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6B46D2A-7446-4E5B-8B4D-4AC0D996287B}"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4AA882CC-316C-4A08-A10A-047D78048C17}" type="datetime'''''''''''''''''''''''''''''''''84'">
              <a:rPr lang="en-US" sz="1000">
                <a:solidFill>
                  <a:schemeClr val="tx1"/>
                </a:solidFill>
              </a:rPr>
              <a:pPr>
                <a:spcBef>
                  <a:spcPct val="0"/>
                </a:spcBef>
                <a:spcAft>
                  <a:spcPct val="0"/>
                </a:spcAft>
              </a:pPr>
              <a:t>8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8" name="Rectangle 77"/>
          <p:cNvSpPr/>
          <p:nvPr>
            <p:custDataLst>
              <p:tags r:id="rId35"/>
            </p:custDataLst>
          </p:nvPr>
        </p:nvSpPr>
        <p:spPr bwMode="auto">
          <a:xfrm>
            <a:off x="858838" y="4143375"/>
            <a:ext cx="3159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A122D07-972D-4C18-90A5-E4C10D91436C}" type="datetime'''''''''''''''''K''''''''''''i''''p''''''''''''''''''ra''s'''">
              <a:rPr lang="en-US" sz="1000">
                <a:solidFill>
                  <a:schemeClr val="tx1"/>
                </a:solidFill>
              </a:rPr>
              <a:pPr algn="r">
                <a:spcBef>
                  <a:spcPct val="0"/>
                </a:spcBef>
                <a:spcAft>
                  <a:spcPct val="0"/>
                </a:spcAft>
              </a:pPr>
              <a:t>Kipras</a:t>
            </a:fld>
            <a:endParaRPr lang="en-US" sz="1000" dirty="0">
              <a:solidFill>
                <a:schemeClr val="tx1"/>
              </a:solidFill>
              <a:latin typeface="Calibri"/>
              <a:sym typeface="Calibri"/>
            </a:endParaRPr>
          </a:p>
        </p:txBody>
      </p:sp>
      <p:sp>
        <p:nvSpPr>
          <p:cNvPr id="79" name="Rectangle 78"/>
          <p:cNvSpPr/>
          <p:nvPr>
            <p:custDataLst>
              <p:tags r:id="rId36"/>
            </p:custDataLst>
          </p:nvPr>
        </p:nvSpPr>
        <p:spPr bwMode="gray">
          <a:xfrm>
            <a:off x="1530350" y="41433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C76F815-4CA1-4D0B-AE89-9791BC0DBF4C}"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378DC9F0-BAC1-465F-B56A-DD2C23F2D8D1}" type="datetime'''9''''2'''''''''''''''''''''''''''''''''''">
              <a:rPr lang="en-US" sz="1000">
                <a:solidFill>
                  <a:schemeClr val="tx1"/>
                </a:solidFill>
              </a:rPr>
              <a:pPr>
                <a:spcBef>
                  <a:spcPct val="0"/>
                </a:spcBef>
                <a:spcAft>
                  <a:spcPct val="0"/>
                </a:spcAft>
              </a:pPr>
              <a:t>9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80" name="Rectangle 79"/>
          <p:cNvSpPr/>
          <p:nvPr>
            <p:custDataLst>
              <p:tags r:id="rId37"/>
            </p:custDataLst>
          </p:nvPr>
        </p:nvSpPr>
        <p:spPr bwMode="auto">
          <a:xfrm>
            <a:off x="809625" y="4014788"/>
            <a:ext cx="3651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E58CAC1-BA7C-43A0-AE46-3BEB470B0428}" type="datetime'''Š''''ve''''''d''''''''''i''''''''ja'''''''''''''''''''''''">
              <a:rPr lang="en-US" sz="1000">
                <a:solidFill>
                  <a:schemeClr val="tx1"/>
                </a:solidFill>
              </a:rPr>
              <a:pPr algn="r">
                <a:spcBef>
                  <a:spcPct val="0"/>
                </a:spcBef>
                <a:spcAft>
                  <a:spcPct val="0"/>
                </a:spcAft>
              </a:pPr>
              <a:t>Švedija</a:t>
            </a:fld>
            <a:endParaRPr lang="en-US" sz="1000" dirty="0">
              <a:solidFill>
                <a:schemeClr val="tx1"/>
              </a:solidFill>
              <a:latin typeface="Calibri"/>
              <a:sym typeface="Calibri"/>
            </a:endParaRPr>
          </a:p>
        </p:txBody>
      </p:sp>
      <p:sp>
        <p:nvSpPr>
          <p:cNvPr id="81" name="Rectangle 80"/>
          <p:cNvSpPr/>
          <p:nvPr>
            <p:custDataLst>
              <p:tags r:id="rId38"/>
            </p:custDataLst>
          </p:nvPr>
        </p:nvSpPr>
        <p:spPr bwMode="gray">
          <a:xfrm>
            <a:off x="1530350" y="40147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E1EF9D6-4EA2-493C-B944-81760B17E6A9}"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CCFA14D0-67E0-40F4-A249-6BB005281392}" type="datetime'''''''''''9''''3'''''''''''''''''''''''''''''''''''''''">
              <a:rPr lang="en-US" sz="1000">
                <a:solidFill>
                  <a:schemeClr val="tx1"/>
                </a:solidFill>
              </a:rPr>
              <a:pPr>
                <a:spcBef>
                  <a:spcPct val="0"/>
                </a:spcBef>
                <a:spcAft>
                  <a:spcPct val="0"/>
                </a:spcAft>
              </a:pPr>
              <a:t>9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82" name="Rectangle 81"/>
          <p:cNvSpPr/>
          <p:nvPr>
            <p:custDataLst>
              <p:tags r:id="rId39"/>
            </p:custDataLst>
          </p:nvPr>
        </p:nvSpPr>
        <p:spPr bwMode="auto">
          <a:xfrm>
            <a:off x="762000" y="3886200"/>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8D2944B-9EBA-474C-B31F-E5E07C3820CF}" type="datetime'S''''''''''u''''''''o''m''''''''''''''i''''j''''''''''a'">
              <a:rPr lang="en-US" sz="1000">
                <a:solidFill>
                  <a:schemeClr val="tx1"/>
                </a:solidFill>
              </a:rPr>
              <a:pPr algn="r">
                <a:spcBef>
                  <a:spcPct val="0"/>
                </a:spcBef>
                <a:spcAft>
                  <a:spcPct val="0"/>
                </a:spcAft>
              </a:pPr>
              <a:t>Suomija</a:t>
            </a:fld>
            <a:endParaRPr lang="en-US" sz="1000" dirty="0">
              <a:solidFill>
                <a:schemeClr val="tx1"/>
              </a:solidFill>
              <a:latin typeface="Calibri"/>
              <a:sym typeface="Calibri"/>
            </a:endParaRPr>
          </a:p>
        </p:txBody>
      </p:sp>
      <p:sp>
        <p:nvSpPr>
          <p:cNvPr id="83" name="Rectangle 82"/>
          <p:cNvSpPr/>
          <p:nvPr>
            <p:custDataLst>
              <p:tags r:id="rId40"/>
            </p:custDataLst>
          </p:nvPr>
        </p:nvSpPr>
        <p:spPr bwMode="gray">
          <a:xfrm>
            <a:off x="1530350" y="38862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E16BFD-C0E0-4092-B8E3-E14F47E373F5}"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D41A8441-2F4F-47C9-BFB8-71B6D89D56F9}" type="datetime'''''''''''''''''''''''''''''''''''9''''3'''''''">
              <a:rPr lang="en-US" sz="1000">
                <a:solidFill>
                  <a:schemeClr val="tx1"/>
                </a:solidFill>
              </a:rPr>
              <a:pPr>
                <a:spcBef>
                  <a:spcPct val="0"/>
                </a:spcBef>
                <a:spcAft>
                  <a:spcPct val="0"/>
                </a:spcAft>
              </a:pPr>
              <a:t>9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4" name="Rectangle 33"/>
          <p:cNvSpPr/>
          <p:nvPr>
            <p:custDataLst>
              <p:tags r:id="rId41"/>
            </p:custDataLst>
          </p:nvPr>
        </p:nvSpPr>
        <p:spPr bwMode="auto">
          <a:xfrm>
            <a:off x="749300" y="3757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36BD074-1B85-4643-87A0-659CB8F6A32B}" type="datetime'''''''''V''e''n''''''''''''''''g''''ri''''''j''a'">
              <a:rPr lang="en-US" sz="1000">
                <a:solidFill>
                  <a:schemeClr val="tx1"/>
                </a:solidFill>
              </a:rPr>
              <a:pPr algn="r">
                <a:spcBef>
                  <a:spcPct val="0"/>
                </a:spcBef>
                <a:spcAft>
                  <a:spcPct val="0"/>
                </a:spcAft>
              </a:pPr>
              <a:t>Vengrija</a:t>
            </a:fld>
            <a:endParaRPr lang="en-US" sz="1000" dirty="0">
              <a:solidFill>
                <a:schemeClr val="tx1"/>
              </a:solidFill>
              <a:latin typeface="Calibri"/>
              <a:sym typeface="Calibri"/>
            </a:endParaRPr>
          </a:p>
        </p:txBody>
      </p:sp>
      <p:sp>
        <p:nvSpPr>
          <p:cNvPr id="35" name="Rectangle 34"/>
          <p:cNvSpPr/>
          <p:nvPr>
            <p:custDataLst>
              <p:tags r:id="rId42"/>
            </p:custDataLst>
          </p:nvPr>
        </p:nvSpPr>
        <p:spPr bwMode="gray">
          <a:xfrm>
            <a:off x="1539875" y="3757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AD89A60-CABA-45DC-927E-8BCD5D98C30C}"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3A6EDB28-9324-4AE9-BDA2-A83008DCCB43}" type="datetime'''''9''''''''''6'''''''''''''''''">
              <a:rPr lang="en-US" sz="1000">
                <a:solidFill>
                  <a:schemeClr val="tx1"/>
                </a:solidFill>
              </a:rPr>
              <a:pPr>
                <a:spcBef>
                  <a:spcPct val="0"/>
                </a:spcBef>
                <a:spcAft>
                  <a:spcPct val="0"/>
                </a:spcAft>
              </a:pPr>
              <a:t>9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6" name="Rectangle 35"/>
          <p:cNvSpPr/>
          <p:nvPr>
            <p:custDataLst>
              <p:tags r:id="rId43"/>
            </p:custDataLst>
          </p:nvPr>
        </p:nvSpPr>
        <p:spPr bwMode="auto">
          <a:xfrm>
            <a:off x="833438" y="3629025"/>
            <a:ext cx="341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B7C0B52-C80A-4BE8-8024-0800173348B4}" type="datetime'''''''''''''B''''''''e''''''''''l''''g''''i''''j''''''''''''a'">
              <a:rPr lang="en-US" sz="1000">
                <a:solidFill>
                  <a:schemeClr val="tx1"/>
                </a:solidFill>
              </a:rPr>
              <a:pPr algn="r">
                <a:spcBef>
                  <a:spcPct val="0"/>
                </a:spcBef>
                <a:spcAft>
                  <a:spcPct val="0"/>
                </a:spcAft>
              </a:pPr>
              <a:t>Belgija</a:t>
            </a:fld>
            <a:endParaRPr lang="en-US" sz="1000" dirty="0">
              <a:solidFill>
                <a:schemeClr val="tx1"/>
              </a:solidFill>
              <a:latin typeface="Calibri"/>
              <a:sym typeface="Calibri"/>
            </a:endParaRPr>
          </a:p>
        </p:txBody>
      </p:sp>
      <p:sp>
        <p:nvSpPr>
          <p:cNvPr id="37" name="Rectangle 36"/>
          <p:cNvSpPr/>
          <p:nvPr>
            <p:custDataLst>
              <p:tags r:id="rId44"/>
            </p:custDataLst>
          </p:nvPr>
        </p:nvSpPr>
        <p:spPr bwMode="gray">
          <a:xfrm>
            <a:off x="1568450" y="3629025"/>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C9A050F-B61C-4DF8-970D-2E5CA69337BF}" type="datetime'''''''''''''''''''6''%'''''''''''''''">
              <a:rPr lang="en-US" sz="1000">
                <a:solidFill>
                  <a:schemeClr val="tx1"/>
                </a:solidFill>
              </a:rPr>
              <a:pPr>
                <a:spcBef>
                  <a:spcPct val="0"/>
                </a:spcBef>
                <a:spcAft>
                  <a:spcPct val="0"/>
                </a:spcAft>
              </a:pPr>
              <a:t>6%</a:t>
            </a:fld>
            <a:r>
              <a:rPr lang="en-US" sz="1000" smtClean="0">
                <a:solidFill>
                  <a:schemeClr val="tx1"/>
                </a:solidFill>
                <a:latin typeface="Calibri"/>
                <a:sym typeface="Calibri"/>
              </a:rPr>
              <a:t> (</a:t>
            </a:r>
            <a:fld id="{9ED1E04F-D6A7-4B77-A923-415232F70FA2}" type="datetime'''''''1''''''0''''''''''''''''''''''''''''''8'''''''''''''''''">
              <a:rPr lang="en-US" sz="1000">
                <a:solidFill>
                  <a:schemeClr val="tx1"/>
                </a:solidFill>
              </a:rPr>
              <a:pPr>
                <a:spcBef>
                  <a:spcPct val="0"/>
                </a:spcBef>
                <a:spcAft>
                  <a:spcPct val="0"/>
                </a:spcAft>
              </a:pPr>
              <a:t>10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8" name="Rectangle 37"/>
          <p:cNvSpPr/>
          <p:nvPr>
            <p:custDataLst>
              <p:tags r:id="rId45"/>
            </p:custDataLst>
          </p:nvPr>
        </p:nvSpPr>
        <p:spPr bwMode="auto">
          <a:xfrm>
            <a:off x="774700" y="3495675"/>
            <a:ext cx="400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5AACC3A-4884-4E90-BE20-56210A9179B6}" type="datetime'K''r''''''o''''''a''''t''''i''j''''''''''''''a'''''''''''">
              <a:rPr lang="en-US" sz="1000">
                <a:solidFill>
                  <a:schemeClr val="tx1"/>
                </a:solidFill>
              </a:rPr>
              <a:pPr algn="r">
                <a:spcBef>
                  <a:spcPct val="0"/>
                </a:spcBef>
                <a:spcAft>
                  <a:spcPct val="0"/>
                </a:spcAft>
              </a:pPr>
              <a:t>Kroatija</a:t>
            </a:fld>
            <a:endParaRPr lang="en-US" sz="1000" dirty="0">
              <a:solidFill>
                <a:schemeClr val="tx1"/>
              </a:solidFill>
              <a:latin typeface="Calibri"/>
              <a:sym typeface="Calibri"/>
            </a:endParaRPr>
          </a:p>
        </p:txBody>
      </p:sp>
      <p:sp>
        <p:nvSpPr>
          <p:cNvPr id="39" name="Rectangle 38"/>
          <p:cNvSpPr/>
          <p:nvPr>
            <p:custDataLst>
              <p:tags r:id="rId46"/>
            </p:custDataLst>
          </p:nvPr>
        </p:nvSpPr>
        <p:spPr bwMode="gray">
          <a:xfrm>
            <a:off x="1644650" y="3495675"/>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C5CEECD-9B61-46DA-A50D-6445CE82DAD3}"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 (</a:t>
            </a:r>
            <a:fld id="{63FBEC31-7191-4128-94BB-94084089600C}" type="datetime'''''1''''''''''''''''''''''''''''''''''''3''''''''''''''''9'''">
              <a:rPr lang="en-US" sz="1000">
                <a:solidFill>
                  <a:schemeClr val="tx1"/>
                </a:solidFill>
              </a:rPr>
              <a:pPr>
                <a:spcBef>
                  <a:spcPct val="0"/>
                </a:spcBef>
                <a:spcAft>
                  <a:spcPct val="0"/>
                </a:spcAft>
              </a:pPr>
              <a:t>13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0" name="Rectangle 39"/>
          <p:cNvSpPr/>
          <p:nvPr>
            <p:custDataLst>
              <p:tags r:id="rId47"/>
            </p:custDataLst>
          </p:nvPr>
        </p:nvSpPr>
        <p:spPr bwMode="auto">
          <a:xfrm>
            <a:off x="714375" y="3367088"/>
            <a:ext cx="460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6E48BA1-59C1-4E1B-8C5E-17A2C9808803}" type="datetime'S''''l''''''o''''''''v''ė''''''''''''''''''''''''n''i''j''''a'">
              <a:rPr lang="en-US" sz="1000">
                <a:solidFill>
                  <a:schemeClr val="tx1"/>
                </a:solidFill>
              </a:rPr>
              <a:pPr algn="r">
                <a:spcBef>
                  <a:spcPct val="0"/>
                </a:spcBef>
                <a:spcAft>
                  <a:spcPct val="0"/>
                </a:spcAft>
              </a:pPr>
              <a:t>Slovėnija</a:t>
            </a:fld>
            <a:endParaRPr lang="en-US" sz="1000" dirty="0">
              <a:solidFill>
                <a:schemeClr val="tx1"/>
              </a:solidFill>
              <a:latin typeface="Calibri"/>
              <a:sym typeface="Calibri"/>
            </a:endParaRPr>
          </a:p>
        </p:txBody>
      </p:sp>
      <p:sp>
        <p:nvSpPr>
          <p:cNvPr id="41" name="Rectangle 40"/>
          <p:cNvSpPr/>
          <p:nvPr>
            <p:custDataLst>
              <p:tags r:id="rId48"/>
            </p:custDataLst>
          </p:nvPr>
        </p:nvSpPr>
        <p:spPr bwMode="gray">
          <a:xfrm>
            <a:off x="1654175" y="33670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76DA189-BE17-42E3-97B3-D5CA0BEE250A}"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 (</a:t>
            </a:r>
            <a:fld id="{C93C1DAB-A007-4E8C-BBC6-6BC58D83C375}" type="datetime'''''''''''''1''4''''''5'''''''''''''''''''''''''''''''''''''''">
              <a:rPr lang="en-US" sz="1000">
                <a:solidFill>
                  <a:schemeClr val="tx1"/>
                </a:solidFill>
              </a:rPr>
              <a:pPr>
                <a:spcBef>
                  <a:spcPct val="0"/>
                </a:spcBef>
                <a:spcAft>
                  <a:spcPct val="0"/>
                </a:spcAft>
              </a:pPr>
              <a:t>14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 name="Rectangle 41"/>
          <p:cNvSpPr/>
          <p:nvPr>
            <p:custDataLst>
              <p:tags r:id="rId49"/>
            </p:custDataLst>
          </p:nvPr>
        </p:nvSpPr>
        <p:spPr bwMode="auto">
          <a:xfrm>
            <a:off x="801688" y="3238500"/>
            <a:ext cx="373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ECAA6DF-68BA-4A92-9247-F46779A522ED}" type="datetime'''''''''L''i''''''et''u''''''''''v''''''''''''''''''a'''">
              <a:rPr lang="en-US" sz="1000">
                <a:solidFill>
                  <a:schemeClr val="tx1"/>
                </a:solidFill>
              </a:rPr>
              <a:pPr algn="r">
                <a:spcBef>
                  <a:spcPct val="0"/>
                </a:spcBef>
                <a:spcAft>
                  <a:spcPct val="0"/>
                </a:spcAft>
              </a:pPr>
              <a:t>Lietuva</a:t>
            </a:fld>
            <a:endParaRPr lang="en-US" sz="1000" dirty="0">
              <a:solidFill>
                <a:schemeClr val="tx1"/>
              </a:solidFill>
              <a:latin typeface="Calibri"/>
              <a:sym typeface="Calibri"/>
            </a:endParaRPr>
          </a:p>
        </p:txBody>
      </p:sp>
      <p:sp>
        <p:nvSpPr>
          <p:cNvPr id="43" name="Rectangle 42"/>
          <p:cNvSpPr/>
          <p:nvPr>
            <p:custDataLst>
              <p:tags r:id="rId50"/>
            </p:custDataLst>
          </p:nvPr>
        </p:nvSpPr>
        <p:spPr bwMode="gray">
          <a:xfrm>
            <a:off x="1701800" y="323850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8C78916-40FD-4E64-B2DD-6665DE8E2D01}" type="datetime'''''9''''''''''''''''''''''''''''''''%'''''''''">
              <a:rPr lang="en-US" sz="1000">
                <a:solidFill>
                  <a:schemeClr val="tx1"/>
                </a:solidFill>
              </a:rPr>
              <a:pPr>
                <a:spcBef>
                  <a:spcPct val="0"/>
                </a:spcBef>
                <a:spcAft>
                  <a:spcPct val="0"/>
                </a:spcAft>
              </a:pPr>
              <a:t>9%</a:t>
            </a:fld>
            <a:r>
              <a:rPr lang="en-US" sz="1000" smtClean="0">
                <a:solidFill>
                  <a:schemeClr val="tx1"/>
                </a:solidFill>
                <a:latin typeface="Calibri"/>
                <a:sym typeface="Calibri"/>
              </a:rPr>
              <a:t> (</a:t>
            </a:r>
            <a:fld id="{BAAA6153-8120-4A41-8971-F1542B4ACD0B}" type="datetime'''''''''''''''''''''''1''''''6''''''''''2'''''">
              <a:rPr lang="en-US" sz="1000">
                <a:solidFill>
                  <a:schemeClr val="tx1"/>
                </a:solidFill>
              </a:rPr>
              <a:pPr>
                <a:spcBef>
                  <a:spcPct val="0"/>
                </a:spcBef>
                <a:spcAft>
                  <a:spcPct val="0"/>
                </a:spcAft>
              </a:pPr>
              <a:t>16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4" name="Rectangle 43"/>
          <p:cNvSpPr/>
          <p:nvPr>
            <p:custDataLst>
              <p:tags r:id="rId51"/>
            </p:custDataLst>
          </p:nvPr>
        </p:nvSpPr>
        <p:spPr bwMode="auto">
          <a:xfrm>
            <a:off x="901700" y="3105150"/>
            <a:ext cx="273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1C1BFA8-CE06-4C29-8A42-4F4CA156A223}" type="datetime'''''''''''''''''''E''''''''s''''''''''t''''''ija'''">
              <a:rPr lang="en-US" sz="1000">
                <a:solidFill>
                  <a:schemeClr val="tx1"/>
                </a:solidFill>
              </a:rPr>
              <a:pPr algn="r">
                <a:spcBef>
                  <a:spcPct val="0"/>
                </a:spcBef>
                <a:spcAft>
                  <a:spcPct val="0"/>
                </a:spcAft>
              </a:pPr>
              <a:t>Estija</a:t>
            </a:fld>
            <a:endParaRPr lang="en-US" sz="1000" dirty="0">
              <a:solidFill>
                <a:schemeClr val="tx1"/>
              </a:solidFill>
              <a:latin typeface="Calibri"/>
              <a:sym typeface="Calibri"/>
            </a:endParaRPr>
          </a:p>
        </p:txBody>
      </p:sp>
      <p:sp>
        <p:nvSpPr>
          <p:cNvPr id="45" name="Rectangle 44"/>
          <p:cNvSpPr/>
          <p:nvPr>
            <p:custDataLst>
              <p:tags r:id="rId52"/>
            </p:custDataLst>
          </p:nvPr>
        </p:nvSpPr>
        <p:spPr bwMode="gray">
          <a:xfrm>
            <a:off x="1749425" y="31051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1C79F4-DD8C-49D6-9EF6-5BEACEEDE5DD}" type="datetime'''''''''''''''''1''''0''''''%'''''''''''''''''''">
              <a:rPr lang="en-US" sz="1000">
                <a:solidFill>
                  <a:schemeClr val="tx1"/>
                </a:solidFill>
              </a:rPr>
              <a:pPr>
                <a:spcBef>
                  <a:spcPct val="0"/>
                </a:spcBef>
                <a:spcAft>
                  <a:spcPct val="0"/>
                </a:spcAft>
              </a:pPr>
              <a:t>10%</a:t>
            </a:fld>
            <a:r>
              <a:rPr lang="en-US" sz="1000" smtClean="0">
                <a:solidFill>
                  <a:schemeClr val="tx1"/>
                </a:solidFill>
                <a:latin typeface="Calibri"/>
                <a:sym typeface="Calibri"/>
              </a:rPr>
              <a:t> (</a:t>
            </a:r>
            <a:fld id="{95268BF6-4C1A-40FF-82FA-64B86B7211E5}" type="datetime'''''''''''''1''8''''''''''''''''''''''''''''''''''''''''4'">
              <a:rPr lang="en-US" sz="1000">
                <a:solidFill>
                  <a:schemeClr val="tx1"/>
                </a:solidFill>
              </a:rPr>
              <a:pPr>
                <a:spcBef>
                  <a:spcPct val="0"/>
                </a:spcBef>
                <a:spcAft>
                  <a:spcPct val="0"/>
                </a:spcAft>
              </a:pPr>
              <a:t>18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6" name="Rectangle 45"/>
          <p:cNvSpPr/>
          <p:nvPr>
            <p:custDataLst>
              <p:tags r:id="rId53"/>
            </p:custDataLst>
          </p:nvPr>
        </p:nvSpPr>
        <p:spPr bwMode="auto">
          <a:xfrm>
            <a:off x="725488" y="2976563"/>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343A1E-DDC2-42D2-BA73-5B34C0B2D0C2}" type="datetime'''''''''''V''''''''''''o''k''''''i''''e''''t''i''''j''a'">
              <a:rPr lang="en-US" sz="1000">
                <a:solidFill>
                  <a:schemeClr val="tx1"/>
                </a:solidFill>
              </a:rPr>
              <a:pPr algn="r">
                <a:spcBef>
                  <a:spcPct val="0"/>
                </a:spcBef>
                <a:spcAft>
                  <a:spcPct val="0"/>
                </a:spcAft>
              </a:pPr>
              <a:t>Vokietija</a:t>
            </a:fld>
            <a:endParaRPr lang="en-US" sz="1000" dirty="0">
              <a:solidFill>
                <a:schemeClr val="tx1"/>
              </a:solidFill>
              <a:latin typeface="Calibri"/>
              <a:sym typeface="Calibri"/>
            </a:endParaRPr>
          </a:p>
        </p:txBody>
      </p:sp>
      <p:sp>
        <p:nvSpPr>
          <p:cNvPr id="47" name="Rectangle 46"/>
          <p:cNvSpPr/>
          <p:nvPr>
            <p:custDataLst>
              <p:tags r:id="rId54"/>
            </p:custDataLst>
          </p:nvPr>
        </p:nvSpPr>
        <p:spPr bwMode="gray">
          <a:xfrm>
            <a:off x="1854200" y="29765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692AF03-E34F-486F-AB37-58A32274526C}" type="datetime'''''12''%'''''''''''''''''''''''''''">
              <a:rPr lang="en-US" sz="1000">
                <a:solidFill>
                  <a:schemeClr val="tx1"/>
                </a:solidFill>
              </a:rPr>
              <a:pPr>
                <a:spcBef>
                  <a:spcPct val="0"/>
                </a:spcBef>
                <a:spcAft>
                  <a:spcPct val="0"/>
                </a:spcAft>
              </a:pPr>
              <a:t>12%</a:t>
            </a:fld>
            <a:r>
              <a:rPr lang="en-US" sz="1000" smtClean="0">
                <a:solidFill>
                  <a:schemeClr val="tx1"/>
                </a:solidFill>
                <a:latin typeface="Calibri"/>
                <a:sym typeface="Calibri"/>
              </a:rPr>
              <a:t> (</a:t>
            </a:r>
            <a:fld id="{553D1972-90BF-4D7B-BD65-7646FF60A3C7}" type="datetime'''''''''''''2''2''''''''''''''5'''''''''''''''''''">
              <a:rPr lang="en-US" sz="1000">
                <a:solidFill>
                  <a:schemeClr val="tx1"/>
                </a:solidFill>
              </a:rPr>
              <a:pPr>
                <a:spcBef>
                  <a:spcPct val="0"/>
                </a:spcBef>
                <a:spcAft>
                  <a:spcPct val="0"/>
                </a:spcAft>
              </a:pPr>
              <a:t>22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8" name="Rectangle 47"/>
          <p:cNvSpPr/>
          <p:nvPr>
            <p:custDataLst>
              <p:tags r:id="rId55"/>
            </p:custDataLst>
          </p:nvPr>
        </p:nvSpPr>
        <p:spPr bwMode="auto">
          <a:xfrm>
            <a:off x="841375" y="2847975"/>
            <a:ext cx="333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6A864B0-7D87-41FC-B3E7-08E1976605B5}" type="datetime'''''''''L''at''''''''''''''v''''''''i''''''''''''j''''''''''a'">
              <a:rPr lang="en-US" sz="1000">
                <a:solidFill>
                  <a:schemeClr val="tx1"/>
                </a:solidFill>
              </a:rPr>
              <a:pPr algn="r">
                <a:spcBef>
                  <a:spcPct val="0"/>
                </a:spcBef>
                <a:spcAft>
                  <a:spcPct val="0"/>
                </a:spcAft>
              </a:pPr>
              <a:t>Latvija</a:t>
            </a:fld>
            <a:endParaRPr lang="en-US" sz="1000" dirty="0">
              <a:solidFill>
                <a:schemeClr val="tx1"/>
              </a:solidFill>
              <a:latin typeface="Calibri"/>
              <a:sym typeface="Calibri"/>
            </a:endParaRPr>
          </a:p>
        </p:txBody>
      </p:sp>
      <p:sp>
        <p:nvSpPr>
          <p:cNvPr id="49" name="Rectangle 48"/>
          <p:cNvSpPr/>
          <p:nvPr>
            <p:custDataLst>
              <p:tags r:id="rId56"/>
            </p:custDataLst>
          </p:nvPr>
        </p:nvSpPr>
        <p:spPr bwMode="gray">
          <a:xfrm>
            <a:off x="1920875" y="28479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E720AD-8153-44FC-885C-FC7B590A7A27}" type="datetime'''''''''''''1''''''''''''''4''%'''''''">
              <a:rPr lang="en-US" sz="1000">
                <a:solidFill>
                  <a:schemeClr val="tx1"/>
                </a:solidFill>
              </a:rPr>
              <a:pPr>
                <a:spcBef>
                  <a:spcPct val="0"/>
                </a:spcBef>
                <a:spcAft>
                  <a:spcPct val="0"/>
                </a:spcAft>
              </a:pPr>
              <a:t>14%</a:t>
            </a:fld>
            <a:r>
              <a:rPr lang="en-US" sz="1000" smtClean="0">
                <a:solidFill>
                  <a:schemeClr val="tx1"/>
                </a:solidFill>
                <a:latin typeface="Calibri"/>
                <a:sym typeface="Calibri"/>
              </a:rPr>
              <a:t> (</a:t>
            </a:r>
            <a:fld id="{51A516BE-4CA8-4A05-98A3-50410C73AD27}" type="datetime'2''''''''''''''''''''''''''''''52'">
              <a:rPr lang="en-US" sz="1000">
                <a:solidFill>
                  <a:schemeClr val="tx1"/>
                </a:solidFill>
              </a:rPr>
              <a:pPr>
                <a:spcBef>
                  <a:spcPct val="0"/>
                </a:spcBef>
                <a:spcAft>
                  <a:spcPct val="0"/>
                </a:spcAft>
              </a:pPr>
              <a:t>25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0" name="Rectangle 49"/>
          <p:cNvSpPr/>
          <p:nvPr>
            <p:custDataLst>
              <p:tags r:id="rId57"/>
            </p:custDataLst>
          </p:nvPr>
        </p:nvSpPr>
        <p:spPr bwMode="auto">
          <a:xfrm>
            <a:off x="727075" y="2719388"/>
            <a:ext cx="447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022367E-D5F0-43DB-B115-998CE6806C24}" type="datetime'''''''S''''''''''''''''lo''v''''''a''''k''''''ija'''''''''">
              <a:rPr lang="en-US" sz="1000">
                <a:solidFill>
                  <a:schemeClr val="tx1"/>
                </a:solidFill>
              </a:rPr>
              <a:pPr algn="r">
                <a:spcBef>
                  <a:spcPct val="0"/>
                </a:spcBef>
                <a:spcAft>
                  <a:spcPct val="0"/>
                </a:spcAft>
              </a:pPr>
              <a:t>Slovakija</a:t>
            </a:fld>
            <a:endParaRPr lang="en-US" sz="1000" dirty="0">
              <a:solidFill>
                <a:schemeClr val="tx1"/>
              </a:solidFill>
              <a:latin typeface="Calibri"/>
              <a:sym typeface="Calibri"/>
            </a:endParaRPr>
          </a:p>
        </p:txBody>
      </p:sp>
      <p:sp>
        <p:nvSpPr>
          <p:cNvPr id="51" name="Rectangle 50"/>
          <p:cNvSpPr/>
          <p:nvPr>
            <p:custDataLst>
              <p:tags r:id="rId58"/>
            </p:custDataLst>
          </p:nvPr>
        </p:nvSpPr>
        <p:spPr bwMode="gray">
          <a:xfrm>
            <a:off x="1997075" y="27193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C6E6AF7-1EE2-4FFB-B215-69D45C5947D9}" type="datetime'''''''''1''''''''''''''''''''6''''%'''''''''''">
              <a:rPr lang="en-US" sz="1000">
                <a:solidFill>
                  <a:schemeClr val="tx1"/>
                </a:solidFill>
              </a:rPr>
              <a:pPr>
                <a:spcBef>
                  <a:spcPct val="0"/>
                </a:spcBef>
                <a:spcAft>
                  <a:spcPct val="0"/>
                </a:spcAft>
              </a:pPr>
              <a:t>16%</a:t>
            </a:fld>
            <a:r>
              <a:rPr lang="en-US" sz="1000" smtClean="0">
                <a:solidFill>
                  <a:schemeClr val="tx1"/>
                </a:solidFill>
                <a:latin typeface="Calibri"/>
                <a:sym typeface="Calibri"/>
              </a:rPr>
              <a:t> (</a:t>
            </a:r>
            <a:fld id="{5F48222F-CA84-4FB9-8BDC-6C6EBD059DEE}" type="datetime'''''''''''''2''''''''''''''''''''''''8''''''''''''''''5'''''">
              <a:rPr lang="en-US" sz="1000">
                <a:solidFill>
                  <a:schemeClr val="tx1"/>
                </a:solidFill>
              </a:rPr>
              <a:pPr>
                <a:spcBef>
                  <a:spcPct val="0"/>
                </a:spcBef>
                <a:spcAft>
                  <a:spcPct val="0"/>
                </a:spcAft>
              </a:pPr>
              <a:t>28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2" name="Rectangle 51"/>
          <p:cNvSpPr/>
          <p:nvPr>
            <p:custDataLst>
              <p:tags r:id="rId59"/>
            </p:custDataLst>
          </p:nvPr>
        </p:nvSpPr>
        <p:spPr bwMode="auto">
          <a:xfrm>
            <a:off x="620713" y="2590800"/>
            <a:ext cx="554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D366EC4-41F2-4546-8C6D-5E24F0DE91E9}" type="datetime'''''P''''o''''''''r''tug''''a''''''''''li''''''''j''''''a'''">
              <a:rPr lang="en-US" sz="1000">
                <a:solidFill>
                  <a:schemeClr val="tx1"/>
                </a:solidFill>
              </a:rPr>
              <a:pPr algn="r">
                <a:spcBef>
                  <a:spcPct val="0"/>
                </a:spcBef>
                <a:spcAft>
                  <a:spcPct val="0"/>
                </a:spcAft>
              </a:pPr>
              <a:t>Portugalija</a:t>
            </a:fld>
            <a:endParaRPr lang="en-US" sz="1000" dirty="0">
              <a:solidFill>
                <a:schemeClr val="tx1"/>
              </a:solidFill>
              <a:latin typeface="Calibri"/>
              <a:sym typeface="Calibri"/>
            </a:endParaRPr>
          </a:p>
        </p:txBody>
      </p:sp>
      <p:sp>
        <p:nvSpPr>
          <p:cNvPr id="53" name="Rectangle 52"/>
          <p:cNvSpPr/>
          <p:nvPr>
            <p:custDataLst>
              <p:tags r:id="rId60"/>
            </p:custDataLst>
          </p:nvPr>
        </p:nvSpPr>
        <p:spPr bwMode="gray">
          <a:xfrm>
            <a:off x="2016125" y="25908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A4934B0-B4FA-4680-92C5-80BBF3799208}" type="datetime'1''''''''''''6%'''''''''''''''''''''''''''''''''''">
              <a:rPr lang="en-US" sz="1000">
                <a:solidFill>
                  <a:schemeClr val="tx1"/>
                </a:solidFill>
              </a:rPr>
              <a:pPr>
                <a:spcBef>
                  <a:spcPct val="0"/>
                </a:spcBef>
                <a:spcAft>
                  <a:spcPct val="0"/>
                </a:spcAft>
              </a:pPr>
              <a:t>16%</a:t>
            </a:fld>
            <a:r>
              <a:rPr lang="en-US" sz="1000" smtClean="0">
                <a:solidFill>
                  <a:schemeClr val="tx1"/>
                </a:solidFill>
                <a:latin typeface="Calibri"/>
                <a:sym typeface="Calibri"/>
              </a:rPr>
              <a:t> (</a:t>
            </a:r>
            <a:fld id="{D1CFD7BA-708B-4B7F-9B89-44BF84C2DF74}" type="datetime'''''''2''''''''''''''''''''''''''''''''''9''''''''''''4'''">
              <a:rPr lang="en-US" sz="1000">
                <a:solidFill>
                  <a:schemeClr val="tx1"/>
                </a:solidFill>
              </a:rPr>
              <a:pPr>
                <a:spcBef>
                  <a:spcPct val="0"/>
                </a:spcBef>
                <a:spcAft>
                  <a:spcPct val="0"/>
                </a:spcAft>
              </a:pPr>
              <a:t>29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4" name="Rectangle 53"/>
          <p:cNvSpPr/>
          <p:nvPr>
            <p:custDataLst>
              <p:tags r:id="rId61"/>
            </p:custDataLst>
          </p:nvPr>
        </p:nvSpPr>
        <p:spPr bwMode="auto">
          <a:xfrm>
            <a:off x="866775" y="2457450"/>
            <a:ext cx="307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2D9F83-2A1F-48BC-8816-07C33DAC46E8}" type="datetime'''''''Č''ek''''''''i''''''''j''''''''''''a'''''''''''''''''">
              <a:rPr lang="en-US" sz="1000">
                <a:solidFill>
                  <a:schemeClr val="tx1"/>
                </a:solidFill>
              </a:rPr>
              <a:pPr algn="r">
                <a:spcBef>
                  <a:spcPct val="0"/>
                </a:spcBef>
                <a:spcAft>
                  <a:spcPct val="0"/>
                </a:spcAft>
              </a:pPr>
              <a:t>Čekija</a:t>
            </a:fld>
            <a:endParaRPr lang="en-US" sz="1000" dirty="0">
              <a:solidFill>
                <a:schemeClr val="tx1"/>
              </a:solidFill>
              <a:latin typeface="Calibri"/>
              <a:sym typeface="Calibri"/>
            </a:endParaRPr>
          </a:p>
        </p:txBody>
      </p:sp>
      <p:sp>
        <p:nvSpPr>
          <p:cNvPr id="55" name="Rectangle 54"/>
          <p:cNvSpPr/>
          <p:nvPr>
            <p:custDataLst>
              <p:tags r:id="rId62"/>
            </p:custDataLst>
          </p:nvPr>
        </p:nvSpPr>
        <p:spPr bwMode="gray">
          <a:xfrm>
            <a:off x="2044700" y="24574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C5504A1-2BB1-42F0-A9C6-6E839C2BEB37}" type="datetime'''''''''''''''''''''''''''''''''''''''''1''7''''''''''''''''%'">
              <a:rPr lang="en-US" sz="1000">
                <a:solidFill>
                  <a:schemeClr val="tx1"/>
                </a:solidFill>
              </a:rPr>
              <a:pPr>
                <a:spcBef>
                  <a:spcPct val="0"/>
                </a:spcBef>
                <a:spcAft>
                  <a:spcPct val="0"/>
                </a:spcAft>
              </a:pPr>
              <a:t>17%</a:t>
            </a:fld>
            <a:r>
              <a:rPr lang="en-US" sz="1000" smtClean="0">
                <a:solidFill>
                  <a:schemeClr val="tx1"/>
                </a:solidFill>
                <a:latin typeface="Calibri"/>
                <a:sym typeface="Calibri"/>
              </a:rPr>
              <a:t> (</a:t>
            </a:r>
            <a:fld id="{60A91B24-5E4C-4E6E-A01A-C604D361D79E}" type="datetime'''''''''''''''''''3''''''0''''''3'''''">
              <a:rPr lang="en-US" sz="1000">
                <a:solidFill>
                  <a:schemeClr val="tx1"/>
                </a:solidFill>
              </a:rPr>
              <a:pPr>
                <a:spcBef>
                  <a:spcPct val="0"/>
                </a:spcBef>
                <a:spcAft>
                  <a:spcPct val="0"/>
                </a:spcAft>
              </a:pPr>
              <a:t>30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6" name="Rectangle 55"/>
          <p:cNvSpPr/>
          <p:nvPr>
            <p:custDataLst>
              <p:tags r:id="rId63"/>
            </p:custDataLst>
          </p:nvPr>
        </p:nvSpPr>
        <p:spPr bwMode="auto">
          <a:xfrm>
            <a:off x="236538" y="2328863"/>
            <a:ext cx="938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DC04331-2B62-4B64-9613-E87173F2E086}" type="datetime'''Jungt''i''''''''''''''nė Kar''''a''''lys''''t''''''''ė'''''">
              <a:rPr lang="en-US" sz="1000">
                <a:solidFill>
                  <a:schemeClr val="tx1"/>
                </a:solidFill>
              </a:rPr>
              <a:pPr algn="r">
                <a:spcBef>
                  <a:spcPct val="0"/>
                </a:spcBef>
                <a:spcAft>
                  <a:spcPct val="0"/>
                </a:spcAft>
              </a:pPr>
              <a:t>Jungtinė Karalystė</a:t>
            </a:fld>
            <a:endParaRPr lang="en-US" sz="1000" dirty="0">
              <a:solidFill>
                <a:schemeClr val="tx1"/>
              </a:solidFill>
              <a:latin typeface="Calibri"/>
              <a:sym typeface="Calibri"/>
            </a:endParaRPr>
          </a:p>
        </p:txBody>
      </p:sp>
      <p:sp>
        <p:nvSpPr>
          <p:cNvPr id="57" name="Rectangle 56"/>
          <p:cNvSpPr/>
          <p:nvPr>
            <p:custDataLst>
              <p:tags r:id="rId64"/>
            </p:custDataLst>
          </p:nvPr>
        </p:nvSpPr>
        <p:spPr bwMode="gray">
          <a:xfrm>
            <a:off x="2187575" y="23288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5BF2CBB-0486-4042-A550-CCC16774FC4A}" type="datetime'''''''''''2''''''''''''''''''0''''''%'''''">
              <a:rPr lang="en-US" sz="1000">
                <a:solidFill>
                  <a:schemeClr val="tx1"/>
                </a:solidFill>
              </a:rPr>
              <a:pPr>
                <a:spcBef>
                  <a:spcPct val="0"/>
                </a:spcBef>
                <a:spcAft>
                  <a:spcPct val="0"/>
                </a:spcAft>
              </a:pPr>
              <a:t>20%</a:t>
            </a:fld>
            <a:r>
              <a:rPr lang="en-US" sz="1000" smtClean="0">
                <a:solidFill>
                  <a:schemeClr val="tx1"/>
                </a:solidFill>
                <a:latin typeface="Calibri"/>
                <a:sym typeface="Calibri"/>
              </a:rPr>
              <a:t> (</a:t>
            </a:r>
            <a:fld id="{68FF8E0E-96EC-4D4A-931C-99D7966B1777}" type="datetime'''''''''''''''''''''''''''''3''''''''6''''''''''''''''3'''">
              <a:rPr lang="en-US" sz="1000">
                <a:solidFill>
                  <a:schemeClr val="tx1"/>
                </a:solidFill>
              </a:rPr>
              <a:pPr>
                <a:spcBef>
                  <a:spcPct val="0"/>
                </a:spcBef>
                <a:spcAft>
                  <a:spcPct val="0"/>
                </a:spcAft>
              </a:pPr>
              <a:t>36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6" name="Rectangle 15"/>
          <p:cNvSpPr/>
          <p:nvPr>
            <p:custDataLst>
              <p:tags r:id="rId65"/>
            </p:custDataLst>
          </p:nvPr>
        </p:nvSpPr>
        <p:spPr bwMode="auto">
          <a:xfrm>
            <a:off x="647700" y="2200275"/>
            <a:ext cx="527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A217C82-F5C5-415A-B24F-0FE37FC47737}" type="datetime'''''''''''Pr''a''''''n''''''''c''ū''''''''z''ij''a'''''''''">
              <a:rPr lang="en-US" sz="1000">
                <a:solidFill>
                  <a:schemeClr val="tx1"/>
                </a:solidFill>
              </a:rPr>
              <a:pPr algn="r">
                <a:spcBef>
                  <a:spcPct val="0"/>
                </a:spcBef>
                <a:spcAft>
                  <a:spcPct val="0"/>
                </a:spcAft>
              </a:pPr>
              <a:t>Prancūzija</a:t>
            </a:fld>
            <a:endParaRPr lang="en-US" sz="1000" dirty="0">
              <a:solidFill>
                <a:schemeClr val="tx1"/>
              </a:solidFill>
              <a:latin typeface="Calibri"/>
              <a:sym typeface="Calibri"/>
            </a:endParaRPr>
          </a:p>
        </p:txBody>
      </p:sp>
      <p:sp>
        <p:nvSpPr>
          <p:cNvPr id="17" name="Rectangle 16"/>
          <p:cNvSpPr/>
          <p:nvPr>
            <p:custDataLst>
              <p:tags r:id="rId66"/>
            </p:custDataLst>
          </p:nvPr>
        </p:nvSpPr>
        <p:spPr bwMode="gray">
          <a:xfrm>
            <a:off x="2225675" y="22002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4DA7CAF-E865-4844-8CA3-A19B2343475D}" type="datetime'''''''''''''''''2''''''''''1''''''''''%'''''''''''''''''''">
              <a:rPr lang="en-US" sz="1000">
                <a:solidFill>
                  <a:schemeClr val="tx1"/>
                </a:solidFill>
              </a:rPr>
              <a:pPr>
                <a:spcBef>
                  <a:spcPct val="0"/>
                </a:spcBef>
                <a:spcAft>
                  <a:spcPct val="0"/>
                </a:spcAft>
              </a:pPr>
              <a:t>21%</a:t>
            </a:fld>
            <a:r>
              <a:rPr lang="en-US" sz="1000" smtClean="0">
                <a:solidFill>
                  <a:schemeClr val="tx1"/>
                </a:solidFill>
                <a:latin typeface="Calibri"/>
                <a:sym typeface="Calibri"/>
              </a:rPr>
              <a:t> (</a:t>
            </a:r>
            <a:fld id="{CB3C1C26-98B4-4DB6-B46D-4ED086BA54E3}" type="datetime'''3''''''''''''''''''''''''''''''''''''''7''''6'">
              <a:rPr lang="en-US" sz="1000">
                <a:solidFill>
                  <a:schemeClr val="tx1"/>
                </a:solidFill>
              </a:rPr>
              <a:pPr>
                <a:spcBef>
                  <a:spcPct val="0"/>
                </a:spcBef>
                <a:spcAft>
                  <a:spcPct val="0"/>
                </a:spcAft>
              </a:pPr>
              <a:t>37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8" name="Rectangle 17"/>
          <p:cNvSpPr/>
          <p:nvPr>
            <p:custDataLst>
              <p:tags r:id="rId67"/>
            </p:custDataLst>
          </p:nvPr>
        </p:nvSpPr>
        <p:spPr bwMode="auto">
          <a:xfrm>
            <a:off x="725488" y="2071688"/>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7E11441-DE95-4FE7-BF12-E253FA578890}" type="datetime'''''''''''''''''''B''''u''lg''''''a''r''ij''a'''''''''''">
              <a:rPr lang="en-US" sz="1000">
                <a:solidFill>
                  <a:schemeClr val="tx1"/>
                </a:solidFill>
              </a:rPr>
              <a:pPr algn="r">
                <a:spcBef>
                  <a:spcPct val="0"/>
                </a:spcBef>
                <a:spcAft>
                  <a:spcPct val="0"/>
                </a:spcAft>
              </a:pPr>
              <a:t>Bulgarija</a:t>
            </a:fld>
            <a:endParaRPr lang="en-US" sz="1000" dirty="0">
              <a:solidFill>
                <a:schemeClr val="tx1"/>
              </a:solidFill>
              <a:latin typeface="Calibri"/>
              <a:sym typeface="Calibri"/>
            </a:endParaRPr>
          </a:p>
        </p:txBody>
      </p:sp>
      <p:sp>
        <p:nvSpPr>
          <p:cNvPr id="19" name="Rectangle 18"/>
          <p:cNvSpPr/>
          <p:nvPr>
            <p:custDataLst>
              <p:tags r:id="rId68"/>
            </p:custDataLst>
          </p:nvPr>
        </p:nvSpPr>
        <p:spPr bwMode="gray">
          <a:xfrm>
            <a:off x="2320925" y="20716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7A04CCC-BB17-4E33-90F7-55B8909DC76D}" type="datetime'''''''''''''''''''''''''''''''''23''''''%'''''''''''''''''''''">
              <a:rPr lang="en-US" sz="1000">
                <a:solidFill>
                  <a:schemeClr val="tx1"/>
                </a:solidFill>
              </a:rPr>
              <a:pPr>
                <a:spcBef>
                  <a:spcPct val="0"/>
                </a:spcBef>
                <a:spcAft>
                  <a:spcPct val="0"/>
                </a:spcAft>
              </a:pPr>
              <a:t>23%</a:t>
            </a:fld>
            <a:r>
              <a:rPr lang="en-US" sz="1000" smtClean="0">
                <a:solidFill>
                  <a:schemeClr val="tx1"/>
                </a:solidFill>
                <a:latin typeface="Calibri"/>
                <a:sym typeface="Calibri"/>
              </a:rPr>
              <a:t> (</a:t>
            </a:r>
            <a:fld id="{78A4E923-1BE0-49A1-82D3-070EEEB0FC96}" type="datetime'''''''''''4''''''''1''''''''''''''''''''''6'''''''''''''''''">
              <a:rPr lang="en-US" sz="1000">
                <a:solidFill>
                  <a:schemeClr val="tx1"/>
                </a:solidFill>
              </a:rPr>
              <a:pPr>
                <a:spcBef>
                  <a:spcPct val="0"/>
                </a:spcBef>
                <a:spcAft>
                  <a:spcPct val="0"/>
                </a:spcAft>
              </a:pPr>
              <a:t>41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0" name="Rectangle 19"/>
          <p:cNvSpPr/>
          <p:nvPr>
            <p:custDataLst>
              <p:tags r:id="rId69"/>
            </p:custDataLst>
          </p:nvPr>
        </p:nvSpPr>
        <p:spPr bwMode="auto">
          <a:xfrm>
            <a:off x="785813" y="1943100"/>
            <a:ext cx="388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8972981-4EF9-41C2-BC62-4E4D5F2B5D19}" type="datetime'''''G''r''a''''i''''k''''''''''''ij''''''''''''''''''''''a'">
              <a:rPr lang="en-US" sz="1000">
                <a:solidFill>
                  <a:schemeClr val="tx1"/>
                </a:solidFill>
              </a:rPr>
              <a:pPr algn="r">
                <a:spcBef>
                  <a:spcPct val="0"/>
                </a:spcBef>
                <a:spcAft>
                  <a:spcPct val="0"/>
                </a:spcAft>
              </a:pPr>
              <a:t>Graikija</a:t>
            </a:fld>
            <a:endParaRPr lang="en-US" sz="1000" dirty="0">
              <a:solidFill>
                <a:schemeClr val="tx1"/>
              </a:solidFill>
              <a:latin typeface="Calibri"/>
              <a:sym typeface="Calibri"/>
            </a:endParaRPr>
          </a:p>
        </p:txBody>
      </p:sp>
      <p:sp>
        <p:nvSpPr>
          <p:cNvPr id="21" name="Rectangle 20"/>
          <p:cNvSpPr/>
          <p:nvPr>
            <p:custDataLst>
              <p:tags r:id="rId70"/>
            </p:custDataLst>
          </p:nvPr>
        </p:nvSpPr>
        <p:spPr bwMode="gray">
          <a:xfrm>
            <a:off x="2368550" y="19431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042419B-AE79-472D-A734-07B7663E33C3}" type="datetime'''''''''''''''''''''''2''''4''''''''''%'''''''''''''''''''''">
              <a:rPr lang="en-US" sz="1000">
                <a:solidFill>
                  <a:schemeClr val="tx1"/>
                </a:solidFill>
              </a:rPr>
              <a:pPr>
                <a:spcBef>
                  <a:spcPct val="0"/>
                </a:spcBef>
                <a:spcAft>
                  <a:spcPct val="0"/>
                </a:spcAft>
              </a:pPr>
              <a:t>24%</a:t>
            </a:fld>
            <a:r>
              <a:rPr lang="en-US" sz="1000" smtClean="0">
                <a:solidFill>
                  <a:schemeClr val="tx1"/>
                </a:solidFill>
                <a:latin typeface="Calibri"/>
                <a:sym typeface="Calibri"/>
              </a:rPr>
              <a:t> (</a:t>
            </a:r>
            <a:fld id="{2961EA4A-B118-4B47-92F9-D790AFF6CF75}" type="datetime'4''''''''''''''''''''''''''''''''3''''''5'''''''''">
              <a:rPr lang="en-US" sz="1000">
                <a:solidFill>
                  <a:schemeClr val="tx1"/>
                </a:solidFill>
              </a:rPr>
              <a:pPr>
                <a:spcBef>
                  <a:spcPct val="0"/>
                </a:spcBef>
                <a:spcAft>
                  <a:spcPct val="0"/>
                </a:spcAft>
              </a:pPr>
              <a:t>43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2" name="Rectangle 21"/>
          <p:cNvSpPr/>
          <p:nvPr>
            <p:custDataLst>
              <p:tags r:id="rId71"/>
            </p:custDataLst>
          </p:nvPr>
        </p:nvSpPr>
        <p:spPr bwMode="auto">
          <a:xfrm>
            <a:off x="781050" y="1809750"/>
            <a:ext cx="393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4904850-40FB-4160-B773-5855B8A7F41A}" type="datetime'I''s''''''p''''''a''''n''''''i''''''''''j''''a'''">
              <a:rPr lang="en-US" sz="1000">
                <a:solidFill>
                  <a:schemeClr val="tx1"/>
                </a:solidFill>
              </a:rPr>
              <a:pPr algn="r">
                <a:spcBef>
                  <a:spcPct val="0"/>
                </a:spcBef>
                <a:spcAft>
                  <a:spcPct val="0"/>
                </a:spcAft>
              </a:pPr>
              <a:t>Ispanija</a:t>
            </a:fld>
            <a:endParaRPr lang="en-US" sz="1000" dirty="0">
              <a:solidFill>
                <a:schemeClr val="tx1"/>
              </a:solidFill>
              <a:latin typeface="Calibri"/>
              <a:sym typeface="Calibri"/>
            </a:endParaRPr>
          </a:p>
        </p:txBody>
      </p:sp>
      <p:sp>
        <p:nvSpPr>
          <p:cNvPr id="23" name="Rectangle 22"/>
          <p:cNvSpPr/>
          <p:nvPr>
            <p:custDataLst>
              <p:tags r:id="rId72"/>
            </p:custDataLst>
          </p:nvPr>
        </p:nvSpPr>
        <p:spPr bwMode="gray">
          <a:xfrm>
            <a:off x="2473325" y="18097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3D40278-A151-4A0D-B1F6-74ABE0B4A037}" type="datetime'''''''2''''''''6''''''''%'''''''">
              <a:rPr lang="en-US" sz="1000">
                <a:solidFill>
                  <a:schemeClr val="tx1"/>
                </a:solidFill>
              </a:rPr>
              <a:pPr>
                <a:spcBef>
                  <a:spcPct val="0"/>
                </a:spcBef>
                <a:spcAft>
                  <a:spcPct val="0"/>
                </a:spcAft>
              </a:pPr>
              <a:t>26%</a:t>
            </a:fld>
            <a:r>
              <a:rPr lang="en-US" sz="1000" smtClean="0">
                <a:solidFill>
                  <a:schemeClr val="tx1"/>
                </a:solidFill>
                <a:latin typeface="Calibri"/>
                <a:sym typeface="Calibri"/>
              </a:rPr>
              <a:t> (</a:t>
            </a:r>
            <a:fld id="{E7024C9B-C8A5-4EF4-8635-7EE385AF02FD}" type="datetime'''''''''''''''''''''''''''''''4''''''''''80'''''">
              <a:rPr lang="en-US" sz="1000">
                <a:solidFill>
                  <a:schemeClr val="tx1"/>
                </a:solidFill>
              </a:rPr>
              <a:pPr>
                <a:spcBef>
                  <a:spcPct val="0"/>
                </a:spcBef>
                <a:spcAft>
                  <a:spcPct val="0"/>
                </a:spcAft>
              </a:pPr>
              <a:t>48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4" name="Rectangle 23"/>
          <p:cNvSpPr/>
          <p:nvPr>
            <p:custDataLst>
              <p:tags r:id="rId73"/>
            </p:custDataLst>
          </p:nvPr>
        </p:nvSpPr>
        <p:spPr bwMode="auto">
          <a:xfrm>
            <a:off x="877888" y="1681163"/>
            <a:ext cx="2968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4B6FE9B-C198-4835-9A70-431D27394D79}" type="datetime'''''I''t''''''a''''''li''''''''''''''''''''j''a'''''''''''''">
              <a:rPr lang="en-US" sz="1000" b="1">
                <a:solidFill>
                  <a:schemeClr val="tx1"/>
                </a:solidFill>
              </a:rPr>
              <a:pPr algn="r">
                <a:spcBef>
                  <a:spcPct val="0"/>
                </a:spcBef>
                <a:spcAft>
                  <a:spcPct val="0"/>
                </a:spcAft>
              </a:pPr>
              <a:t>Italija</a:t>
            </a:fld>
            <a:endParaRPr lang="en-US" sz="1000" b="1" dirty="0">
              <a:solidFill>
                <a:schemeClr val="tx1"/>
              </a:solidFill>
              <a:latin typeface="Calibri"/>
              <a:sym typeface="Calibri"/>
            </a:endParaRPr>
          </a:p>
        </p:txBody>
      </p:sp>
      <p:sp>
        <p:nvSpPr>
          <p:cNvPr id="25" name="Rectangle 24"/>
          <p:cNvSpPr/>
          <p:nvPr>
            <p:custDataLst>
              <p:tags r:id="rId74"/>
            </p:custDataLst>
          </p:nvPr>
        </p:nvSpPr>
        <p:spPr bwMode="gray">
          <a:xfrm>
            <a:off x="2654300" y="16811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4991B14-6AA6-4963-AADD-79113BABCC23}" type="datetime'3''''''''''''''0''''''''''''''''''''%'''''''''''''''''''''''''">
              <a:rPr lang="en-US" sz="1000">
                <a:solidFill>
                  <a:schemeClr val="tx1"/>
                </a:solidFill>
              </a:rPr>
              <a:pPr>
                <a:spcBef>
                  <a:spcPct val="0"/>
                </a:spcBef>
                <a:spcAft>
                  <a:spcPct val="0"/>
                </a:spcAft>
              </a:pPr>
              <a:t>30%</a:t>
            </a:fld>
            <a:r>
              <a:rPr lang="en-US" sz="1000" smtClean="0">
                <a:solidFill>
                  <a:schemeClr val="tx1"/>
                </a:solidFill>
                <a:latin typeface="Calibri"/>
                <a:sym typeface="Calibri"/>
              </a:rPr>
              <a:t> (</a:t>
            </a:r>
            <a:fld id="{34B2A13B-5E30-4FF9-BC13-CBE0A4945CAC}" type="datetime'''''''''''''''5''5''5'''''''''''''''''''''''''''''''''''">
              <a:rPr lang="en-US" sz="1000">
                <a:solidFill>
                  <a:schemeClr val="tx1"/>
                </a:solidFill>
              </a:rPr>
              <a:pPr>
                <a:spcBef>
                  <a:spcPct val="0"/>
                </a:spcBef>
                <a:spcAft>
                  <a:spcPct val="0"/>
                </a:spcAft>
              </a:pPr>
              <a:t>55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6" name="Rectangle 25"/>
          <p:cNvSpPr/>
          <p:nvPr>
            <p:custDataLst>
              <p:tags r:id="rId75"/>
            </p:custDataLst>
          </p:nvPr>
        </p:nvSpPr>
        <p:spPr bwMode="auto">
          <a:xfrm>
            <a:off x="812800" y="1552575"/>
            <a:ext cx="3619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C23A3C1-A7FC-4263-A419-A07CC54F5476}" type="datetime'''''''Tu''''rki''''''''''''''''j''''''''''''a'''''''''''''">
              <a:rPr lang="en-US" sz="1000" b="1">
                <a:solidFill>
                  <a:schemeClr val="tx1"/>
                </a:solidFill>
              </a:rPr>
              <a:pPr algn="r">
                <a:spcBef>
                  <a:spcPct val="0"/>
                </a:spcBef>
                <a:spcAft>
                  <a:spcPct val="0"/>
                </a:spcAft>
              </a:pPr>
              <a:t>Turkija</a:t>
            </a:fld>
            <a:endParaRPr lang="en-US" sz="1000" b="1" dirty="0">
              <a:solidFill>
                <a:schemeClr val="tx1"/>
              </a:solidFill>
              <a:latin typeface="Calibri"/>
              <a:sym typeface="Calibri"/>
            </a:endParaRPr>
          </a:p>
        </p:txBody>
      </p:sp>
      <p:sp>
        <p:nvSpPr>
          <p:cNvPr id="27" name="Rectangle 26"/>
          <p:cNvSpPr/>
          <p:nvPr>
            <p:custDataLst>
              <p:tags r:id="rId76"/>
            </p:custDataLst>
          </p:nvPr>
        </p:nvSpPr>
        <p:spPr bwMode="gray">
          <a:xfrm>
            <a:off x="2901950" y="15525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FB74A36-467C-48F7-9DCF-F7D1C4992002}" type="datetime'''''3''6%'''''''''''''''''''''">
              <a:rPr lang="en-US" sz="1000">
                <a:solidFill>
                  <a:schemeClr val="tx1"/>
                </a:solidFill>
              </a:rPr>
              <a:pPr>
                <a:spcBef>
                  <a:spcPct val="0"/>
                </a:spcBef>
                <a:spcAft>
                  <a:spcPct val="0"/>
                </a:spcAft>
              </a:pPr>
              <a:t>36%</a:t>
            </a:fld>
            <a:r>
              <a:rPr lang="en-US" sz="1000" smtClean="0">
                <a:solidFill>
                  <a:schemeClr val="tx1"/>
                </a:solidFill>
                <a:latin typeface="Calibri"/>
                <a:sym typeface="Calibri"/>
              </a:rPr>
              <a:t> (</a:t>
            </a:r>
            <a:fld id="{367E49CD-7A65-4F68-A977-382464039C26}" type="datetime'''''''''''''6''''''''''''''''''''''54'''''''">
              <a:rPr lang="en-US" sz="1000">
                <a:solidFill>
                  <a:schemeClr val="tx1"/>
                </a:solidFill>
              </a:rPr>
              <a:pPr>
                <a:spcBef>
                  <a:spcPct val="0"/>
                </a:spcBef>
                <a:spcAft>
                  <a:spcPct val="0"/>
                </a:spcAft>
              </a:pPr>
              <a:t>65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8" name="Rectangle 27"/>
          <p:cNvSpPr/>
          <p:nvPr>
            <p:custDataLst>
              <p:tags r:id="rId77"/>
            </p:custDataLst>
          </p:nvPr>
        </p:nvSpPr>
        <p:spPr bwMode="auto">
          <a:xfrm>
            <a:off x="669925" y="1423988"/>
            <a:ext cx="504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561FC7D-14A8-4C06-A93B-FF88FC34F982}" type="datetime'''''''''R''''''''''''''u''''''''''m''u''n''''i''''ja'''''''''">
              <a:rPr lang="en-US" sz="1000" b="1">
                <a:solidFill>
                  <a:schemeClr val="tx1"/>
                </a:solidFill>
              </a:rPr>
              <a:pPr algn="r">
                <a:spcBef>
                  <a:spcPct val="0"/>
                </a:spcBef>
                <a:spcAft>
                  <a:spcPct val="0"/>
                </a:spcAft>
              </a:pPr>
              <a:t>Rumunija</a:t>
            </a:fld>
            <a:endParaRPr lang="en-US" sz="1000" b="1" dirty="0">
              <a:solidFill>
                <a:schemeClr val="tx1"/>
              </a:solidFill>
              <a:latin typeface="Calibri"/>
              <a:sym typeface="Calibri"/>
            </a:endParaRPr>
          </a:p>
        </p:txBody>
      </p:sp>
      <p:sp>
        <p:nvSpPr>
          <p:cNvPr id="29" name="Rectangle 28"/>
          <p:cNvSpPr/>
          <p:nvPr>
            <p:custDataLst>
              <p:tags r:id="rId78"/>
            </p:custDataLst>
          </p:nvPr>
        </p:nvSpPr>
        <p:spPr bwMode="gray">
          <a:xfrm>
            <a:off x="3006725" y="14239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4F4DF71-C7DF-4514-8259-D7A1F7FFE39B}" type="datetime'''''''''''''''''''''''''''''''''3''''''''8''%'">
              <a:rPr lang="en-US" sz="1000">
                <a:solidFill>
                  <a:schemeClr val="tx1"/>
                </a:solidFill>
              </a:rPr>
              <a:pPr>
                <a:spcBef>
                  <a:spcPct val="0"/>
                </a:spcBef>
                <a:spcAft>
                  <a:spcPct val="0"/>
                </a:spcAft>
              </a:pPr>
              <a:t>38%</a:t>
            </a:fld>
            <a:r>
              <a:rPr lang="en-US" sz="1000" smtClean="0">
                <a:solidFill>
                  <a:schemeClr val="tx1"/>
                </a:solidFill>
                <a:latin typeface="Calibri"/>
                <a:sym typeface="Calibri"/>
              </a:rPr>
              <a:t> (</a:t>
            </a:r>
            <a:fld id="{3BCAD990-F53F-4E1E-8508-A820B0838E9A}" type="datetime'''''''''6''''''''''''''''''''''''''''''9''''''''''''''''7'''">
              <a:rPr lang="en-US" sz="1000">
                <a:solidFill>
                  <a:schemeClr val="tx1"/>
                </a:solidFill>
              </a:rPr>
              <a:pPr>
                <a:spcBef>
                  <a:spcPct val="0"/>
                </a:spcBef>
                <a:spcAft>
                  <a:spcPct val="0"/>
                </a:spcAft>
              </a:pPr>
              <a:t>69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0" name="Rectangle 29"/>
          <p:cNvSpPr/>
          <p:nvPr>
            <p:custDataLst>
              <p:tags r:id="rId79"/>
            </p:custDataLst>
          </p:nvPr>
        </p:nvSpPr>
        <p:spPr bwMode="auto">
          <a:xfrm>
            <a:off x="803275" y="1295400"/>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A2B3B8D-91DD-4255-8DF8-66AAAC72CBFE}" type="datetime'''L''e''''''''''nk''''''ij''''''''''''''a'''''">
              <a:rPr lang="en-US" sz="1000" b="1">
                <a:solidFill>
                  <a:schemeClr val="tx1"/>
                </a:solidFill>
              </a:rPr>
              <a:pPr algn="r">
                <a:spcBef>
                  <a:spcPct val="0"/>
                </a:spcBef>
                <a:spcAft>
                  <a:spcPct val="0"/>
                </a:spcAft>
              </a:pPr>
              <a:t>Lenkija</a:t>
            </a:fld>
            <a:endParaRPr lang="en-US" sz="1000" b="1" dirty="0">
              <a:solidFill>
                <a:schemeClr val="tx1"/>
              </a:solidFill>
              <a:latin typeface="Calibri"/>
              <a:sym typeface="Calibri"/>
            </a:endParaRPr>
          </a:p>
        </p:txBody>
      </p:sp>
      <p:sp>
        <p:nvSpPr>
          <p:cNvPr id="31" name="Rectangle 30"/>
          <p:cNvSpPr/>
          <p:nvPr>
            <p:custDataLst>
              <p:tags r:id="rId80"/>
            </p:custDataLst>
          </p:nvPr>
        </p:nvSpPr>
        <p:spPr bwMode="gray">
          <a:xfrm>
            <a:off x="3387725" y="12954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F221CA2-2AEF-40F3-B872-6A6D8A5C989E}" type="datetime'''''''''4''''''''7''''''''''''''''''''''''%'''''''''''''">
              <a:rPr lang="en-US" sz="1000">
                <a:solidFill>
                  <a:schemeClr val="tx1"/>
                </a:solidFill>
              </a:rPr>
              <a:pPr>
                <a:spcBef>
                  <a:spcPct val="0"/>
                </a:spcBef>
                <a:spcAft>
                  <a:spcPct val="0"/>
                </a:spcAft>
              </a:pPr>
              <a:t>47%</a:t>
            </a:fld>
            <a:r>
              <a:rPr lang="en-US" sz="1000" smtClean="0">
                <a:solidFill>
                  <a:schemeClr val="tx1"/>
                </a:solidFill>
                <a:latin typeface="Calibri"/>
                <a:sym typeface="Calibri"/>
              </a:rPr>
              <a:t> (</a:t>
            </a:r>
            <a:fld id="{C5D2E98A-FDD6-4524-A8B1-1C3BD7D109DC}" type="datetime'''''8''5''''3'''''''''''''''''''''''">
              <a:rPr lang="en-US" sz="1000">
                <a:solidFill>
                  <a:schemeClr val="tx1"/>
                </a:solidFill>
              </a:rPr>
              <a:pPr>
                <a:spcBef>
                  <a:spcPct val="0"/>
                </a:spcBef>
                <a:spcAft>
                  <a:spcPct val="0"/>
                </a:spcAft>
              </a:pPr>
              <a:t>85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grpSp>
        <p:nvGrpSpPr>
          <p:cNvPr id="84" name="Group 83"/>
          <p:cNvGrpSpPr/>
          <p:nvPr/>
        </p:nvGrpSpPr>
        <p:grpSpPr>
          <a:xfrm>
            <a:off x="2886840" y="1423687"/>
            <a:ext cx="6184725" cy="4714344"/>
            <a:chOff x="2705100" y="769938"/>
            <a:chExt cx="6408055" cy="4884579"/>
          </a:xfrm>
        </p:grpSpPr>
        <p:grpSp>
          <p:nvGrpSpPr>
            <p:cNvPr id="85" name="Group 84"/>
            <p:cNvGrpSpPr/>
            <p:nvPr>
              <p:custDataLst>
                <p:tags r:id="rId81"/>
              </p:custDataLst>
            </p:nvPr>
          </p:nvGrpSpPr>
          <p:grpSpPr>
            <a:xfrm>
              <a:off x="2705100" y="769938"/>
              <a:ext cx="6307715" cy="4746610"/>
              <a:chOff x="273744" y="72603"/>
              <a:chExt cx="8269356" cy="6652681"/>
            </a:xfrm>
          </p:grpSpPr>
          <p:grpSp>
            <p:nvGrpSpPr>
              <p:cNvPr id="138" name="Group 137"/>
              <p:cNvGrpSpPr/>
              <p:nvPr>
                <p:custDataLst>
                  <p:tags r:id="rId99"/>
                </p:custDataLst>
              </p:nvPr>
            </p:nvGrpSpPr>
            <p:grpSpPr>
              <a:xfrm>
                <a:off x="273744" y="72603"/>
                <a:ext cx="8269356" cy="6652681"/>
                <a:chOff x="273744" y="72603"/>
                <a:chExt cx="8269356" cy="6652681"/>
              </a:xfrm>
            </p:grpSpPr>
            <p:grpSp>
              <p:nvGrpSpPr>
                <p:cNvPr id="140" name="Group 139"/>
                <p:cNvGrpSpPr/>
                <p:nvPr/>
              </p:nvGrpSpPr>
              <p:grpSpPr>
                <a:xfrm>
                  <a:off x="273744" y="72603"/>
                  <a:ext cx="8269356" cy="6652681"/>
                  <a:chOff x="492981" y="182880"/>
                  <a:chExt cx="8269356" cy="6652681"/>
                </a:xfrm>
                <a:noFill/>
              </p:grpSpPr>
              <p:grpSp>
                <p:nvGrpSpPr>
                  <p:cNvPr id="148" name="Group 147"/>
                  <p:cNvGrpSpPr/>
                  <p:nvPr/>
                </p:nvGrpSpPr>
                <p:grpSpPr>
                  <a:xfrm>
                    <a:off x="3805238" y="3551013"/>
                    <a:ext cx="3212647" cy="1813943"/>
                    <a:chOff x="3805238" y="3551013"/>
                    <a:chExt cx="3212647" cy="1813943"/>
                  </a:xfrm>
                  <a:grpFill/>
                </p:grpSpPr>
                <p:grpSp>
                  <p:nvGrpSpPr>
                    <p:cNvPr id="334" name="Group 333"/>
                    <p:cNvGrpSpPr/>
                    <p:nvPr/>
                  </p:nvGrpSpPr>
                  <p:grpSpPr>
                    <a:xfrm>
                      <a:off x="3805238" y="4760026"/>
                      <a:ext cx="723900" cy="604930"/>
                      <a:chOff x="3805238" y="4760026"/>
                      <a:chExt cx="723900" cy="604930"/>
                    </a:xfrm>
                    <a:grpFill/>
                  </p:grpSpPr>
                  <p:sp>
                    <p:nvSpPr>
                      <p:cNvPr id="336" name="Freeform 335"/>
                      <p:cNvSpPr/>
                      <p:nvPr/>
                    </p:nvSpPr>
                    <p:spPr>
                      <a:xfrm>
                        <a:off x="3805238" y="4760026"/>
                        <a:ext cx="723900" cy="604930"/>
                      </a:xfrm>
                      <a:custGeom>
                        <a:avLst/>
                        <a:gdLst>
                          <a:gd name="connsiteX0" fmla="*/ 2381 w 723900"/>
                          <a:gd name="connsiteY0" fmla="*/ 164399 h 604930"/>
                          <a:gd name="connsiteX1" fmla="*/ 2381 w 723900"/>
                          <a:gd name="connsiteY1" fmla="*/ 164399 h 604930"/>
                          <a:gd name="connsiteX2" fmla="*/ 21431 w 723900"/>
                          <a:gd name="connsiteY2" fmla="*/ 157255 h 604930"/>
                          <a:gd name="connsiteX3" fmla="*/ 28575 w 723900"/>
                          <a:gd name="connsiteY3" fmla="*/ 152493 h 604930"/>
                          <a:gd name="connsiteX4" fmla="*/ 42862 w 723900"/>
                          <a:gd name="connsiteY4" fmla="*/ 147730 h 604930"/>
                          <a:gd name="connsiteX5" fmla="*/ 57150 w 723900"/>
                          <a:gd name="connsiteY5" fmla="*/ 140587 h 604930"/>
                          <a:gd name="connsiteX6" fmla="*/ 64293 w 723900"/>
                          <a:gd name="connsiteY6" fmla="*/ 135824 h 604930"/>
                          <a:gd name="connsiteX7" fmla="*/ 71437 w 723900"/>
                          <a:gd name="connsiteY7" fmla="*/ 128680 h 604930"/>
                          <a:gd name="connsiteX8" fmla="*/ 88106 w 723900"/>
                          <a:gd name="connsiteY8" fmla="*/ 119155 h 604930"/>
                          <a:gd name="connsiteX9" fmla="*/ 114300 w 723900"/>
                          <a:gd name="connsiteY9" fmla="*/ 116774 h 604930"/>
                          <a:gd name="connsiteX10" fmla="*/ 164306 w 723900"/>
                          <a:gd name="connsiteY10" fmla="*/ 119155 h 604930"/>
                          <a:gd name="connsiteX11" fmla="*/ 178593 w 723900"/>
                          <a:gd name="connsiteY11" fmla="*/ 126299 h 604930"/>
                          <a:gd name="connsiteX12" fmla="*/ 185737 w 723900"/>
                          <a:gd name="connsiteY12" fmla="*/ 128680 h 604930"/>
                          <a:gd name="connsiteX13" fmla="*/ 197643 w 723900"/>
                          <a:gd name="connsiteY13" fmla="*/ 116774 h 604930"/>
                          <a:gd name="connsiteX14" fmla="*/ 204787 w 723900"/>
                          <a:gd name="connsiteY14" fmla="*/ 109630 h 604930"/>
                          <a:gd name="connsiteX15" fmla="*/ 221456 w 723900"/>
                          <a:gd name="connsiteY15" fmla="*/ 90580 h 604930"/>
                          <a:gd name="connsiteX16" fmla="*/ 290512 w 723900"/>
                          <a:gd name="connsiteY16" fmla="*/ 90580 h 604930"/>
                          <a:gd name="connsiteX17" fmla="*/ 297656 w 723900"/>
                          <a:gd name="connsiteY17" fmla="*/ 88199 h 604930"/>
                          <a:gd name="connsiteX18" fmla="*/ 304800 w 723900"/>
                          <a:gd name="connsiteY18" fmla="*/ 83437 h 604930"/>
                          <a:gd name="connsiteX19" fmla="*/ 321468 w 723900"/>
                          <a:gd name="connsiteY19" fmla="*/ 78674 h 604930"/>
                          <a:gd name="connsiteX20" fmla="*/ 335756 w 723900"/>
                          <a:gd name="connsiteY20" fmla="*/ 73912 h 604930"/>
                          <a:gd name="connsiteX21" fmla="*/ 340518 w 723900"/>
                          <a:gd name="connsiteY21" fmla="*/ 66768 h 604930"/>
                          <a:gd name="connsiteX22" fmla="*/ 345281 w 723900"/>
                          <a:gd name="connsiteY22" fmla="*/ 50099 h 604930"/>
                          <a:gd name="connsiteX23" fmla="*/ 347662 w 723900"/>
                          <a:gd name="connsiteY23" fmla="*/ 26287 h 604930"/>
                          <a:gd name="connsiteX24" fmla="*/ 352425 w 723900"/>
                          <a:gd name="connsiteY24" fmla="*/ 19143 h 604930"/>
                          <a:gd name="connsiteX25" fmla="*/ 392906 w 723900"/>
                          <a:gd name="connsiteY25" fmla="*/ 7237 h 604930"/>
                          <a:gd name="connsiteX26" fmla="*/ 400050 w 723900"/>
                          <a:gd name="connsiteY26" fmla="*/ 4855 h 604930"/>
                          <a:gd name="connsiteX27" fmla="*/ 407193 w 723900"/>
                          <a:gd name="connsiteY27" fmla="*/ 93 h 604930"/>
                          <a:gd name="connsiteX28" fmla="*/ 428625 w 723900"/>
                          <a:gd name="connsiteY28" fmla="*/ 4855 h 604930"/>
                          <a:gd name="connsiteX29" fmla="*/ 433387 w 723900"/>
                          <a:gd name="connsiteY29" fmla="*/ 11999 h 604930"/>
                          <a:gd name="connsiteX30" fmla="*/ 440531 w 723900"/>
                          <a:gd name="connsiteY30" fmla="*/ 26287 h 604930"/>
                          <a:gd name="connsiteX31" fmla="*/ 447675 w 723900"/>
                          <a:gd name="connsiteY31" fmla="*/ 31049 h 604930"/>
                          <a:gd name="connsiteX32" fmla="*/ 457200 w 723900"/>
                          <a:gd name="connsiteY32" fmla="*/ 45337 h 604930"/>
                          <a:gd name="connsiteX33" fmla="*/ 464343 w 723900"/>
                          <a:gd name="connsiteY33" fmla="*/ 59624 h 604930"/>
                          <a:gd name="connsiteX34" fmla="*/ 478631 w 723900"/>
                          <a:gd name="connsiteY34" fmla="*/ 69149 h 604930"/>
                          <a:gd name="connsiteX35" fmla="*/ 485775 w 723900"/>
                          <a:gd name="connsiteY35" fmla="*/ 73912 h 604930"/>
                          <a:gd name="connsiteX36" fmla="*/ 490537 w 723900"/>
                          <a:gd name="connsiteY36" fmla="*/ 81055 h 604930"/>
                          <a:gd name="connsiteX37" fmla="*/ 497681 w 723900"/>
                          <a:gd name="connsiteY37" fmla="*/ 83437 h 604930"/>
                          <a:gd name="connsiteX38" fmla="*/ 504825 w 723900"/>
                          <a:gd name="connsiteY38" fmla="*/ 88199 h 604930"/>
                          <a:gd name="connsiteX39" fmla="*/ 519112 w 723900"/>
                          <a:gd name="connsiteY39" fmla="*/ 92962 h 604930"/>
                          <a:gd name="connsiteX40" fmla="*/ 533400 w 723900"/>
                          <a:gd name="connsiteY40" fmla="*/ 97724 h 604930"/>
                          <a:gd name="connsiteX41" fmla="*/ 540543 w 723900"/>
                          <a:gd name="connsiteY41" fmla="*/ 100105 h 604930"/>
                          <a:gd name="connsiteX42" fmla="*/ 547687 w 723900"/>
                          <a:gd name="connsiteY42" fmla="*/ 104868 h 604930"/>
                          <a:gd name="connsiteX43" fmla="*/ 578643 w 723900"/>
                          <a:gd name="connsiteY43" fmla="*/ 109630 h 604930"/>
                          <a:gd name="connsiteX44" fmla="*/ 592931 w 723900"/>
                          <a:gd name="connsiteY44" fmla="*/ 116774 h 604930"/>
                          <a:gd name="connsiteX45" fmla="*/ 597693 w 723900"/>
                          <a:gd name="connsiteY45" fmla="*/ 123918 h 604930"/>
                          <a:gd name="connsiteX46" fmla="*/ 611981 w 723900"/>
                          <a:gd name="connsiteY46" fmla="*/ 128680 h 604930"/>
                          <a:gd name="connsiteX47" fmla="*/ 631031 w 723900"/>
                          <a:gd name="connsiteY47" fmla="*/ 126299 h 604930"/>
                          <a:gd name="connsiteX48" fmla="*/ 638175 w 723900"/>
                          <a:gd name="connsiteY48" fmla="*/ 123918 h 604930"/>
                          <a:gd name="connsiteX49" fmla="*/ 640556 w 723900"/>
                          <a:gd name="connsiteY49" fmla="*/ 116774 h 604930"/>
                          <a:gd name="connsiteX50" fmla="*/ 654843 w 723900"/>
                          <a:gd name="connsiteY50" fmla="*/ 107249 h 604930"/>
                          <a:gd name="connsiteX51" fmla="*/ 673893 w 723900"/>
                          <a:gd name="connsiteY51" fmla="*/ 123918 h 604930"/>
                          <a:gd name="connsiteX52" fmla="*/ 678656 w 723900"/>
                          <a:gd name="connsiteY52" fmla="*/ 138205 h 604930"/>
                          <a:gd name="connsiteX53" fmla="*/ 681037 w 723900"/>
                          <a:gd name="connsiteY53" fmla="*/ 145349 h 604930"/>
                          <a:gd name="connsiteX54" fmla="*/ 683418 w 723900"/>
                          <a:gd name="connsiteY54" fmla="*/ 152493 h 604930"/>
                          <a:gd name="connsiteX55" fmla="*/ 692943 w 723900"/>
                          <a:gd name="connsiteY55" fmla="*/ 176305 h 604930"/>
                          <a:gd name="connsiteX56" fmla="*/ 700087 w 723900"/>
                          <a:gd name="connsiteY56" fmla="*/ 178687 h 604930"/>
                          <a:gd name="connsiteX57" fmla="*/ 697706 w 723900"/>
                          <a:gd name="connsiteY57" fmla="*/ 188212 h 604930"/>
                          <a:gd name="connsiteX58" fmla="*/ 695325 w 723900"/>
                          <a:gd name="connsiteY58" fmla="*/ 195355 h 604930"/>
                          <a:gd name="connsiteX59" fmla="*/ 704850 w 723900"/>
                          <a:gd name="connsiteY59" fmla="*/ 219168 h 604930"/>
                          <a:gd name="connsiteX60" fmla="*/ 711993 w 723900"/>
                          <a:gd name="connsiteY60" fmla="*/ 221549 h 604930"/>
                          <a:gd name="connsiteX61" fmla="*/ 723900 w 723900"/>
                          <a:gd name="connsiteY61" fmla="*/ 242980 h 604930"/>
                          <a:gd name="connsiteX62" fmla="*/ 716756 w 723900"/>
                          <a:gd name="connsiteY62" fmla="*/ 247743 h 604930"/>
                          <a:gd name="connsiteX63" fmla="*/ 709612 w 723900"/>
                          <a:gd name="connsiteY63" fmla="*/ 250124 h 604930"/>
                          <a:gd name="connsiteX64" fmla="*/ 704850 w 723900"/>
                          <a:gd name="connsiteY64" fmla="*/ 257268 h 604930"/>
                          <a:gd name="connsiteX65" fmla="*/ 702468 w 723900"/>
                          <a:gd name="connsiteY65" fmla="*/ 292987 h 604930"/>
                          <a:gd name="connsiteX66" fmla="*/ 692943 w 723900"/>
                          <a:gd name="connsiteY66" fmla="*/ 290605 h 604930"/>
                          <a:gd name="connsiteX67" fmla="*/ 676275 w 723900"/>
                          <a:gd name="connsiteY67" fmla="*/ 271555 h 604930"/>
                          <a:gd name="connsiteX68" fmla="*/ 661987 w 723900"/>
                          <a:gd name="connsiteY68" fmla="*/ 264412 h 604930"/>
                          <a:gd name="connsiteX69" fmla="*/ 647700 w 723900"/>
                          <a:gd name="connsiteY69" fmla="*/ 252505 h 604930"/>
                          <a:gd name="connsiteX70" fmla="*/ 628650 w 723900"/>
                          <a:gd name="connsiteY70" fmla="*/ 247743 h 604930"/>
                          <a:gd name="connsiteX71" fmla="*/ 614362 w 723900"/>
                          <a:gd name="connsiteY71" fmla="*/ 242980 h 604930"/>
                          <a:gd name="connsiteX72" fmla="*/ 607218 w 723900"/>
                          <a:gd name="connsiteY72" fmla="*/ 240599 h 604930"/>
                          <a:gd name="connsiteX73" fmla="*/ 600075 w 723900"/>
                          <a:gd name="connsiteY73" fmla="*/ 235837 h 604930"/>
                          <a:gd name="connsiteX74" fmla="*/ 576262 w 723900"/>
                          <a:gd name="connsiteY74" fmla="*/ 231074 h 604930"/>
                          <a:gd name="connsiteX75" fmla="*/ 523875 w 723900"/>
                          <a:gd name="connsiteY75" fmla="*/ 228693 h 604930"/>
                          <a:gd name="connsiteX76" fmla="*/ 514350 w 723900"/>
                          <a:gd name="connsiteY76" fmla="*/ 226312 h 604930"/>
                          <a:gd name="connsiteX77" fmla="*/ 507206 w 723900"/>
                          <a:gd name="connsiteY77" fmla="*/ 223930 h 604930"/>
                          <a:gd name="connsiteX78" fmla="*/ 459581 w 723900"/>
                          <a:gd name="connsiteY78" fmla="*/ 226312 h 604930"/>
                          <a:gd name="connsiteX79" fmla="*/ 454818 w 723900"/>
                          <a:gd name="connsiteY79" fmla="*/ 240599 h 604930"/>
                          <a:gd name="connsiteX80" fmla="*/ 452437 w 723900"/>
                          <a:gd name="connsiteY80" fmla="*/ 262030 h 604930"/>
                          <a:gd name="connsiteX81" fmla="*/ 440531 w 723900"/>
                          <a:gd name="connsiteY81" fmla="*/ 273937 h 604930"/>
                          <a:gd name="connsiteX82" fmla="*/ 433387 w 723900"/>
                          <a:gd name="connsiteY82" fmla="*/ 276318 h 604930"/>
                          <a:gd name="connsiteX83" fmla="*/ 426243 w 723900"/>
                          <a:gd name="connsiteY83" fmla="*/ 281080 h 604930"/>
                          <a:gd name="connsiteX84" fmla="*/ 411956 w 723900"/>
                          <a:gd name="connsiteY84" fmla="*/ 288224 h 604930"/>
                          <a:gd name="connsiteX85" fmla="*/ 383381 w 723900"/>
                          <a:gd name="connsiteY85" fmla="*/ 276318 h 604930"/>
                          <a:gd name="connsiteX86" fmla="*/ 376237 w 723900"/>
                          <a:gd name="connsiteY86" fmla="*/ 271555 h 604930"/>
                          <a:gd name="connsiteX87" fmla="*/ 369093 w 723900"/>
                          <a:gd name="connsiteY87" fmla="*/ 266793 h 604930"/>
                          <a:gd name="connsiteX88" fmla="*/ 357187 w 723900"/>
                          <a:gd name="connsiteY88" fmla="*/ 252505 h 604930"/>
                          <a:gd name="connsiteX89" fmla="*/ 342900 w 723900"/>
                          <a:gd name="connsiteY89" fmla="*/ 247743 h 604930"/>
                          <a:gd name="connsiteX90" fmla="*/ 335756 w 723900"/>
                          <a:gd name="connsiteY90" fmla="*/ 242980 h 604930"/>
                          <a:gd name="connsiteX91" fmla="*/ 321468 w 723900"/>
                          <a:gd name="connsiteY91" fmla="*/ 235837 h 604930"/>
                          <a:gd name="connsiteX92" fmla="*/ 309562 w 723900"/>
                          <a:gd name="connsiteY92" fmla="*/ 292987 h 604930"/>
                          <a:gd name="connsiteX93" fmla="*/ 304800 w 723900"/>
                          <a:gd name="connsiteY93" fmla="*/ 321562 h 604930"/>
                          <a:gd name="connsiteX94" fmla="*/ 307181 w 723900"/>
                          <a:gd name="connsiteY94" fmla="*/ 342993 h 604930"/>
                          <a:gd name="connsiteX95" fmla="*/ 319087 w 723900"/>
                          <a:gd name="connsiteY95" fmla="*/ 364424 h 604930"/>
                          <a:gd name="connsiteX96" fmla="*/ 330993 w 723900"/>
                          <a:gd name="connsiteY96" fmla="*/ 376330 h 604930"/>
                          <a:gd name="connsiteX97" fmla="*/ 340518 w 723900"/>
                          <a:gd name="connsiteY97" fmla="*/ 397762 h 604930"/>
                          <a:gd name="connsiteX98" fmla="*/ 347662 w 723900"/>
                          <a:gd name="connsiteY98" fmla="*/ 404905 h 604930"/>
                          <a:gd name="connsiteX99" fmla="*/ 350043 w 723900"/>
                          <a:gd name="connsiteY99" fmla="*/ 412049 h 604930"/>
                          <a:gd name="connsiteX100" fmla="*/ 352425 w 723900"/>
                          <a:gd name="connsiteY100" fmla="*/ 421574 h 604930"/>
                          <a:gd name="connsiteX101" fmla="*/ 357187 w 723900"/>
                          <a:gd name="connsiteY101" fmla="*/ 428718 h 604930"/>
                          <a:gd name="connsiteX102" fmla="*/ 364331 w 723900"/>
                          <a:gd name="connsiteY102" fmla="*/ 452530 h 604930"/>
                          <a:gd name="connsiteX103" fmla="*/ 373856 w 723900"/>
                          <a:gd name="connsiteY103" fmla="*/ 466818 h 604930"/>
                          <a:gd name="connsiteX104" fmla="*/ 385762 w 723900"/>
                          <a:gd name="connsiteY104" fmla="*/ 488249 h 604930"/>
                          <a:gd name="connsiteX105" fmla="*/ 390525 w 723900"/>
                          <a:gd name="connsiteY105" fmla="*/ 495393 h 604930"/>
                          <a:gd name="connsiteX106" fmla="*/ 400050 w 723900"/>
                          <a:gd name="connsiteY106" fmla="*/ 516824 h 604930"/>
                          <a:gd name="connsiteX107" fmla="*/ 402431 w 723900"/>
                          <a:gd name="connsiteY107" fmla="*/ 523968 h 604930"/>
                          <a:gd name="connsiteX108" fmla="*/ 419100 w 723900"/>
                          <a:gd name="connsiteY108" fmla="*/ 543018 h 604930"/>
                          <a:gd name="connsiteX109" fmla="*/ 426243 w 723900"/>
                          <a:gd name="connsiteY109" fmla="*/ 545399 h 604930"/>
                          <a:gd name="connsiteX110" fmla="*/ 440531 w 723900"/>
                          <a:gd name="connsiteY110" fmla="*/ 554924 h 604930"/>
                          <a:gd name="connsiteX111" fmla="*/ 454818 w 723900"/>
                          <a:gd name="connsiteY111" fmla="*/ 559687 h 604930"/>
                          <a:gd name="connsiteX112" fmla="*/ 457200 w 723900"/>
                          <a:gd name="connsiteY112" fmla="*/ 566830 h 604930"/>
                          <a:gd name="connsiteX113" fmla="*/ 452437 w 723900"/>
                          <a:gd name="connsiteY113" fmla="*/ 602549 h 604930"/>
                          <a:gd name="connsiteX114" fmla="*/ 445293 w 723900"/>
                          <a:gd name="connsiteY114" fmla="*/ 604930 h 604930"/>
                          <a:gd name="connsiteX115" fmla="*/ 438150 w 723900"/>
                          <a:gd name="connsiteY115" fmla="*/ 600168 h 604930"/>
                          <a:gd name="connsiteX116" fmla="*/ 431006 w 723900"/>
                          <a:gd name="connsiteY116" fmla="*/ 585880 h 604930"/>
                          <a:gd name="connsiteX117" fmla="*/ 416718 w 723900"/>
                          <a:gd name="connsiteY117" fmla="*/ 576355 h 604930"/>
                          <a:gd name="connsiteX118" fmla="*/ 402431 w 723900"/>
                          <a:gd name="connsiteY118" fmla="*/ 562068 h 604930"/>
                          <a:gd name="connsiteX119" fmla="*/ 400050 w 723900"/>
                          <a:gd name="connsiteY119" fmla="*/ 554924 h 604930"/>
                          <a:gd name="connsiteX120" fmla="*/ 371475 w 723900"/>
                          <a:gd name="connsiteY120" fmla="*/ 552543 h 604930"/>
                          <a:gd name="connsiteX121" fmla="*/ 364331 w 723900"/>
                          <a:gd name="connsiteY121" fmla="*/ 550162 h 604930"/>
                          <a:gd name="connsiteX122" fmla="*/ 357187 w 723900"/>
                          <a:gd name="connsiteY122" fmla="*/ 545399 h 604930"/>
                          <a:gd name="connsiteX123" fmla="*/ 347662 w 723900"/>
                          <a:gd name="connsiteY123" fmla="*/ 531112 h 604930"/>
                          <a:gd name="connsiteX124" fmla="*/ 333375 w 723900"/>
                          <a:gd name="connsiteY124" fmla="*/ 533493 h 604930"/>
                          <a:gd name="connsiteX125" fmla="*/ 316706 w 723900"/>
                          <a:gd name="connsiteY125" fmla="*/ 538255 h 604930"/>
                          <a:gd name="connsiteX126" fmla="*/ 304800 w 723900"/>
                          <a:gd name="connsiteY126" fmla="*/ 540637 h 604930"/>
                          <a:gd name="connsiteX127" fmla="*/ 288131 w 723900"/>
                          <a:gd name="connsiteY127" fmla="*/ 538255 h 604930"/>
                          <a:gd name="connsiteX128" fmla="*/ 278606 w 723900"/>
                          <a:gd name="connsiteY128" fmla="*/ 523968 h 604930"/>
                          <a:gd name="connsiteX129" fmla="*/ 280987 w 723900"/>
                          <a:gd name="connsiteY129" fmla="*/ 514443 h 604930"/>
                          <a:gd name="connsiteX130" fmla="*/ 283368 w 723900"/>
                          <a:gd name="connsiteY130" fmla="*/ 507299 h 604930"/>
                          <a:gd name="connsiteX131" fmla="*/ 278606 w 723900"/>
                          <a:gd name="connsiteY131" fmla="*/ 497774 h 604930"/>
                          <a:gd name="connsiteX132" fmla="*/ 257175 w 723900"/>
                          <a:gd name="connsiteY132" fmla="*/ 478724 h 604930"/>
                          <a:gd name="connsiteX133" fmla="*/ 245268 w 723900"/>
                          <a:gd name="connsiteY133" fmla="*/ 466818 h 604930"/>
                          <a:gd name="connsiteX134" fmla="*/ 238125 w 723900"/>
                          <a:gd name="connsiteY134" fmla="*/ 457293 h 604930"/>
                          <a:gd name="connsiteX135" fmla="*/ 223837 w 723900"/>
                          <a:gd name="connsiteY135" fmla="*/ 445387 h 604930"/>
                          <a:gd name="connsiteX136" fmla="*/ 216693 w 723900"/>
                          <a:gd name="connsiteY136" fmla="*/ 438243 h 604930"/>
                          <a:gd name="connsiteX137" fmla="*/ 211931 w 723900"/>
                          <a:gd name="connsiteY137" fmla="*/ 431099 h 604930"/>
                          <a:gd name="connsiteX138" fmla="*/ 204787 w 723900"/>
                          <a:gd name="connsiteY138" fmla="*/ 428718 h 604930"/>
                          <a:gd name="connsiteX139" fmla="*/ 197643 w 723900"/>
                          <a:gd name="connsiteY139" fmla="*/ 423955 h 604930"/>
                          <a:gd name="connsiteX140" fmla="*/ 192881 w 723900"/>
                          <a:gd name="connsiteY140" fmla="*/ 388237 h 604930"/>
                          <a:gd name="connsiteX141" fmla="*/ 200025 w 723900"/>
                          <a:gd name="connsiteY141" fmla="*/ 383474 h 604930"/>
                          <a:gd name="connsiteX142" fmla="*/ 223837 w 723900"/>
                          <a:gd name="connsiteY142" fmla="*/ 385855 h 604930"/>
                          <a:gd name="connsiteX143" fmla="*/ 216693 w 723900"/>
                          <a:gd name="connsiteY143" fmla="*/ 378712 h 604930"/>
                          <a:gd name="connsiteX144" fmla="*/ 209550 w 723900"/>
                          <a:gd name="connsiteY144" fmla="*/ 373949 h 604930"/>
                          <a:gd name="connsiteX145" fmla="*/ 197643 w 723900"/>
                          <a:gd name="connsiteY145" fmla="*/ 362043 h 604930"/>
                          <a:gd name="connsiteX146" fmla="*/ 183356 w 723900"/>
                          <a:gd name="connsiteY146" fmla="*/ 342993 h 604930"/>
                          <a:gd name="connsiteX147" fmla="*/ 173831 w 723900"/>
                          <a:gd name="connsiteY147" fmla="*/ 328705 h 604930"/>
                          <a:gd name="connsiteX148" fmla="*/ 169068 w 723900"/>
                          <a:gd name="connsiteY148" fmla="*/ 321562 h 604930"/>
                          <a:gd name="connsiteX149" fmla="*/ 169068 w 723900"/>
                          <a:gd name="connsiteY149" fmla="*/ 273937 h 604930"/>
                          <a:gd name="connsiteX150" fmla="*/ 166687 w 723900"/>
                          <a:gd name="connsiteY150" fmla="*/ 245362 h 604930"/>
                          <a:gd name="connsiteX151" fmla="*/ 147637 w 723900"/>
                          <a:gd name="connsiteY151" fmla="*/ 228693 h 604930"/>
                          <a:gd name="connsiteX152" fmla="*/ 135731 w 723900"/>
                          <a:gd name="connsiteY152" fmla="*/ 214405 h 604930"/>
                          <a:gd name="connsiteX153" fmla="*/ 128587 w 723900"/>
                          <a:gd name="connsiteY153" fmla="*/ 200118 h 604930"/>
                          <a:gd name="connsiteX154" fmla="*/ 119062 w 723900"/>
                          <a:gd name="connsiteY154" fmla="*/ 192974 h 604930"/>
                          <a:gd name="connsiteX155" fmla="*/ 104775 w 723900"/>
                          <a:gd name="connsiteY155" fmla="*/ 188212 h 604930"/>
                          <a:gd name="connsiteX156" fmla="*/ 97631 w 723900"/>
                          <a:gd name="connsiteY156" fmla="*/ 190593 h 604930"/>
                          <a:gd name="connsiteX157" fmla="*/ 88106 w 723900"/>
                          <a:gd name="connsiteY157" fmla="*/ 204880 h 604930"/>
                          <a:gd name="connsiteX158" fmla="*/ 83343 w 723900"/>
                          <a:gd name="connsiteY158" fmla="*/ 212024 h 604930"/>
                          <a:gd name="connsiteX159" fmla="*/ 69056 w 723900"/>
                          <a:gd name="connsiteY159" fmla="*/ 219168 h 604930"/>
                          <a:gd name="connsiteX160" fmla="*/ 66675 w 723900"/>
                          <a:gd name="connsiteY160" fmla="*/ 226312 h 604930"/>
                          <a:gd name="connsiteX161" fmla="*/ 64293 w 723900"/>
                          <a:gd name="connsiteY161" fmla="*/ 238218 h 604930"/>
                          <a:gd name="connsiteX162" fmla="*/ 57150 w 723900"/>
                          <a:gd name="connsiteY162" fmla="*/ 245362 h 604930"/>
                          <a:gd name="connsiteX163" fmla="*/ 50006 w 723900"/>
                          <a:gd name="connsiteY163" fmla="*/ 247743 h 604930"/>
                          <a:gd name="connsiteX164" fmla="*/ 42862 w 723900"/>
                          <a:gd name="connsiteY164" fmla="*/ 269174 h 604930"/>
                          <a:gd name="connsiteX165" fmla="*/ 40481 w 723900"/>
                          <a:gd name="connsiteY165" fmla="*/ 276318 h 604930"/>
                          <a:gd name="connsiteX166" fmla="*/ 33337 w 723900"/>
                          <a:gd name="connsiteY166" fmla="*/ 281080 h 604930"/>
                          <a:gd name="connsiteX167" fmla="*/ 16668 w 723900"/>
                          <a:gd name="connsiteY167" fmla="*/ 273937 h 604930"/>
                          <a:gd name="connsiteX168" fmla="*/ 11906 w 723900"/>
                          <a:gd name="connsiteY168" fmla="*/ 252505 h 604930"/>
                          <a:gd name="connsiteX169" fmla="*/ 9525 w 723900"/>
                          <a:gd name="connsiteY169" fmla="*/ 245362 h 604930"/>
                          <a:gd name="connsiteX170" fmla="*/ 7143 w 723900"/>
                          <a:gd name="connsiteY170" fmla="*/ 235837 h 604930"/>
                          <a:gd name="connsiteX171" fmla="*/ 4762 w 723900"/>
                          <a:gd name="connsiteY171" fmla="*/ 202499 h 604930"/>
                          <a:gd name="connsiteX172" fmla="*/ 0 w 723900"/>
                          <a:gd name="connsiteY172" fmla="*/ 188212 h 604930"/>
                          <a:gd name="connsiteX173" fmla="*/ 2381 w 723900"/>
                          <a:gd name="connsiteY173" fmla="*/ 173924 h 604930"/>
                          <a:gd name="connsiteX174" fmla="*/ 14287 w 723900"/>
                          <a:gd name="connsiteY174" fmla="*/ 171543 h 604930"/>
                          <a:gd name="connsiteX175" fmla="*/ 2381 w 723900"/>
                          <a:gd name="connsiteY175" fmla="*/ 164399 h 60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723900" h="604930">
                            <a:moveTo>
                              <a:pt x="2381" y="164399"/>
                            </a:moveTo>
                            <a:lnTo>
                              <a:pt x="2381" y="164399"/>
                            </a:lnTo>
                            <a:cubicBezTo>
                              <a:pt x="8731" y="162018"/>
                              <a:pt x="15257" y="160061"/>
                              <a:pt x="21431" y="157255"/>
                            </a:cubicBezTo>
                            <a:cubicBezTo>
                              <a:pt x="24036" y="156071"/>
                              <a:pt x="25960" y="153655"/>
                              <a:pt x="28575" y="152493"/>
                            </a:cubicBezTo>
                            <a:cubicBezTo>
                              <a:pt x="33162" y="150454"/>
                              <a:pt x="38685" y="150514"/>
                              <a:pt x="42862" y="147730"/>
                            </a:cubicBezTo>
                            <a:cubicBezTo>
                              <a:pt x="52095" y="141576"/>
                              <a:pt x="47291" y="143873"/>
                              <a:pt x="57150" y="140587"/>
                            </a:cubicBezTo>
                            <a:cubicBezTo>
                              <a:pt x="59531" y="138999"/>
                              <a:pt x="62095" y="137656"/>
                              <a:pt x="64293" y="135824"/>
                            </a:cubicBezTo>
                            <a:cubicBezTo>
                              <a:pt x="66880" y="133668"/>
                              <a:pt x="68850" y="130836"/>
                              <a:pt x="71437" y="128680"/>
                            </a:cubicBezTo>
                            <a:cubicBezTo>
                              <a:pt x="74260" y="126327"/>
                              <a:pt x="85044" y="119767"/>
                              <a:pt x="88106" y="119155"/>
                            </a:cubicBezTo>
                            <a:cubicBezTo>
                              <a:pt x="96703" y="117436"/>
                              <a:pt x="105569" y="117568"/>
                              <a:pt x="114300" y="116774"/>
                            </a:cubicBezTo>
                            <a:cubicBezTo>
                              <a:pt x="130969" y="117568"/>
                              <a:pt x="147676" y="117769"/>
                              <a:pt x="164306" y="119155"/>
                            </a:cubicBezTo>
                            <a:cubicBezTo>
                              <a:pt x="171487" y="119753"/>
                              <a:pt x="172414" y="123210"/>
                              <a:pt x="178593" y="126299"/>
                            </a:cubicBezTo>
                            <a:cubicBezTo>
                              <a:pt x="180838" y="127421"/>
                              <a:pt x="183356" y="127886"/>
                              <a:pt x="185737" y="128680"/>
                            </a:cubicBezTo>
                            <a:cubicBezTo>
                              <a:pt x="198834" y="119950"/>
                              <a:pt x="187722" y="128680"/>
                              <a:pt x="197643" y="116774"/>
                            </a:cubicBezTo>
                            <a:cubicBezTo>
                              <a:pt x="199799" y="114187"/>
                              <a:pt x="202719" y="112288"/>
                              <a:pt x="204787" y="109630"/>
                            </a:cubicBezTo>
                            <a:cubicBezTo>
                              <a:pt x="219746" y="90397"/>
                              <a:pt x="207626" y="99801"/>
                              <a:pt x="221456" y="90580"/>
                            </a:cubicBezTo>
                            <a:cubicBezTo>
                              <a:pt x="255161" y="93645"/>
                              <a:pt x="249895" y="94449"/>
                              <a:pt x="290512" y="90580"/>
                            </a:cubicBezTo>
                            <a:cubicBezTo>
                              <a:pt x="293011" y="90342"/>
                              <a:pt x="295411" y="89321"/>
                              <a:pt x="297656" y="88199"/>
                            </a:cubicBezTo>
                            <a:cubicBezTo>
                              <a:pt x="300216" y="86919"/>
                              <a:pt x="302240" y="84717"/>
                              <a:pt x="304800" y="83437"/>
                            </a:cubicBezTo>
                            <a:cubicBezTo>
                              <a:pt x="308808" y="81433"/>
                              <a:pt x="317644" y="79821"/>
                              <a:pt x="321468" y="78674"/>
                            </a:cubicBezTo>
                            <a:cubicBezTo>
                              <a:pt x="326277" y="77232"/>
                              <a:pt x="335756" y="73912"/>
                              <a:pt x="335756" y="73912"/>
                            </a:cubicBezTo>
                            <a:cubicBezTo>
                              <a:pt x="337343" y="71531"/>
                              <a:pt x="339238" y="69328"/>
                              <a:pt x="340518" y="66768"/>
                            </a:cubicBezTo>
                            <a:cubicBezTo>
                              <a:pt x="342228" y="63347"/>
                              <a:pt x="344516" y="53157"/>
                              <a:pt x="345281" y="50099"/>
                            </a:cubicBezTo>
                            <a:cubicBezTo>
                              <a:pt x="346075" y="42162"/>
                              <a:pt x="345868" y="34060"/>
                              <a:pt x="347662" y="26287"/>
                            </a:cubicBezTo>
                            <a:cubicBezTo>
                              <a:pt x="348306" y="23498"/>
                              <a:pt x="350271" y="21028"/>
                              <a:pt x="352425" y="19143"/>
                            </a:cubicBezTo>
                            <a:cubicBezTo>
                              <a:pt x="368273" y="5276"/>
                              <a:pt x="369795" y="9338"/>
                              <a:pt x="392906" y="7237"/>
                            </a:cubicBezTo>
                            <a:cubicBezTo>
                              <a:pt x="395287" y="6443"/>
                              <a:pt x="397805" y="5978"/>
                              <a:pt x="400050" y="4855"/>
                            </a:cubicBezTo>
                            <a:cubicBezTo>
                              <a:pt x="402609" y="3575"/>
                              <a:pt x="404349" y="409"/>
                              <a:pt x="407193" y="93"/>
                            </a:cubicBezTo>
                            <a:cubicBezTo>
                              <a:pt x="413479" y="-605"/>
                              <a:pt x="422347" y="2763"/>
                              <a:pt x="428625" y="4855"/>
                            </a:cubicBezTo>
                            <a:cubicBezTo>
                              <a:pt x="430212" y="7236"/>
                              <a:pt x="432107" y="9439"/>
                              <a:pt x="433387" y="11999"/>
                            </a:cubicBezTo>
                            <a:cubicBezTo>
                              <a:pt x="437260" y="19746"/>
                              <a:pt x="433706" y="19463"/>
                              <a:pt x="440531" y="26287"/>
                            </a:cubicBezTo>
                            <a:cubicBezTo>
                              <a:pt x="442555" y="28311"/>
                              <a:pt x="445294" y="29462"/>
                              <a:pt x="447675" y="31049"/>
                            </a:cubicBezTo>
                            <a:cubicBezTo>
                              <a:pt x="450850" y="35812"/>
                              <a:pt x="455390" y="39907"/>
                              <a:pt x="457200" y="45337"/>
                            </a:cubicBezTo>
                            <a:cubicBezTo>
                              <a:pt x="458898" y="50431"/>
                              <a:pt x="460000" y="55823"/>
                              <a:pt x="464343" y="59624"/>
                            </a:cubicBezTo>
                            <a:cubicBezTo>
                              <a:pt x="468651" y="63393"/>
                              <a:pt x="473868" y="65974"/>
                              <a:pt x="478631" y="69149"/>
                            </a:cubicBezTo>
                            <a:lnTo>
                              <a:pt x="485775" y="73912"/>
                            </a:lnTo>
                            <a:cubicBezTo>
                              <a:pt x="487362" y="76293"/>
                              <a:pt x="488302" y="79267"/>
                              <a:pt x="490537" y="81055"/>
                            </a:cubicBezTo>
                            <a:cubicBezTo>
                              <a:pt x="492497" y="82623"/>
                              <a:pt x="495436" y="82314"/>
                              <a:pt x="497681" y="83437"/>
                            </a:cubicBezTo>
                            <a:cubicBezTo>
                              <a:pt x="500241" y="84717"/>
                              <a:pt x="502210" y="87037"/>
                              <a:pt x="504825" y="88199"/>
                            </a:cubicBezTo>
                            <a:cubicBezTo>
                              <a:pt x="509412" y="90238"/>
                              <a:pt x="514350" y="91374"/>
                              <a:pt x="519112" y="92962"/>
                            </a:cubicBezTo>
                            <a:lnTo>
                              <a:pt x="533400" y="97724"/>
                            </a:lnTo>
                            <a:lnTo>
                              <a:pt x="540543" y="100105"/>
                            </a:lnTo>
                            <a:cubicBezTo>
                              <a:pt x="542924" y="101693"/>
                              <a:pt x="545127" y="103588"/>
                              <a:pt x="547687" y="104868"/>
                            </a:cubicBezTo>
                            <a:cubicBezTo>
                              <a:pt x="556267" y="109158"/>
                              <a:pt x="571819" y="108948"/>
                              <a:pt x="578643" y="109630"/>
                            </a:cubicBezTo>
                            <a:cubicBezTo>
                              <a:pt x="584451" y="111567"/>
                              <a:pt x="588317" y="112160"/>
                              <a:pt x="592931" y="116774"/>
                            </a:cubicBezTo>
                            <a:cubicBezTo>
                              <a:pt x="594955" y="118798"/>
                              <a:pt x="595266" y="122401"/>
                              <a:pt x="597693" y="123918"/>
                            </a:cubicBezTo>
                            <a:cubicBezTo>
                              <a:pt x="601950" y="126579"/>
                              <a:pt x="611981" y="128680"/>
                              <a:pt x="611981" y="128680"/>
                            </a:cubicBezTo>
                            <a:cubicBezTo>
                              <a:pt x="618331" y="127886"/>
                              <a:pt x="624735" y="127444"/>
                              <a:pt x="631031" y="126299"/>
                            </a:cubicBezTo>
                            <a:cubicBezTo>
                              <a:pt x="633501" y="125850"/>
                              <a:pt x="636400" y="125693"/>
                              <a:pt x="638175" y="123918"/>
                            </a:cubicBezTo>
                            <a:cubicBezTo>
                              <a:pt x="639950" y="122143"/>
                              <a:pt x="638781" y="118549"/>
                              <a:pt x="640556" y="116774"/>
                            </a:cubicBezTo>
                            <a:cubicBezTo>
                              <a:pt x="644603" y="112727"/>
                              <a:pt x="654843" y="107249"/>
                              <a:pt x="654843" y="107249"/>
                            </a:cubicBezTo>
                            <a:cubicBezTo>
                              <a:pt x="663995" y="113350"/>
                              <a:pt x="669715" y="114517"/>
                              <a:pt x="673893" y="123918"/>
                            </a:cubicBezTo>
                            <a:cubicBezTo>
                              <a:pt x="675932" y="128505"/>
                              <a:pt x="677068" y="133443"/>
                              <a:pt x="678656" y="138205"/>
                            </a:cubicBezTo>
                            <a:lnTo>
                              <a:pt x="681037" y="145349"/>
                            </a:lnTo>
                            <a:lnTo>
                              <a:pt x="683418" y="152493"/>
                            </a:lnTo>
                            <a:cubicBezTo>
                              <a:pt x="685535" y="169427"/>
                              <a:pt x="680752" y="170209"/>
                              <a:pt x="692943" y="176305"/>
                            </a:cubicBezTo>
                            <a:cubicBezTo>
                              <a:pt x="695188" y="177428"/>
                              <a:pt x="697706" y="177893"/>
                              <a:pt x="700087" y="178687"/>
                            </a:cubicBezTo>
                            <a:cubicBezTo>
                              <a:pt x="699293" y="181862"/>
                              <a:pt x="698605" y="185065"/>
                              <a:pt x="697706" y="188212"/>
                            </a:cubicBezTo>
                            <a:cubicBezTo>
                              <a:pt x="697017" y="190625"/>
                              <a:pt x="695325" y="192845"/>
                              <a:pt x="695325" y="195355"/>
                            </a:cubicBezTo>
                            <a:cubicBezTo>
                              <a:pt x="695325" y="207280"/>
                              <a:pt x="695452" y="212902"/>
                              <a:pt x="704850" y="219168"/>
                            </a:cubicBezTo>
                            <a:cubicBezTo>
                              <a:pt x="706938" y="220560"/>
                              <a:pt x="709612" y="220755"/>
                              <a:pt x="711993" y="221549"/>
                            </a:cubicBezTo>
                            <a:cubicBezTo>
                              <a:pt x="722910" y="237925"/>
                              <a:pt x="719707" y="230407"/>
                              <a:pt x="723900" y="242980"/>
                            </a:cubicBezTo>
                            <a:cubicBezTo>
                              <a:pt x="721519" y="244568"/>
                              <a:pt x="719316" y="246463"/>
                              <a:pt x="716756" y="247743"/>
                            </a:cubicBezTo>
                            <a:cubicBezTo>
                              <a:pt x="714511" y="248866"/>
                              <a:pt x="711572" y="248556"/>
                              <a:pt x="709612" y="250124"/>
                            </a:cubicBezTo>
                            <a:cubicBezTo>
                              <a:pt x="707377" y="251912"/>
                              <a:pt x="706437" y="254887"/>
                              <a:pt x="704850" y="257268"/>
                            </a:cubicBezTo>
                            <a:lnTo>
                              <a:pt x="702468" y="292987"/>
                            </a:lnTo>
                            <a:cubicBezTo>
                              <a:pt x="701367" y="296069"/>
                              <a:pt x="695406" y="292760"/>
                              <a:pt x="692943" y="290605"/>
                            </a:cubicBezTo>
                            <a:cubicBezTo>
                              <a:pt x="673900" y="273942"/>
                              <a:pt x="692145" y="279491"/>
                              <a:pt x="676275" y="271555"/>
                            </a:cubicBezTo>
                            <a:cubicBezTo>
                              <a:pt x="665534" y="266184"/>
                              <a:pt x="672225" y="272944"/>
                              <a:pt x="661987" y="264412"/>
                            </a:cubicBezTo>
                            <a:cubicBezTo>
                              <a:pt x="657120" y="260356"/>
                              <a:pt x="653991" y="254793"/>
                              <a:pt x="647700" y="252505"/>
                            </a:cubicBezTo>
                            <a:cubicBezTo>
                              <a:pt x="641549" y="250268"/>
                              <a:pt x="634859" y="249813"/>
                              <a:pt x="628650" y="247743"/>
                            </a:cubicBezTo>
                            <a:lnTo>
                              <a:pt x="614362" y="242980"/>
                            </a:lnTo>
                            <a:lnTo>
                              <a:pt x="607218" y="240599"/>
                            </a:lnTo>
                            <a:cubicBezTo>
                              <a:pt x="604837" y="239012"/>
                              <a:pt x="602634" y="237117"/>
                              <a:pt x="600075" y="235837"/>
                            </a:cubicBezTo>
                            <a:cubicBezTo>
                              <a:pt x="593894" y="232746"/>
                              <a:pt x="581358" y="231425"/>
                              <a:pt x="576262" y="231074"/>
                            </a:cubicBezTo>
                            <a:cubicBezTo>
                              <a:pt x="558823" y="229871"/>
                              <a:pt x="541337" y="229487"/>
                              <a:pt x="523875" y="228693"/>
                            </a:cubicBezTo>
                            <a:cubicBezTo>
                              <a:pt x="520700" y="227899"/>
                              <a:pt x="517497" y="227211"/>
                              <a:pt x="514350" y="226312"/>
                            </a:cubicBezTo>
                            <a:cubicBezTo>
                              <a:pt x="511936" y="225622"/>
                              <a:pt x="509716" y="223930"/>
                              <a:pt x="507206" y="223930"/>
                            </a:cubicBezTo>
                            <a:cubicBezTo>
                              <a:pt x="491311" y="223930"/>
                              <a:pt x="475456" y="225518"/>
                              <a:pt x="459581" y="226312"/>
                            </a:cubicBezTo>
                            <a:cubicBezTo>
                              <a:pt x="457993" y="231074"/>
                              <a:pt x="455372" y="235610"/>
                              <a:pt x="454818" y="240599"/>
                            </a:cubicBezTo>
                            <a:cubicBezTo>
                              <a:pt x="454024" y="247743"/>
                              <a:pt x="454180" y="255057"/>
                              <a:pt x="452437" y="262030"/>
                            </a:cubicBezTo>
                            <a:cubicBezTo>
                              <a:pt x="451076" y="267473"/>
                              <a:pt x="445067" y="271669"/>
                              <a:pt x="440531" y="273937"/>
                            </a:cubicBezTo>
                            <a:cubicBezTo>
                              <a:pt x="438286" y="275060"/>
                              <a:pt x="435632" y="275196"/>
                              <a:pt x="433387" y="276318"/>
                            </a:cubicBezTo>
                            <a:cubicBezTo>
                              <a:pt x="430827" y="277598"/>
                              <a:pt x="428803" y="279800"/>
                              <a:pt x="426243" y="281080"/>
                            </a:cubicBezTo>
                            <a:cubicBezTo>
                              <a:pt x="406526" y="290939"/>
                              <a:pt x="432430" y="274576"/>
                              <a:pt x="411956" y="288224"/>
                            </a:cubicBezTo>
                            <a:cubicBezTo>
                              <a:pt x="392022" y="284902"/>
                              <a:pt x="401685" y="288521"/>
                              <a:pt x="383381" y="276318"/>
                            </a:cubicBezTo>
                            <a:lnTo>
                              <a:pt x="376237" y="271555"/>
                            </a:lnTo>
                            <a:lnTo>
                              <a:pt x="369093" y="266793"/>
                            </a:lnTo>
                            <a:cubicBezTo>
                              <a:pt x="366129" y="262346"/>
                              <a:pt x="362041" y="255202"/>
                              <a:pt x="357187" y="252505"/>
                            </a:cubicBezTo>
                            <a:cubicBezTo>
                              <a:pt x="352799" y="250067"/>
                              <a:pt x="342900" y="247743"/>
                              <a:pt x="342900" y="247743"/>
                            </a:cubicBezTo>
                            <a:cubicBezTo>
                              <a:pt x="340519" y="246155"/>
                              <a:pt x="338316" y="244260"/>
                              <a:pt x="335756" y="242980"/>
                            </a:cubicBezTo>
                            <a:cubicBezTo>
                              <a:pt x="316030" y="233117"/>
                              <a:pt x="341951" y="249490"/>
                              <a:pt x="321468" y="235837"/>
                            </a:cubicBezTo>
                            <a:cubicBezTo>
                              <a:pt x="302989" y="263554"/>
                              <a:pt x="314800" y="240600"/>
                              <a:pt x="309562" y="292987"/>
                            </a:cubicBezTo>
                            <a:cubicBezTo>
                              <a:pt x="308601" y="302595"/>
                              <a:pt x="304800" y="321562"/>
                              <a:pt x="304800" y="321562"/>
                            </a:cubicBezTo>
                            <a:cubicBezTo>
                              <a:pt x="305594" y="328706"/>
                              <a:pt x="305999" y="335903"/>
                              <a:pt x="307181" y="342993"/>
                            </a:cubicBezTo>
                            <a:cubicBezTo>
                              <a:pt x="308578" y="351377"/>
                              <a:pt x="314540" y="357603"/>
                              <a:pt x="319087" y="364424"/>
                            </a:cubicBezTo>
                            <a:cubicBezTo>
                              <a:pt x="325437" y="373949"/>
                              <a:pt x="321469" y="369981"/>
                              <a:pt x="330993" y="376330"/>
                            </a:cubicBezTo>
                            <a:cubicBezTo>
                              <a:pt x="334453" y="386709"/>
                              <a:pt x="334230" y="390217"/>
                              <a:pt x="340518" y="397762"/>
                            </a:cubicBezTo>
                            <a:cubicBezTo>
                              <a:pt x="342674" y="400349"/>
                              <a:pt x="345281" y="402524"/>
                              <a:pt x="347662" y="404905"/>
                            </a:cubicBezTo>
                            <a:cubicBezTo>
                              <a:pt x="348456" y="407286"/>
                              <a:pt x="349353" y="409635"/>
                              <a:pt x="350043" y="412049"/>
                            </a:cubicBezTo>
                            <a:cubicBezTo>
                              <a:pt x="350942" y="415196"/>
                              <a:pt x="351136" y="418566"/>
                              <a:pt x="352425" y="421574"/>
                            </a:cubicBezTo>
                            <a:cubicBezTo>
                              <a:pt x="353552" y="424204"/>
                              <a:pt x="355600" y="426337"/>
                              <a:pt x="357187" y="428718"/>
                            </a:cubicBezTo>
                            <a:cubicBezTo>
                              <a:pt x="358519" y="434045"/>
                              <a:pt x="362010" y="449049"/>
                              <a:pt x="364331" y="452530"/>
                            </a:cubicBezTo>
                            <a:lnTo>
                              <a:pt x="373856" y="466818"/>
                            </a:lnTo>
                            <a:cubicBezTo>
                              <a:pt x="378047" y="479392"/>
                              <a:pt x="374845" y="471874"/>
                              <a:pt x="385762" y="488249"/>
                            </a:cubicBezTo>
                            <a:lnTo>
                              <a:pt x="390525" y="495393"/>
                            </a:lnTo>
                            <a:cubicBezTo>
                              <a:pt x="396192" y="512395"/>
                              <a:pt x="392502" y="505503"/>
                              <a:pt x="400050" y="516824"/>
                            </a:cubicBezTo>
                            <a:cubicBezTo>
                              <a:pt x="400844" y="519205"/>
                              <a:pt x="401212" y="521774"/>
                              <a:pt x="402431" y="523968"/>
                            </a:cubicBezTo>
                            <a:cubicBezTo>
                              <a:pt x="407926" y="533858"/>
                              <a:pt x="410003" y="538469"/>
                              <a:pt x="419100" y="543018"/>
                            </a:cubicBezTo>
                            <a:cubicBezTo>
                              <a:pt x="421345" y="544140"/>
                              <a:pt x="423862" y="544605"/>
                              <a:pt x="426243" y="545399"/>
                            </a:cubicBezTo>
                            <a:cubicBezTo>
                              <a:pt x="431006" y="548574"/>
                              <a:pt x="435101" y="553114"/>
                              <a:pt x="440531" y="554924"/>
                            </a:cubicBezTo>
                            <a:lnTo>
                              <a:pt x="454818" y="559687"/>
                            </a:lnTo>
                            <a:cubicBezTo>
                              <a:pt x="455612" y="562068"/>
                              <a:pt x="456510" y="564417"/>
                              <a:pt x="457200" y="566830"/>
                            </a:cubicBezTo>
                            <a:cubicBezTo>
                              <a:pt x="461315" y="581231"/>
                              <a:pt x="461716" y="583993"/>
                              <a:pt x="452437" y="602549"/>
                            </a:cubicBezTo>
                            <a:cubicBezTo>
                              <a:pt x="451314" y="604794"/>
                              <a:pt x="447674" y="604136"/>
                              <a:pt x="445293" y="604930"/>
                            </a:cubicBezTo>
                            <a:cubicBezTo>
                              <a:pt x="442912" y="603343"/>
                              <a:pt x="439938" y="602403"/>
                              <a:pt x="438150" y="600168"/>
                            </a:cubicBezTo>
                            <a:cubicBezTo>
                              <a:pt x="428528" y="588141"/>
                              <a:pt x="444382" y="597584"/>
                              <a:pt x="431006" y="585880"/>
                            </a:cubicBezTo>
                            <a:cubicBezTo>
                              <a:pt x="426698" y="582111"/>
                              <a:pt x="420765" y="580402"/>
                              <a:pt x="416718" y="576355"/>
                            </a:cubicBezTo>
                            <a:lnTo>
                              <a:pt x="402431" y="562068"/>
                            </a:lnTo>
                            <a:cubicBezTo>
                              <a:pt x="401637" y="559687"/>
                              <a:pt x="402449" y="555662"/>
                              <a:pt x="400050" y="554924"/>
                            </a:cubicBezTo>
                            <a:cubicBezTo>
                              <a:pt x="390915" y="552113"/>
                              <a:pt x="380949" y="553806"/>
                              <a:pt x="371475" y="552543"/>
                            </a:cubicBezTo>
                            <a:cubicBezTo>
                              <a:pt x="368987" y="552211"/>
                              <a:pt x="366712" y="550956"/>
                              <a:pt x="364331" y="550162"/>
                            </a:cubicBezTo>
                            <a:cubicBezTo>
                              <a:pt x="361950" y="548574"/>
                              <a:pt x="359072" y="547553"/>
                              <a:pt x="357187" y="545399"/>
                            </a:cubicBezTo>
                            <a:cubicBezTo>
                              <a:pt x="353418" y="541092"/>
                              <a:pt x="347662" y="531112"/>
                              <a:pt x="347662" y="531112"/>
                            </a:cubicBezTo>
                            <a:cubicBezTo>
                              <a:pt x="342900" y="531906"/>
                              <a:pt x="338109" y="532546"/>
                              <a:pt x="333375" y="533493"/>
                            </a:cubicBezTo>
                            <a:cubicBezTo>
                              <a:pt x="311130" y="537942"/>
                              <a:pt x="334843" y="533720"/>
                              <a:pt x="316706" y="538255"/>
                            </a:cubicBezTo>
                            <a:cubicBezTo>
                              <a:pt x="312780" y="539237"/>
                              <a:pt x="308769" y="539843"/>
                              <a:pt x="304800" y="540637"/>
                            </a:cubicBezTo>
                            <a:cubicBezTo>
                              <a:pt x="299244" y="539843"/>
                              <a:pt x="292866" y="541268"/>
                              <a:pt x="288131" y="538255"/>
                            </a:cubicBezTo>
                            <a:cubicBezTo>
                              <a:pt x="283302" y="535182"/>
                              <a:pt x="278606" y="523968"/>
                              <a:pt x="278606" y="523968"/>
                            </a:cubicBezTo>
                            <a:cubicBezTo>
                              <a:pt x="279400" y="520793"/>
                              <a:pt x="280088" y="517590"/>
                              <a:pt x="280987" y="514443"/>
                            </a:cubicBezTo>
                            <a:cubicBezTo>
                              <a:pt x="281677" y="512029"/>
                              <a:pt x="283723" y="509784"/>
                              <a:pt x="283368" y="507299"/>
                            </a:cubicBezTo>
                            <a:cubicBezTo>
                              <a:pt x="282866" y="503785"/>
                              <a:pt x="280823" y="500546"/>
                              <a:pt x="278606" y="497774"/>
                            </a:cubicBezTo>
                            <a:cubicBezTo>
                              <a:pt x="269288" y="486127"/>
                              <a:pt x="266950" y="485242"/>
                              <a:pt x="257175" y="478724"/>
                            </a:cubicBezTo>
                            <a:cubicBezTo>
                              <a:pt x="244471" y="459669"/>
                              <a:pt x="261147" y="482697"/>
                              <a:pt x="245268" y="466818"/>
                            </a:cubicBezTo>
                            <a:cubicBezTo>
                              <a:pt x="242462" y="464012"/>
                              <a:pt x="240708" y="460306"/>
                              <a:pt x="238125" y="457293"/>
                            </a:cubicBezTo>
                            <a:cubicBezTo>
                              <a:pt x="227689" y="445118"/>
                              <a:pt x="234861" y="454573"/>
                              <a:pt x="223837" y="445387"/>
                            </a:cubicBezTo>
                            <a:cubicBezTo>
                              <a:pt x="221250" y="443231"/>
                              <a:pt x="218849" y="440830"/>
                              <a:pt x="216693" y="438243"/>
                            </a:cubicBezTo>
                            <a:cubicBezTo>
                              <a:pt x="214861" y="436044"/>
                              <a:pt x="214166" y="432887"/>
                              <a:pt x="211931" y="431099"/>
                            </a:cubicBezTo>
                            <a:cubicBezTo>
                              <a:pt x="209971" y="429531"/>
                              <a:pt x="207168" y="429512"/>
                              <a:pt x="204787" y="428718"/>
                            </a:cubicBezTo>
                            <a:cubicBezTo>
                              <a:pt x="202406" y="427130"/>
                              <a:pt x="199842" y="425787"/>
                              <a:pt x="197643" y="423955"/>
                            </a:cubicBezTo>
                            <a:cubicBezTo>
                              <a:pt x="185046" y="413457"/>
                              <a:pt x="186518" y="410506"/>
                              <a:pt x="192881" y="388237"/>
                            </a:cubicBezTo>
                            <a:cubicBezTo>
                              <a:pt x="193667" y="385485"/>
                              <a:pt x="197644" y="385062"/>
                              <a:pt x="200025" y="383474"/>
                            </a:cubicBezTo>
                            <a:cubicBezTo>
                              <a:pt x="207962" y="384268"/>
                              <a:pt x="216167" y="388046"/>
                              <a:pt x="223837" y="385855"/>
                            </a:cubicBezTo>
                            <a:cubicBezTo>
                              <a:pt x="227075" y="384930"/>
                              <a:pt x="219280" y="380868"/>
                              <a:pt x="216693" y="378712"/>
                            </a:cubicBezTo>
                            <a:cubicBezTo>
                              <a:pt x="214495" y="376880"/>
                              <a:pt x="211931" y="375537"/>
                              <a:pt x="209550" y="373949"/>
                            </a:cubicBezTo>
                            <a:cubicBezTo>
                              <a:pt x="192308" y="348087"/>
                              <a:pt x="218059" y="384728"/>
                              <a:pt x="197643" y="362043"/>
                            </a:cubicBezTo>
                            <a:cubicBezTo>
                              <a:pt x="192333" y="356143"/>
                              <a:pt x="187759" y="349597"/>
                              <a:pt x="183356" y="342993"/>
                            </a:cubicBezTo>
                            <a:lnTo>
                              <a:pt x="173831" y="328705"/>
                            </a:lnTo>
                            <a:lnTo>
                              <a:pt x="169068" y="321562"/>
                            </a:lnTo>
                            <a:cubicBezTo>
                              <a:pt x="161944" y="300186"/>
                              <a:pt x="169068" y="324510"/>
                              <a:pt x="169068" y="273937"/>
                            </a:cubicBezTo>
                            <a:cubicBezTo>
                              <a:pt x="169068" y="264379"/>
                              <a:pt x="168561" y="254734"/>
                              <a:pt x="166687" y="245362"/>
                            </a:cubicBezTo>
                            <a:cubicBezTo>
                              <a:pt x="165000" y="236927"/>
                              <a:pt x="151806" y="232862"/>
                              <a:pt x="147637" y="228693"/>
                            </a:cubicBezTo>
                            <a:cubicBezTo>
                              <a:pt x="142369" y="223425"/>
                              <a:pt x="139047" y="221037"/>
                              <a:pt x="135731" y="214405"/>
                            </a:cubicBezTo>
                            <a:cubicBezTo>
                              <a:pt x="131858" y="206658"/>
                              <a:pt x="135412" y="206943"/>
                              <a:pt x="128587" y="200118"/>
                            </a:cubicBezTo>
                            <a:cubicBezTo>
                              <a:pt x="125781" y="197312"/>
                              <a:pt x="122612" y="194749"/>
                              <a:pt x="119062" y="192974"/>
                            </a:cubicBezTo>
                            <a:cubicBezTo>
                              <a:pt x="114572" y="190729"/>
                              <a:pt x="104775" y="188212"/>
                              <a:pt x="104775" y="188212"/>
                            </a:cubicBezTo>
                            <a:cubicBezTo>
                              <a:pt x="102394" y="189006"/>
                              <a:pt x="99406" y="188818"/>
                              <a:pt x="97631" y="190593"/>
                            </a:cubicBezTo>
                            <a:cubicBezTo>
                              <a:pt x="93584" y="194640"/>
                              <a:pt x="91281" y="200118"/>
                              <a:pt x="88106" y="204880"/>
                            </a:cubicBezTo>
                            <a:cubicBezTo>
                              <a:pt x="86518" y="207261"/>
                              <a:pt x="85724" y="210436"/>
                              <a:pt x="83343" y="212024"/>
                            </a:cubicBezTo>
                            <a:cubicBezTo>
                              <a:pt x="74112" y="218180"/>
                              <a:pt x="78915" y="215882"/>
                              <a:pt x="69056" y="219168"/>
                            </a:cubicBezTo>
                            <a:cubicBezTo>
                              <a:pt x="68262" y="221549"/>
                              <a:pt x="67284" y="223877"/>
                              <a:pt x="66675" y="226312"/>
                            </a:cubicBezTo>
                            <a:cubicBezTo>
                              <a:pt x="65693" y="230238"/>
                              <a:pt x="66103" y="234598"/>
                              <a:pt x="64293" y="238218"/>
                            </a:cubicBezTo>
                            <a:cubicBezTo>
                              <a:pt x="62787" y="241230"/>
                              <a:pt x="59952" y="243494"/>
                              <a:pt x="57150" y="245362"/>
                            </a:cubicBezTo>
                            <a:cubicBezTo>
                              <a:pt x="55061" y="246754"/>
                              <a:pt x="52387" y="246949"/>
                              <a:pt x="50006" y="247743"/>
                            </a:cubicBezTo>
                            <a:lnTo>
                              <a:pt x="42862" y="269174"/>
                            </a:lnTo>
                            <a:cubicBezTo>
                              <a:pt x="42068" y="271555"/>
                              <a:pt x="42570" y="274926"/>
                              <a:pt x="40481" y="276318"/>
                            </a:cubicBezTo>
                            <a:lnTo>
                              <a:pt x="33337" y="281080"/>
                            </a:lnTo>
                            <a:cubicBezTo>
                              <a:pt x="27618" y="279650"/>
                              <a:pt x="20779" y="279075"/>
                              <a:pt x="16668" y="273937"/>
                            </a:cubicBezTo>
                            <a:cubicBezTo>
                              <a:pt x="14194" y="270845"/>
                              <a:pt x="11941" y="252664"/>
                              <a:pt x="11906" y="252505"/>
                            </a:cubicBezTo>
                            <a:cubicBezTo>
                              <a:pt x="11362" y="250055"/>
                              <a:pt x="10215" y="247775"/>
                              <a:pt x="9525" y="245362"/>
                            </a:cubicBezTo>
                            <a:cubicBezTo>
                              <a:pt x="8626" y="242215"/>
                              <a:pt x="7937" y="239012"/>
                              <a:pt x="7143" y="235837"/>
                            </a:cubicBezTo>
                            <a:cubicBezTo>
                              <a:pt x="6349" y="224724"/>
                              <a:pt x="6414" y="213517"/>
                              <a:pt x="4762" y="202499"/>
                            </a:cubicBezTo>
                            <a:cubicBezTo>
                              <a:pt x="4017" y="197535"/>
                              <a:pt x="0" y="188212"/>
                              <a:pt x="0" y="188212"/>
                            </a:cubicBezTo>
                            <a:cubicBezTo>
                              <a:pt x="794" y="183449"/>
                              <a:pt x="-761" y="177590"/>
                              <a:pt x="2381" y="173924"/>
                            </a:cubicBezTo>
                            <a:cubicBezTo>
                              <a:pt x="5015" y="170851"/>
                              <a:pt x="10667" y="173353"/>
                              <a:pt x="14287" y="171543"/>
                            </a:cubicBezTo>
                            <a:cubicBezTo>
                              <a:pt x="15875" y="170749"/>
                              <a:pt x="4365" y="165590"/>
                              <a:pt x="2381" y="16439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37" name="Group 336"/>
                      <p:cNvGrpSpPr/>
                      <p:nvPr/>
                    </p:nvGrpSpPr>
                    <p:grpSpPr>
                      <a:xfrm>
                        <a:off x="3888581" y="4981575"/>
                        <a:ext cx="88842" cy="245497"/>
                        <a:chOff x="3888581" y="4981575"/>
                        <a:chExt cx="88842" cy="245497"/>
                      </a:xfrm>
                      <a:grpFill/>
                    </p:grpSpPr>
                    <p:grpSp>
                      <p:nvGrpSpPr>
                        <p:cNvPr id="338" name="Group 337"/>
                        <p:cNvGrpSpPr/>
                        <p:nvPr/>
                      </p:nvGrpSpPr>
                      <p:grpSpPr>
                        <a:xfrm>
                          <a:off x="3888581" y="4981575"/>
                          <a:ext cx="78582" cy="153184"/>
                          <a:chOff x="3888581" y="4981575"/>
                          <a:chExt cx="78582" cy="153184"/>
                        </a:xfrm>
                        <a:grpFill/>
                      </p:grpSpPr>
                      <p:sp>
                        <p:nvSpPr>
                          <p:cNvPr id="340" name="Freeform 339"/>
                          <p:cNvSpPr/>
                          <p:nvPr/>
                        </p:nvSpPr>
                        <p:spPr>
                          <a:xfrm>
                            <a:off x="3914636" y="4981575"/>
                            <a:ext cx="23952" cy="52388"/>
                          </a:xfrm>
                          <a:custGeom>
                            <a:avLst/>
                            <a:gdLst>
                              <a:gd name="connsiteX0" fmla="*/ 9664 w 23952"/>
                              <a:gd name="connsiteY0" fmla="*/ 0 h 52388"/>
                              <a:gd name="connsiteX1" fmla="*/ 9664 w 23952"/>
                              <a:gd name="connsiteY1" fmla="*/ 0 h 52388"/>
                              <a:gd name="connsiteX2" fmla="*/ 139 w 23952"/>
                              <a:gd name="connsiteY2" fmla="*/ 19050 h 52388"/>
                              <a:gd name="connsiteX3" fmla="*/ 2520 w 23952"/>
                              <a:gd name="connsiteY3" fmla="*/ 26194 h 52388"/>
                              <a:gd name="connsiteX4" fmla="*/ 12045 w 23952"/>
                              <a:gd name="connsiteY4" fmla="*/ 40481 h 52388"/>
                              <a:gd name="connsiteX5" fmla="*/ 16808 w 23952"/>
                              <a:gd name="connsiteY5" fmla="*/ 47625 h 52388"/>
                              <a:gd name="connsiteX6" fmla="*/ 23952 w 23952"/>
                              <a:gd name="connsiteY6" fmla="*/ 52388 h 52388"/>
                              <a:gd name="connsiteX7" fmla="*/ 21570 w 23952"/>
                              <a:gd name="connsiteY7" fmla="*/ 42863 h 52388"/>
                              <a:gd name="connsiteX8" fmla="*/ 12045 w 23952"/>
                              <a:gd name="connsiteY8" fmla="*/ 28575 h 52388"/>
                              <a:gd name="connsiteX9" fmla="*/ 9664 w 23952"/>
                              <a:gd name="connsiteY9" fmla="*/ 0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52" h="52388">
                                <a:moveTo>
                                  <a:pt x="9664" y="0"/>
                                </a:moveTo>
                                <a:lnTo>
                                  <a:pt x="9664" y="0"/>
                                </a:lnTo>
                                <a:cubicBezTo>
                                  <a:pt x="6489" y="6350"/>
                                  <a:pt x="2007" y="12201"/>
                                  <a:pt x="139" y="19050"/>
                                </a:cubicBezTo>
                                <a:cubicBezTo>
                                  <a:pt x="-521" y="21472"/>
                                  <a:pt x="1301" y="24000"/>
                                  <a:pt x="2520" y="26194"/>
                                </a:cubicBezTo>
                                <a:cubicBezTo>
                                  <a:pt x="5300" y="31197"/>
                                  <a:pt x="8870" y="35719"/>
                                  <a:pt x="12045" y="40481"/>
                                </a:cubicBezTo>
                                <a:cubicBezTo>
                                  <a:pt x="13633" y="42862"/>
                                  <a:pt x="14427" y="46037"/>
                                  <a:pt x="16808" y="47625"/>
                                </a:cubicBezTo>
                                <a:lnTo>
                                  <a:pt x="23952" y="52388"/>
                                </a:lnTo>
                                <a:cubicBezTo>
                                  <a:pt x="23158" y="49213"/>
                                  <a:pt x="23034" y="45790"/>
                                  <a:pt x="21570" y="42863"/>
                                </a:cubicBezTo>
                                <a:cubicBezTo>
                                  <a:pt x="19010" y="37743"/>
                                  <a:pt x="12045" y="28575"/>
                                  <a:pt x="12045" y="28575"/>
                                </a:cubicBezTo>
                                <a:cubicBezTo>
                                  <a:pt x="7032" y="13535"/>
                                  <a:pt x="10061" y="4762"/>
                                  <a:pt x="9664"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1" name="Freeform 340"/>
                          <p:cNvSpPr/>
                          <p:nvPr/>
                        </p:nvSpPr>
                        <p:spPr>
                          <a:xfrm>
                            <a:off x="3893317" y="5010150"/>
                            <a:ext cx="11933" cy="76200"/>
                          </a:xfrm>
                          <a:custGeom>
                            <a:avLst/>
                            <a:gdLst>
                              <a:gd name="connsiteX0" fmla="*/ 11933 w 11933"/>
                              <a:gd name="connsiteY0" fmla="*/ 76200 h 76200"/>
                              <a:gd name="connsiteX1" fmla="*/ 11933 w 11933"/>
                              <a:gd name="connsiteY1" fmla="*/ 76200 h 76200"/>
                              <a:gd name="connsiteX2" fmla="*/ 4789 w 11933"/>
                              <a:gd name="connsiteY2" fmla="*/ 57150 h 76200"/>
                              <a:gd name="connsiteX3" fmla="*/ 9552 w 11933"/>
                              <a:gd name="connsiteY3" fmla="*/ 21431 h 76200"/>
                              <a:gd name="connsiteX4" fmla="*/ 4789 w 11933"/>
                              <a:gd name="connsiteY4" fmla="*/ 7144 h 76200"/>
                              <a:gd name="connsiteX5" fmla="*/ 2408 w 11933"/>
                              <a:gd name="connsiteY5" fmla="*/ 0 h 76200"/>
                              <a:gd name="connsiteX6" fmla="*/ 27 w 11933"/>
                              <a:gd name="connsiteY6" fmla="*/ 7144 h 76200"/>
                              <a:gd name="connsiteX7" fmla="*/ 9552 w 11933"/>
                              <a:gd name="connsiteY7" fmla="*/ 28575 h 76200"/>
                              <a:gd name="connsiteX8" fmla="*/ 4789 w 11933"/>
                              <a:gd name="connsiteY8" fmla="*/ 35719 h 76200"/>
                              <a:gd name="connsiteX9" fmla="*/ 27 w 11933"/>
                              <a:gd name="connsiteY9" fmla="*/ 50006 h 76200"/>
                              <a:gd name="connsiteX10" fmla="*/ 11933 w 11933"/>
                              <a:gd name="connsiteY10"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33" h="76200">
                                <a:moveTo>
                                  <a:pt x="11933" y="76200"/>
                                </a:moveTo>
                                <a:lnTo>
                                  <a:pt x="11933" y="76200"/>
                                </a:lnTo>
                                <a:cubicBezTo>
                                  <a:pt x="9552" y="69850"/>
                                  <a:pt x="5581" y="63885"/>
                                  <a:pt x="4789" y="57150"/>
                                </a:cubicBezTo>
                                <a:cubicBezTo>
                                  <a:pt x="4187" y="52030"/>
                                  <a:pt x="8353" y="28629"/>
                                  <a:pt x="9552" y="21431"/>
                                </a:cubicBezTo>
                                <a:lnTo>
                                  <a:pt x="4789" y="7144"/>
                                </a:lnTo>
                                <a:lnTo>
                                  <a:pt x="2408" y="0"/>
                                </a:lnTo>
                                <a:cubicBezTo>
                                  <a:pt x="1614" y="2381"/>
                                  <a:pt x="-250" y="4649"/>
                                  <a:pt x="27" y="7144"/>
                                </a:cubicBezTo>
                                <a:cubicBezTo>
                                  <a:pt x="1160" y="17346"/>
                                  <a:pt x="4589" y="21131"/>
                                  <a:pt x="9552" y="28575"/>
                                </a:cubicBezTo>
                                <a:cubicBezTo>
                                  <a:pt x="7964" y="30956"/>
                                  <a:pt x="5951" y="33104"/>
                                  <a:pt x="4789" y="35719"/>
                                </a:cubicBezTo>
                                <a:cubicBezTo>
                                  <a:pt x="2750" y="40306"/>
                                  <a:pt x="27" y="50006"/>
                                  <a:pt x="27" y="50006"/>
                                </a:cubicBezTo>
                                <a:cubicBezTo>
                                  <a:pt x="2969" y="58834"/>
                                  <a:pt x="9949" y="71834"/>
                                  <a:pt x="11933" y="7620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2" name="Freeform 341"/>
                          <p:cNvSpPr/>
                          <p:nvPr/>
                        </p:nvSpPr>
                        <p:spPr>
                          <a:xfrm>
                            <a:off x="3936206" y="5074444"/>
                            <a:ext cx="30957" cy="52387"/>
                          </a:xfrm>
                          <a:custGeom>
                            <a:avLst/>
                            <a:gdLst>
                              <a:gd name="connsiteX0" fmla="*/ 0 w 30957"/>
                              <a:gd name="connsiteY0" fmla="*/ 0 h 52387"/>
                              <a:gd name="connsiteX1" fmla="*/ 0 w 30957"/>
                              <a:gd name="connsiteY1" fmla="*/ 0 h 52387"/>
                              <a:gd name="connsiteX2" fmla="*/ 16669 w 30957"/>
                              <a:gd name="connsiteY2" fmla="*/ 23812 h 52387"/>
                              <a:gd name="connsiteX3" fmla="*/ 21432 w 30957"/>
                              <a:gd name="connsiteY3" fmla="*/ 40481 h 52387"/>
                              <a:gd name="connsiteX4" fmla="*/ 23813 w 30957"/>
                              <a:gd name="connsiteY4" fmla="*/ 47625 h 52387"/>
                              <a:gd name="connsiteX5" fmla="*/ 30957 w 30957"/>
                              <a:gd name="connsiteY5" fmla="*/ 52387 h 52387"/>
                              <a:gd name="connsiteX6" fmla="*/ 26194 w 30957"/>
                              <a:gd name="connsiteY6" fmla="*/ 45244 h 52387"/>
                              <a:gd name="connsiteX7" fmla="*/ 19050 w 30957"/>
                              <a:gd name="connsiteY7" fmla="*/ 40481 h 52387"/>
                              <a:gd name="connsiteX8" fmla="*/ 16669 w 30957"/>
                              <a:gd name="connsiteY8" fmla="*/ 33337 h 52387"/>
                              <a:gd name="connsiteX9" fmla="*/ 7144 w 30957"/>
                              <a:gd name="connsiteY9" fmla="*/ 19050 h 52387"/>
                              <a:gd name="connsiteX10" fmla="*/ 0 w 30957"/>
                              <a:gd name="connsiteY10" fmla="*/ 0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957" h="52387">
                                <a:moveTo>
                                  <a:pt x="0" y="0"/>
                                </a:moveTo>
                                <a:lnTo>
                                  <a:pt x="0" y="0"/>
                                </a:lnTo>
                                <a:cubicBezTo>
                                  <a:pt x="5556" y="7937"/>
                                  <a:pt x="13605" y="14620"/>
                                  <a:pt x="16669" y="23812"/>
                                </a:cubicBezTo>
                                <a:cubicBezTo>
                                  <a:pt x="22378" y="40941"/>
                                  <a:pt x="15451" y="19550"/>
                                  <a:pt x="21432" y="40481"/>
                                </a:cubicBezTo>
                                <a:cubicBezTo>
                                  <a:pt x="22122" y="42895"/>
                                  <a:pt x="22245" y="45665"/>
                                  <a:pt x="23813" y="47625"/>
                                </a:cubicBezTo>
                                <a:cubicBezTo>
                                  <a:pt x="25601" y="49860"/>
                                  <a:pt x="28576" y="50800"/>
                                  <a:pt x="30957" y="52387"/>
                                </a:cubicBezTo>
                                <a:cubicBezTo>
                                  <a:pt x="30957" y="52387"/>
                                  <a:pt x="28575" y="46832"/>
                                  <a:pt x="26194" y="45244"/>
                                </a:cubicBezTo>
                                <a:lnTo>
                                  <a:pt x="19050" y="40481"/>
                                </a:lnTo>
                                <a:cubicBezTo>
                                  <a:pt x="18256" y="38100"/>
                                  <a:pt x="17888" y="35531"/>
                                  <a:pt x="16669" y="33337"/>
                                </a:cubicBezTo>
                                <a:cubicBezTo>
                                  <a:pt x="13889" y="28334"/>
                                  <a:pt x="7144" y="19050"/>
                                  <a:pt x="7144" y="19050"/>
                                </a:cubicBezTo>
                                <a:cubicBezTo>
                                  <a:pt x="4512" y="11153"/>
                                  <a:pt x="1191" y="3175"/>
                                  <a:pt x="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3" name="Freeform 342"/>
                          <p:cNvSpPr/>
                          <p:nvPr/>
                        </p:nvSpPr>
                        <p:spPr>
                          <a:xfrm>
                            <a:off x="3888581" y="5107781"/>
                            <a:ext cx="9593" cy="26978"/>
                          </a:xfrm>
                          <a:custGeom>
                            <a:avLst/>
                            <a:gdLst>
                              <a:gd name="connsiteX0" fmla="*/ 0 w 9593"/>
                              <a:gd name="connsiteY0" fmla="*/ 0 h 26978"/>
                              <a:gd name="connsiteX1" fmla="*/ 0 w 9593"/>
                              <a:gd name="connsiteY1" fmla="*/ 0 h 26978"/>
                              <a:gd name="connsiteX2" fmla="*/ 2382 w 9593"/>
                              <a:gd name="connsiteY2" fmla="*/ 21432 h 26978"/>
                              <a:gd name="connsiteX3" fmla="*/ 9525 w 9593"/>
                              <a:gd name="connsiteY3" fmla="*/ 26194 h 26978"/>
                              <a:gd name="connsiteX4" fmla="*/ 4763 w 9593"/>
                              <a:gd name="connsiteY4" fmla="*/ 2382 h 26978"/>
                              <a:gd name="connsiteX5" fmla="*/ 0 w 9593"/>
                              <a:gd name="connsiteY5" fmla="*/ 0 h 2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3" h="26978">
                                <a:moveTo>
                                  <a:pt x="0" y="0"/>
                                </a:moveTo>
                                <a:lnTo>
                                  <a:pt x="0" y="0"/>
                                </a:lnTo>
                                <a:cubicBezTo>
                                  <a:pt x="794" y="7144"/>
                                  <a:pt x="-74" y="14677"/>
                                  <a:pt x="2382" y="21432"/>
                                </a:cubicBezTo>
                                <a:cubicBezTo>
                                  <a:pt x="3360" y="24121"/>
                                  <a:pt x="8462" y="28851"/>
                                  <a:pt x="9525" y="26194"/>
                                </a:cubicBezTo>
                                <a:cubicBezTo>
                                  <a:pt x="10053" y="24873"/>
                                  <a:pt x="7459" y="6876"/>
                                  <a:pt x="4763" y="2382"/>
                                </a:cubicBezTo>
                                <a:cubicBezTo>
                                  <a:pt x="3608" y="457"/>
                                  <a:pt x="794" y="397"/>
                                  <a:pt x="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9" name="Freeform 338"/>
                        <p:cNvSpPr/>
                        <p:nvPr/>
                      </p:nvSpPr>
                      <p:spPr>
                        <a:xfrm>
                          <a:off x="3940904" y="5169694"/>
                          <a:ext cx="36519" cy="57378"/>
                        </a:xfrm>
                        <a:custGeom>
                          <a:avLst/>
                          <a:gdLst>
                            <a:gd name="connsiteX0" fmla="*/ 4827 w 36519"/>
                            <a:gd name="connsiteY0" fmla="*/ 0 h 57378"/>
                            <a:gd name="connsiteX1" fmla="*/ 4827 w 36519"/>
                            <a:gd name="connsiteY1" fmla="*/ 0 h 57378"/>
                            <a:gd name="connsiteX2" fmla="*/ 65 w 36519"/>
                            <a:gd name="connsiteY2" fmla="*/ 21431 h 57378"/>
                            <a:gd name="connsiteX3" fmla="*/ 7209 w 36519"/>
                            <a:gd name="connsiteY3" fmla="*/ 28575 h 57378"/>
                            <a:gd name="connsiteX4" fmla="*/ 16734 w 36519"/>
                            <a:gd name="connsiteY4" fmla="*/ 42862 h 57378"/>
                            <a:gd name="connsiteX5" fmla="*/ 21496 w 36519"/>
                            <a:gd name="connsiteY5" fmla="*/ 50006 h 57378"/>
                            <a:gd name="connsiteX6" fmla="*/ 28640 w 36519"/>
                            <a:gd name="connsiteY6" fmla="*/ 52387 h 57378"/>
                            <a:gd name="connsiteX7" fmla="*/ 35784 w 36519"/>
                            <a:gd name="connsiteY7" fmla="*/ 57150 h 57378"/>
                            <a:gd name="connsiteX8" fmla="*/ 33402 w 36519"/>
                            <a:gd name="connsiteY8" fmla="*/ 50006 h 57378"/>
                            <a:gd name="connsiteX9" fmla="*/ 28640 w 36519"/>
                            <a:gd name="connsiteY9" fmla="*/ 42862 h 57378"/>
                            <a:gd name="connsiteX10" fmla="*/ 21496 w 36519"/>
                            <a:gd name="connsiteY10" fmla="*/ 40481 h 57378"/>
                            <a:gd name="connsiteX11" fmla="*/ 14352 w 36519"/>
                            <a:gd name="connsiteY11" fmla="*/ 33337 h 57378"/>
                            <a:gd name="connsiteX12" fmla="*/ 4827 w 36519"/>
                            <a:gd name="connsiteY12" fmla="*/ 0 h 5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19" h="57378">
                              <a:moveTo>
                                <a:pt x="4827" y="0"/>
                              </a:moveTo>
                              <a:lnTo>
                                <a:pt x="4827" y="0"/>
                              </a:lnTo>
                              <a:cubicBezTo>
                                <a:pt x="3240" y="7144"/>
                                <a:pt x="-543" y="14138"/>
                                <a:pt x="65" y="21431"/>
                              </a:cubicBezTo>
                              <a:cubicBezTo>
                                <a:pt x="345" y="24787"/>
                                <a:pt x="5141" y="25917"/>
                                <a:pt x="7209" y="28575"/>
                              </a:cubicBezTo>
                              <a:cubicBezTo>
                                <a:pt x="10723" y="33093"/>
                                <a:pt x="13559" y="38100"/>
                                <a:pt x="16734" y="42862"/>
                              </a:cubicBezTo>
                              <a:cubicBezTo>
                                <a:pt x="18321" y="45243"/>
                                <a:pt x="18781" y="49101"/>
                                <a:pt x="21496" y="50006"/>
                              </a:cubicBezTo>
                              <a:lnTo>
                                <a:pt x="28640" y="52387"/>
                              </a:lnTo>
                              <a:cubicBezTo>
                                <a:pt x="31021" y="53975"/>
                                <a:pt x="33224" y="58430"/>
                                <a:pt x="35784" y="57150"/>
                              </a:cubicBezTo>
                              <a:cubicBezTo>
                                <a:pt x="38029" y="56027"/>
                                <a:pt x="34525" y="52251"/>
                                <a:pt x="33402" y="50006"/>
                              </a:cubicBezTo>
                              <a:cubicBezTo>
                                <a:pt x="32122" y="47446"/>
                                <a:pt x="30875" y="44650"/>
                                <a:pt x="28640" y="42862"/>
                              </a:cubicBezTo>
                              <a:cubicBezTo>
                                <a:pt x="26680" y="41294"/>
                                <a:pt x="23877" y="41275"/>
                                <a:pt x="21496" y="40481"/>
                              </a:cubicBezTo>
                              <a:cubicBezTo>
                                <a:pt x="19115" y="38100"/>
                                <a:pt x="15987" y="36281"/>
                                <a:pt x="14352" y="33337"/>
                              </a:cubicBezTo>
                              <a:cubicBezTo>
                                <a:pt x="1559" y="10309"/>
                                <a:pt x="6414" y="5556"/>
                                <a:pt x="482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335" name="Freeform 334"/>
                    <p:cNvSpPr/>
                    <p:nvPr/>
                  </p:nvSpPr>
                  <p:spPr>
                    <a:xfrm>
                      <a:off x="4894564" y="3551013"/>
                      <a:ext cx="2123321" cy="1424894"/>
                    </a:xfrm>
                    <a:custGeom>
                      <a:avLst/>
                      <a:gdLst>
                        <a:gd name="connsiteX0" fmla="*/ 157075 w 2123321"/>
                        <a:gd name="connsiteY0" fmla="*/ 252442 h 1424894"/>
                        <a:gd name="connsiteX1" fmla="*/ 157075 w 2123321"/>
                        <a:gd name="connsiteY1" fmla="*/ 252442 h 1424894"/>
                        <a:gd name="connsiteX2" fmla="*/ 157075 w 2123321"/>
                        <a:gd name="connsiteY2" fmla="*/ 297321 h 1424894"/>
                        <a:gd name="connsiteX3" fmla="*/ 162685 w 2123321"/>
                        <a:gd name="connsiteY3" fmla="*/ 305735 h 1424894"/>
                        <a:gd name="connsiteX4" fmla="*/ 171100 w 2123321"/>
                        <a:gd name="connsiteY4" fmla="*/ 322565 h 1424894"/>
                        <a:gd name="connsiteX5" fmla="*/ 173905 w 2123321"/>
                        <a:gd name="connsiteY5" fmla="*/ 330980 h 1424894"/>
                        <a:gd name="connsiteX6" fmla="*/ 190734 w 2123321"/>
                        <a:gd name="connsiteY6" fmla="*/ 345004 h 1424894"/>
                        <a:gd name="connsiteX7" fmla="*/ 196344 w 2123321"/>
                        <a:gd name="connsiteY7" fmla="*/ 361834 h 1424894"/>
                        <a:gd name="connsiteX8" fmla="*/ 201954 w 2123321"/>
                        <a:gd name="connsiteY8" fmla="*/ 392688 h 1424894"/>
                        <a:gd name="connsiteX9" fmla="*/ 201954 w 2123321"/>
                        <a:gd name="connsiteY9" fmla="*/ 462810 h 1424894"/>
                        <a:gd name="connsiteX10" fmla="*/ 196344 w 2123321"/>
                        <a:gd name="connsiteY10" fmla="*/ 479640 h 1424894"/>
                        <a:gd name="connsiteX11" fmla="*/ 185124 w 2123321"/>
                        <a:gd name="connsiteY11" fmla="*/ 490859 h 1424894"/>
                        <a:gd name="connsiteX12" fmla="*/ 151465 w 2123321"/>
                        <a:gd name="connsiteY12" fmla="*/ 513299 h 1424894"/>
                        <a:gd name="connsiteX13" fmla="*/ 134636 w 2123321"/>
                        <a:gd name="connsiteY13" fmla="*/ 527323 h 1424894"/>
                        <a:gd name="connsiteX14" fmla="*/ 123416 w 2123321"/>
                        <a:gd name="connsiteY14" fmla="*/ 544153 h 1424894"/>
                        <a:gd name="connsiteX15" fmla="*/ 115002 w 2123321"/>
                        <a:gd name="connsiteY15" fmla="*/ 552567 h 1424894"/>
                        <a:gd name="connsiteX16" fmla="*/ 109392 w 2123321"/>
                        <a:gd name="connsiteY16" fmla="*/ 560982 h 1424894"/>
                        <a:gd name="connsiteX17" fmla="*/ 106587 w 2123321"/>
                        <a:gd name="connsiteY17" fmla="*/ 569397 h 1424894"/>
                        <a:gd name="connsiteX18" fmla="*/ 98172 w 2123321"/>
                        <a:gd name="connsiteY18" fmla="*/ 572202 h 1424894"/>
                        <a:gd name="connsiteX19" fmla="*/ 89757 w 2123321"/>
                        <a:gd name="connsiteY19" fmla="*/ 589031 h 1424894"/>
                        <a:gd name="connsiteX20" fmla="*/ 81343 w 2123321"/>
                        <a:gd name="connsiteY20" fmla="*/ 597446 h 1424894"/>
                        <a:gd name="connsiteX21" fmla="*/ 70123 w 2123321"/>
                        <a:gd name="connsiteY21" fmla="*/ 614275 h 1424894"/>
                        <a:gd name="connsiteX22" fmla="*/ 64513 w 2123321"/>
                        <a:gd name="connsiteY22" fmla="*/ 622690 h 1424894"/>
                        <a:gd name="connsiteX23" fmla="*/ 58903 w 2123321"/>
                        <a:gd name="connsiteY23" fmla="*/ 631105 h 1424894"/>
                        <a:gd name="connsiteX24" fmla="*/ 53294 w 2123321"/>
                        <a:gd name="connsiteY24" fmla="*/ 650739 h 1424894"/>
                        <a:gd name="connsiteX25" fmla="*/ 50489 w 2123321"/>
                        <a:gd name="connsiteY25" fmla="*/ 695618 h 1424894"/>
                        <a:gd name="connsiteX26" fmla="*/ 56099 w 2123321"/>
                        <a:gd name="connsiteY26" fmla="*/ 720862 h 1424894"/>
                        <a:gd name="connsiteX27" fmla="*/ 61708 w 2123321"/>
                        <a:gd name="connsiteY27" fmla="*/ 729277 h 1424894"/>
                        <a:gd name="connsiteX28" fmla="*/ 58903 w 2123321"/>
                        <a:gd name="connsiteY28" fmla="*/ 754521 h 1424894"/>
                        <a:gd name="connsiteX29" fmla="*/ 50489 w 2123321"/>
                        <a:gd name="connsiteY29" fmla="*/ 757326 h 1424894"/>
                        <a:gd name="connsiteX30" fmla="*/ 30854 w 2123321"/>
                        <a:gd name="connsiteY30" fmla="*/ 760131 h 1424894"/>
                        <a:gd name="connsiteX31" fmla="*/ 14025 w 2123321"/>
                        <a:gd name="connsiteY31" fmla="*/ 810619 h 1424894"/>
                        <a:gd name="connsiteX32" fmla="*/ 11220 w 2123321"/>
                        <a:gd name="connsiteY32" fmla="*/ 819034 h 1424894"/>
                        <a:gd name="connsiteX33" fmla="*/ 0 w 2123321"/>
                        <a:gd name="connsiteY33" fmla="*/ 835863 h 1424894"/>
                        <a:gd name="connsiteX34" fmla="*/ 2805 w 2123321"/>
                        <a:gd name="connsiteY34" fmla="*/ 872327 h 1424894"/>
                        <a:gd name="connsiteX35" fmla="*/ 16830 w 2123321"/>
                        <a:gd name="connsiteY35" fmla="*/ 883547 h 1424894"/>
                        <a:gd name="connsiteX36" fmla="*/ 25245 w 2123321"/>
                        <a:gd name="connsiteY36" fmla="*/ 889156 h 1424894"/>
                        <a:gd name="connsiteX37" fmla="*/ 56099 w 2123321"/>
                        <a:gd name="connsiteY37" fmla="*/ 894766 h 1424894"/>
                        <a:gd name="connsiteX38" fmla="*/ 58903 w 2123321"/>
                        <a:gd name="connsiteY38" fmla="*/ 914400 h 1424894"/>
                        <a:gd name="connsiteX39" fmla="*/ 67318 w 2123321"/>
                        <a:gd name="connsiteY39" fmla="*/ 922815 h 1424894"/>
                        <a:gd name="connsiteX40" fmla="*/ 84148 w 2123321"/>
                        <a:gd name="connsiteY40" fmla="*/ 931230 h 1424894"/>
                        <a:gd name="connsiteX41" fmla="*/ 98172 w 2123321"/>
                        <a:gd name="connsiteY41" fmla="*/ 920010 h 1424894"/>
                        <a:gd name="connsiteX42" fmla="*/ 120611 w 2123321"/>
                        <a:gd name="connsiteY42" fmla="*/ 914400 h 1424894"/>
                        <a:gd name="connsiteX43" fmla="*/ 182319 w 2123321"/>
                        <a:gd name="connsiteY43" fmla="*/ 917205 h 1424894"/>
                        <a:gd name="connsiteX44" fmla="*/ 193539 w 2123321"/>
                        <a:gd name="connsiteY44" fmla="*/ 931230 h 1424894"/>
                        <a:gd name="connsiteX45" fmla="*/ 201954 w 2123321"/>
                        <a:gd name="connsiteY45" fmla="*/ 934035 h 1424894"/>
                        <a:gd name="connsiteX46" fmla="*/ 235613 w 2123321"/>
                        <a:gd name="connsiteY46" fmla="*/ 931230 h 1424894"/>
                        <a:gd name="connsiteX47" fmla="*/ 252442 w 2123321"/>
                        <a:gd name="connsiteY47" fmla="*/ 925620 h 1424894"/>
                        <a:gd name="connsiteX48" fmla="*/ 260857 w 2123321"/>
                        <a:gd name="connsiteY48" fmla="*/ 922815 h 1424894"/>
                        <a:gd name="connsiteX49" fmla="*/ 280491 w 2123321"/>
                        <a:gd name="connsiteY49" fmla="*/ 931230 h 1424894"/>
                        <a:gd name="connsiteX50" fmla="*/ 288906 w 2123321"/>
                        <a:gd name="connsiteY50" fmla="*/ 939645 h 1424894"/>
                        <a:gd name="connsiteX51" fmla="*/ 297321 w 2123321"/>
                        <a:gd name="connsiteY51" fmla="*/ 942450 h 1424894"/>
                        <a:gd name="connsiteX52" fmla="*/ 314150 w 2123321"/>
                        <a:gd name="connsiteY52" fmla="*/ 950864 h 1424894"/>
                        <a:gd name="connsiteX53" fmla="*/ 342199 w 2123321"/>
                        <a:gd name="connsiteY53" fmla="*/ 948059 h 1424894"/>
                        <a:gd name="connsiteX54" fmla="*/ 356224 w 2123321"/>
                        <a:gd name="connsiteY54" fmla="*/ 922815 h 1424894"/>
                        <a:gd name="connsiteX55" fmla="*/ 364638 w 2123321"/>
                        <a:gd name="connsiteY55" fmla="*/ 917205 h 1424894"/>
                        <a:gd name="connsiteX56" fmla="*/ 384273 w 2123321"/>
                        <a:gd name="connsiteY56" fmla="*/ 914400 h 1424894"/>
                        <a:gd name="connsiteX57" fmla="*/ 454396 w 2123321"/>
                        <a:gd name="connsiteY57" fmla="*/ 911596 h 1424894"/>
                        <a:gd name="connsiteX58" fmla="*/ 471225 w 2123321"/>
                        <a:gd name="connsiteY58" fmla="*/ 905986 h 1424894"/>
                        <a:gd name="connsiteX59" fmla="*/ 479640 w 2123321"/>
                        <a:gd name="connsiteY59" fmla="*/ 903181 h 1424894"/>
                        <a:gd name="connsiteX60" fmla="*/ 493664 w 2123321"/>
                        <a:gd name="connsiteY60" fmla="*/ 889156 h 1424894"/>
                        <a:gd name="connsiteX61" fmla="*/ 502079 w 2123321"/>
                        <a:gd name="connsiteY61" fmla="*/ 883547 h 1424894"/>
                        <a:gd name="connsiteX62" fmla="*/ 510494 w 2123321"/>
                        <a:gd name="connsiteY62" fmla="*/ 875132 h 1424894"/>
                        <a:gd name="connsiteX63" fmla="*/ 518908 w 2123321"/>
                        <a:gd name="connsiteY63" fmla="*/ 872327 h 1424894"/>
                        <a:gd name="connsiteX64" fmla="*/ 527323 w 2123321"/>
                        <a:gd name="connsiteY64" fmla="*/ 866717 h 1424894"/>
                        <a:gd name="connsiteX65" fmla="*/ 538543 w 2123321"/>
                        <a:gd name="connsiteY65" fmla="*/ 849888 h 1424894"/>
                        <a:gd name="connsiteX66" fmla="*/ 544153 w 2123321"/>
                        <a:gd name="connsiteY66" fmla="*/ 833058 h 1424894"/>
                        <a:gd name="connsiteX67" fmla="*/ 552567 w 2123321"/>
                        <a:gd name="connsiteY67" fmla="*/ 827448 h 1424894"/>
                        <a:gd name="connsiteX68" fmla="*/ 577811 w 2123321"/>
                        <a:gd name="connsiteY68" fmla="*/ 821839 h 1424894"/>
                        <a:gd name="connsiteX69" fmla="*/ 622690 w 2123321"/>
                        <a:gd name="connsiteY69" fmla="*/ 819034 h 1424894"/>
                        <a:gd name="connsiteX70" fmla="*/ 650739 w 2123321"/>
                        <a:gd name="connsiteY70" fmla="*/ 810619 h 1424894"/>
                        <a:gd name="connsiteX71" fmla="*/ 675983 w 2123321"/>
                        <a:gd name="connsiteY71" fmla="*/ 813424 h 1424894"/>
                        <a:gd name="connsiteX72" fmla="*/ 687203 w 2123321"/>
                        <a:gd name="connsiteY72" fmla="*/ 819034 h 1424894"/>
                        <a:gd name="connsiteX73" fmla="*/ 695618 w 2123321"/>
                        <a:gd name="connsiteY73" fmla="*/ 821839 h 1424894"/>
                        <a:gd name="connsiteX74" fmla="*/ 704032 w 2123321"/>
                        <a:gd name="connsiteY74" fmla="*/ 827448 h 1424894"/>
                        <a:gd name="connsiteX75" fmla="*/ 720862 w 2123321"/>
                        <a:gd name="connsiteY75" fmla="*/ 833058 h 1424894"/>
                        <a:gd name="connsiteX76" fmla="*/ 734886 w 2123321"/>
                        <a:gd name="connsiteY76" fmla="*/ 844278 h 1424894"/>
                        <a:gd name="connsiteX77" fmla="*/ 748911 w 2123321"/>
                        <a:gd name="connsiteY77" fmla="*/ 855497 h 1424894"/>
                        <a:gd name="connsiteX78" fmla="*/ 760130 w 2123321"/>
                        <a:gd name="connsiteY78" fmla="*/ 872327 h 1424894"/>
                        <a:gd name="connsiteX79" fmla="*/ 782570 w 2123321"/>
                        <a:gd name="connsiteY79" fmla="*/ 847083 h 1424894"/>
                        <a:gd name="connsiteX80" fmla="*/ 805009 w 2123321"/>
                        <a:gd name="connsiteY80" fmla="*/ 855497 h 1424894"/>
                        <a:gd name="connsiteX81" fmla="*/ 819034 w 2123321"/>
                        <a:gd name="connsiteY81" fmla="*/ 877937 h 1424894"/>
                        <a:gd name="connsiteX82" fmla="*/ 833058 w 2123321"/>
                        <a:gd name="connsiteY82" fmla="*/ 880742 h 1424894"/>
                        <a:gd name="connsiteX83" fmla="*/ 841473 w 2123321"/>
                        <a:gd name="connsiteY83" fmla="*/ 886351 h 1424894"/>
                        <a:gd name="connsiteX84" fmla="*/ 847083 w 2123321"/>
                        <a:gd name="connsiteY84" fmla="*/ 903181 h 1424894"/>
                        <a:gd name="connsiteX85" fmla="*/ 858302 w 2123321"/>
                        <a:gd name="connsiteY85" fmla="*/ 956474 h 1424894"/>
                        <a:gd name="connsiteX86" fmla="*/ 866717 w 2123321"/>
                        <a:gd name="connsiteY86" fmla="*/ 959279 h 1424894"/>
                        <a:gd name="connsiteX87" fmla="*/ 872327 w 2123321"/>
                        <a:gd name="connsiteY87" fmla="*/ 967694 h 1424894"/>
                        <a:gd name="connsiteX88" fmla="*/ 889156 w 2123321"/>
                        <a:gd name="connsiteY88" fmla="*/ 973304 h 1424894"/>
                        <a:gd name="connsiteX89" fmla="*/ 894766 w 2123321"/>
                        <a:gd name="connsiteY89" fmla="*/ 981718 h 1424894"/>
                        <a:gd name="connsiteX90" fmla="*/ 911596 w 2123321"/>
                        <a:gd name="connsiteY90" fmla="*/ 990133 h 1424894"/>
                        <a:gd name="connsiteX91" fmla="*/ 917205 w 2123321"/>
                        <a:gd name="connsiteY91" fmla="*/ 1020987 h 1424894"/>
                        <a:gd name="connsiteX92" fmla="*/ 928425 w 2123321"/>
                        <a:gd name="connsiteY92" fmla="*/ 1037816 h 1424894"/>
                        <a:gd name="connsiteX93" fmla="*/ 934035 w 2123321"/>
                        <a:gd name="connsiteY93" fmla="*/ 1046231 h 1424894"/>
                        <a:gd name="connsiteX94" fmla="*/ 939645 w 2123321"/>
                        <a:gd name="connsiteY94" fmla="*/ 1054646 h 1424894"/>
                        <a:gd name="connsiteX95" fmla="*/ 945254 w 2123321"/>
                        <a:gd name="connsiteY95" fmla="*/ 1071475 h 1424894"/>
                        <a:gd name="connsiteX96" fmla="*/ 962084 w 2123321"/>
                        <a:gd name="connsiteY96" fmla="*/ 1079890 h 1424894"/>
                        <a:gd name="connsiteX97" fmla="*/ 970499 w 2123321"/>
                        <a:gd name="connsiteY97" fmla="*/ 1082695 h 1424894"/>
                        <a:gd name="connsiteX98" fmla="*/ 973303 w 2123321"/>
                        <a:gd name="connsiteY98" fmla="*/ 1091110 h 1424894"/>
                        <a:gd name="connsiteX99" fmla="*/ 976108 w 2123321"/>
                        <a:gd name="connsiteY99" fmla="*/ 1113549 h 1424894"/>
                        <a:gd name="connsiteX100" fmla="*/ 987328 w 2123321"/>
                        <a:gd name="connsiteY100" fmla="*/ 1130378 h 1424894"/>
                        <a:gd name="connsiteX101" fmla="*/ 995743 w 2123321"/>
                        <a:gd name="connsiteY101" fmla="*/ 1147208 h 1424894"/>
                        <a:gd name="connsiteX102" fmla="*/ 992938 w 2123321"/>
                        <a:gd name="connsiteY102" fmla="*/ 1155623 h 1424894"/>
                        <a:gd name="connsiteX103" fmla="*/ 976108 w 2123321"/>
                        <a:gd name="connsiteY103" fmla="*/ 1164037 h 1424894"/>
                        <a:gd name="connsiteX104" fmla="*/ 945254 w 2123321"/>
                        <a:gd name="connsiteY104" fmla="*/ 1164037 h 1424894"/>
                        <a:gd name="connsiteX105" fmla="*/ 925620 w 2123321"/>
                        <a:gd name="connsiteY105" fmla="*/ 1158427 h 1424894"/>
                        <a:gd name="connsiteX106" fmla="*/ 905986 w 2123321"/>
                        <a:gd name="connsiteY106" fmla="*/ 1147208 h 1424894"/>
                        <a:gd name="connsiteX107" fmla="*/ 880742 w 2123321"/>
                        <a:gd name="connsiteY107" fmla="*/ 1133183 h 1424894"/>
                        <a:gd name="connsiteX108" fmla="*/ 869522 w 2123321"/>
                        <a:gd name="connsiteY108" fmla="*/ 1135988 h 1424894"/>
                        <a:gd name="connsiteX109" fmla="*/ 863912 w 2123321"/>
                        <a:gd name="connsiteY109" fmla="*/ 1144403 h 1424894"/>
                        <a:gd name="connsiteX110" fmla="*/ 863912 w 2123321"/>
                        <a:gd name="connsiteY110" fmla="*/ 1206111 h 1424894"/>
                        <a:gd name="connsiteX111" fmla="*/ 875132 w 2123321"/>
                        <a:gd name="connsiteY111" fmla="*/ 1222940 h 1424894"/>
                        <a:gd name="connsiteX112" fmla="*/ 863912 w 2123321"/>
                        <a:gd name="connsiteY112" fmla="*/ 1245380 h 1424894"/>
                        <a:gd name="connsiteX113" fmla="*/ 847083 w 2123321"/>
                        <a:gd name="connsiteY113" fmla="*/ 1250989 h 1424894"/>
                        <a:gd name="connsiteX114" fmla="*/ 830253 w 2123321"/>
                        <a:gd name="connsiteY114" fmla="*/ 1259404 h 1424894"/>
                        <a:gd name="connsiteX115" fmla="*/ 824643 w 2123321"/>
                        <a:gd name="connsiteY115" fmla="*/ 1267819 h 1424894"/>
                        <a:gd name="connsiteX116" fmla="*/ 819034 w 2123321"/>
                        <a:gd name="connsiteY116" fmla="*/ 1284648 h 1424894"/>
                        <a:gd name="connsiteX117" fmla="*/ 813424 w 2123321"/>
                        <a:gd name="connsiteY117" fmla="*/ 1293063 h 1424894"/>
                        <a:gd name="connsiteX118" fmla="*/ 813424 w 2123321"/>
                        <a:gd name="connsiteY118" fmla="*/ 1337942 h 1424894"/>
                        <a:gd name="connsiteX119" fmla="*/ 824643 w 2123321"/>
                        <a:gd name="connsiteY119" fmla="*/ 1354771 h 1424894"/>
                        <a:gd name="connsiteX120" fmla="*/ 872327 w 2123321"/>
                        <a:gd name="connsiteY120" fmla="*/ 1357576 h 1424894"/>
                        <a:gd name="connsiteX121" fmla="*/ 900376 w 2123321"/>
                        <a:gd name="connsiteY121" fmla="*/ 1354771 h 1424894"/>
                        <a:gd name="connsiteX122" fmla="*/ 908791 w 2123321"/>
                        <a:gd name="connsiteY122" fmla="*/ 1351966 h 1424894"/>
                        <a:gd name="connsiteX123" fmla="*/ 914400 w 2123321"/>
                        <a:gd name="connsiteY123" fmla="*/ 1343551 h 1424894"/>
                        <a:gd name="connsiteX124" fmla="*/ 953669 w 2123321"/>
                        <a:gd name="connsiteY124" fmla="*/ 1332332 h 1424894"/>
                        <a:gd name="connsiteX125" fmla="*/ 959279 w 2123321"/>
                        <a:gd name="connsiteY125" fmla="*/ 1304283 h 1424894"/>
                        <a:gd name="connsiteX126" fmla="*/ 953669 w 2123321"/>
                        <a:gd name="connsiteY126" fmla="*/ 1287453 h 1424894"/>
                        <a:gd name="connsiteX127" fmla="*/ 956474 w 2123321"/>
                        <a:gd name="connsiteY127" fmla="*/ 1270624 h 1424894"/>
                        <a:gd name="connsiteX128" fmla="*/ 962084 w 2123321"/>
                        <a:gd name="connsiteY128" fmla="*/ 1279039 h 1424894"/>
                        <a:gd name="connsiteX129" fmla="*/ 964889 w 2123321"/>
                        <a:gd name="connsiteY129" fmla="*/ 1287453 h 1424894"/>
                        <a:gd name="connsiteX130" fmla="*/ 973303 w 2123321"/>
                        <a:gd name="connsiteY130" fmla="*/ 1290258 h 1424894"/>
                        <a:gd name="connsiteX131" fmla="*/ 981718 w 2123321"/>
                        <a:gd name="connsiteY131" fmla="*/ 1287453 h 1424894"/>
                        <a:gd name="connsiteX132" fmla="*/ 984523 w 2123321"/>
                        <a:gd name="connsiteY132" fmla="*/ 1279039 h 1424894"/>
                        <a:gd name="connsiteX133" fmla="*/ 987328 w 2123321"/>
                        <a:gd name="connsiteY133" fmla="*/ 1262209 h 1424894"/>
                        <a:gd name="connsiteX134" fmla="*/ 992938 w 2123321"/>
                        <a:gd name="connsiteY134" fmla="*/ 1253794 h 1424894"/>
                        <a:gd name="connsiteX135" fmla="*/ 1009767 w 2123321"/>
                        <a:gd name="connsiteY135" fmla="*/ 1248185 h 1424894"/>
                        <a:gd name="connsiteX136" fmla="*/ 1018182 w 2123321"/>
                        <a:gd name="connsiteY136" fmla="*/ 1239770 h 1424894"/>
                        <a:gd name="connsiteX137" fmla="*/ 1026597 w 2123321"/>
                        <a:gd name="connsiteY137" fmla="*/ 1234160 h 1424894"/>
                        <a:gd name="connsiteX138" fmla="*/ 1029402 w 2123321"/>
                        <a:gd name="connsiteY138" fmla="*/ 1225745 h 1424894"/>
                        <a:gd name="connsiteX139" fmla="*/ 1040621 w 2123321"/>
                        <a:gd name="connsiteY139" fmla="*/ 1217331 h 1424894"/>
                        <a:gd name="connsiteX140" fmla="*/ 1063061 w 2123321"/>
                        <a:gd name="connsiteY140" fmla="*/ 1192086 h 1424894"/>
                        <a:gd name="connsiteX141" fmla="*/ 1071475 w 2123321"/>
                        <a:gd name="connsiteY141" fmla="*/ 1169647 h 1424894"/>
                        <a:gd name="connsiteX142" fmla="*/ 1074280 w 2123321"/>
                        <a:gd name="connsiteY142" fmla="*/ 1161232 h 1424894"/>
                        <a:gd name="connsiteX143" fmla="*/ 1079890 w 2123321"/>
                        <a:gd name="connsiteY143" fmla="*/ 1141598 h 1424894"/>
                        <a:gd name="connsiteX144" fmla="*/ 1082695 w 2123321"/>
                        <a:gd name="connsiteY144" fmla="*/ 1119159 h 1424894"/>
                        <a:gd name="connsiteX145" fmla="*/ 1099524 w 2123321"/>
                        <a:gd name="connsiteY145" fmla="*/ 1107939 h 1424894"/>
                        <a:gd name="connsiteX146" fmla="*/ 1110744 w 2123321"/>
                        <a:gd name="connsiteY146" fmla="*/ 1102329 h 1424894"/>
                        <a:gd name="connsiteX147" fmla="*/ 1119159 w 2123321"/>
                        <a:gd name="connsiteY147" fmla="*/ 1099524 h 1424894"/>
                        <a:gd name="connsiteX148" fmla="*/ 1130378 w 2123321"/>
                        <a:gd name="connsiteY148" fmla="*/ 1091110 h 1424894"/>
                        <a:gd name="connsiteX149" fmla="*/ 1150013 w 2123321"/>
                        <a:gd name="connsiteY149" fmla="*/ 1079890 h 1424894"/>
                        <a:gd name="connsiteX150" fmla="*/ 1155623 w 2123321"/>
                        <a:gd name="connsiteY150" fmla="*/ 1071475 h 1424894"/>
                        <a:gd name="connsiteX151" fmla="*/ 1158427 w 2123321"/>
                        <a:gd name="connsiteY151" fmla="*/ 1032207 h 1424894"/>
                        <a:gd name="connsiteX152" fmla="*/ 1166842 w 2123321"/>
                        <a:gd name="connsiteY152" fmla="*/ 1029402 h 1424894"/>
                        <a:gd name="connsiteX153" fmla="*/ 1180867 w 2123321"/>
                        <a:gd name="connsiteY153" fmla="*/ 1032207 h 1424894"/>
                        <a:gd name="connsiteX154" fmla="*/ 1183672 w 2123321"/>
                        <a:gd name="connsiteY154" fmla="*/ 1040621 h 1424894"/>
                        <a:gd name="connsiteX155" fmla="*/ 1192086 w 2123321"/>
                        <a:gd name="connsiteY155" fmla="*/ 1046231 h 1424894"/>
                        <a:gd name="connsiteX156" fmla="*/ 1200501 w 2123321"/>
                        <a:gd name="connsiteY156" fmla="*/ 1040621 h 1424894"/>
                        <a:gd name="connsiteX157" fmla="*/ 1206111 w 2123321"/>
                        <a:gd name="connsiteY157" fmla="*/ 1006962 h 1424894"/>
                        <a:gd name="connsiteX158" fmla="*/ 1211721 w 2123321"/>
                        <a:gd name="connsiteY158" fmla="*/ 1015377 h 1424894"/>
                        <a:gd name="connsiteX159" fmla="*/ 1220135 w 2123321"/>
                        <a:gd name="connsiteY159" fmla="*/ 1026597 h 1424894"/>
                        <a:gd name="connsiteX160" fmla="*/ 1222940 w 2123321"/>
                        <a:gd name="connsiteY160" fmla="*/ 1035012 h 1424894"/>
                        <a:gd name="connsiteX161" fmla="*/ 1225745 w 2123321"/>
                        <a:gd name="connsiteY161" fmla="*/ 1054646 h 1424894"/>
                        <a:gd name="connsiteX162" fmla="*/ 1234160 w 2123321"/>
                        <a:gd name="connsiteY162" fmla="*/ 1060256 h 1424894"/>
                        <a:gd name="connsiteX163" fmla="*/ 1262209 w 2123321"/>
                        <a:gd name="connsiteY163" fmla="*/ 1065866 h 1424894"/>
                        <a:gd name="connsiteX164" fmla="*/ 1276234 w 2123321"/>
                        <a:gd name="connsiteY164" fmla="*/ 1068670 h 1424894"/>
                        <a:gd name="connsiteX165" fmla="*/ 1284648 w 2123321"/>
                        <a:gd name="connsiteY165" fmla="*/ 1074280 h 1424894"/>
                        <a:gd name="connsiteX166" fmla="*/ 1287453 w 2123321"/>
                        <a:gd name="connsiteY166" fmla="*/ 1082695 h 1424894"/>
                        <a:gd name="connsiteX167" fmla="*/ 1265014 w 2123321"/>
                        <a:gd name="connsiteY167" fmla="*/ 1088305 h 1424894"/>
                        <a:gd name="connsiteX168" fmla="*/ 1253794 w 2123321"/>
                        <a:gd name="connsiteY168" fmla="*/ 1085500 h 1424894"/>
                        <a:gd name="connsiteX169" fmla="*/ 1194891 w 2123321"/>
                        <a:gd name="connsiteY169" fmla="*/ 1091110 h 1424894"/>
                        <a:gd name="connsiteX170" fmla="*/ 1197696 w 2123321"/>
                        <a:gd name="connsiteY170" fmla="*/ 1099524 h 1424894"/>
                        <a:gd name="connsiteX171" fmla="*/ 1217330 w 2123321"/>
                        <a:gd name="connsiteY171" fmla="*/ 1102329 h 1424894"/>
                        <a:gd name="connsiteX172" fmla="*/ 1239770 w 2123321"/>
                        <a:gd name="connsiteY172" fmla="*/ 1105134 h 1424894"/>
                        <a:gd name="connsiteX173" fmla="*/ 1256599 w 2123321"/>
                        <a:gd name="connsiteY173" fmla="*/ 1113549 h 1424894"/>
                        <a:gd name="connsiteX174" fmla="*/ 1250989 w 2123321"/>
                        <a:gd name="connsiteY174" fmla="*/ 1121964 h 1424894"/>
                        <a:gd name="connsiteX175" fmla="*/ 1234160 w 2123321"/>
                        <a:gd name="connsiteY175" fmla="*/ 1127574 h 1424894"/>
                        <a:gd name="connsiteX176" fmla="*/ 1253794 w 2123321"/>
                        <a:gd name="connsiteY176" fmla="*/ 1133183 h 1424894"/>
                        <a:gd name="connsiteX177" fmla="*/ 1281843 w 2123321"/>
                        <a:gd name="connsiteY177" fmla="*/ 1141598 h 1424894"/>
                        <a:gd name="connsiteX178" fmla="*/ 1298673 w 2123321"/>
                        <a:gd name="connsiteY178" fmla="*/ 1147208 h 1424894"/>
                        <a:gd name="connsiteX179" fmla="*/ 1307088 w 2123321"/>
                        <a:gd name="connsiteY179" fmla="*/ 1150013 h 1424894"/>
                        <a:gd name="connsiteX180" fmla="*/ 1323917 w 2123321"/>
                        <a:gd name="connsiteY180" fmla="*/ 1147208 h 1424894"/>
                        <a:gd name="connsiteX181" fmla="*/ 1332332 w 2123321"/>
                        <a:gd name="connsiteY181" fmla="*/ 1138793 h 1424894"/>
                        <a:gd name="connsiteX182" fmla="*/ 1343551 w 2123321"/>
                        <a:gd name="connsiteY182" fmla="*/ 1130378 h 1424894"/>
                        <a:gd name="connsiteX183" fmla="*/ 1360381 w 2123321"/>
                        <a:gd name="connsiteY183" fmla="*/ 1124769 h 1424894"/>
                        <a:gd name="connsiteX184" fmla="*/ 1450138 w 2123321"/>
                        <a:gd name="connsiteY184" fmla="*/ 1135988 h 1424894"/>
                        <a:gd name="connsiteX185" fmla="*/ 1450138 w 2123321"/>
                        <a:gd name="connsiteY185" fmla="*/ 1164037 h 1424894"/>
                        <a:gd name="connsiteX186" fmla="*/ 1441723 w 2123321"/>
                        <a:gd name="connsiteY186" fmla="*/ 1166842 h 1424894"/>
                        <a:gd name="connsiteX187" fmla="*/ 1419284 w 2123321"/>
                        <a:gd name="connsiteY187" fmla="*/ 1180867 h 1424894"/>
                        <a:gd name="connsiteX188" fmla="*/ 1394040 w 2123321"/>
                        <a:gd name="connsiteY188" fmla="*/ 1194891 h 1424894"/>
                        <a:gd name="connsiteX189" fmla="*/ 1385625 w 2123321"/>
                        <a:gd name="connsiteY189" fmla="*/ 1206111 h 1424894"/>
                        <a:gd name="connsiteX190" fmla="*/ 1380015 w 2123321"/>
                        <a:gd name="connsiteY190" fmla="*/ 1214526 h 1424894"/>
                        <a:gd name="connsiteX191" fmla="*/ 1371600 w 2123321"/>
                        <a:gd name="connsiteY191" fmla="*/ 1220135 h 1424894"/>
                        <a:gd name="connsiteX192" fmla="*/ 1363186 w 2123321"/>
                        <a:gd name="connsiteY192" fmla="*/ 1231355 h 1424894"/>
                        <a:gd name="connsiteX193" fmla="*/ 1354771 w 2123321"/>
                        <a:gd name="connsiteY193" fmla="*/ 1234160 h 1424894"/>
                        <a:gd name="connsiteX194" fmla="*/ 1335137 w 2123321"/>
                        <a:gd name="connsiteY194" fmla="*/ 1253794 h 1424894"/>
                        <a:gd name="connsiteX195" fmla="*/ 1332332 w 2123321"/>
                        <a:gd name="connsiteY195" fmla="*/ 1262209 h 1424894"/>
                        <a:gd name="connsiteX196" fmla="*/ 1335137 w 2123321"/>
                        <a:gd name="connsiteY196" fmla="*/ 1284648 h 1424894"/>
                        <a:gd name="connsiteX197" fmla="*/ 1346356 w 2123321"/>
                        <a:gd name="connsiteY197" fmla="*/ 1290258 h 1424894"/>
                        <a:gd name="connsiteX198" fmla="*/ 1391235 w 2123321"/>
                        <a:gd name="connsiteY198" fmla="*/ 1293063 h 1424894"/>
                        <a:gd name="connsiteX199" fmla="*/ 1408064 w 2123321"/>
                        <a:gd name="connsiteY199" fmla="*/ 1304283 h 1424894"/>
                        <a:gd name="connsiteX200" fmla="*/ 1419284 w 2123321"/>
                        <a:gd name="connsiteY200" fmla="*/ 1307088 h 1424894"/>
                        <a:gd name="connsiteX201" fmla="*/ 1427699 w 2123321"/>
                        <a:gd name="connsiteY201" fmla="*/ 1309893 h 1424894"/>
                        <a:gd name="connsiteX202" fmla="*/ 1458553 w 2123321"/>
                        <a:gd name="connsiteY202" fmla="*/ 1309893 h 1424894"/>
                        <a:gd name="connsiteX203" fmla="*/ 1466967 w 2123321"/>
                        <a:gd name="connsiteY203" fmla="*/ 1323917 h 1424894"/>
                        <a:gd name="connsiteX204" fmla="*/ 1469772 w 2123321"/>
                        <a:gd name="connsiteY204" fmla="*/ 1335137 h 1424894"/>
                        <a:gd name="connsiteX205" fmla="*/ 1472577 w 2123321"/>
                        <a:gd name="connsiteY205" fmla="*/ 1343551 h 1424894"/>
                        <a:gd name="connsiteX206" fmla="*/ 1469772 w 2123321"/>
                        <a:gd name="connsiteY206" fmla="*/ 1363186 h 1424894"/>
                        <a:gd name="connsiteX207" fmla="*/ 1472577 w 2123321"/>
                        <a:gd name="connsiteY207" fmla="*/ 1380015 h 1424894"/>
                        <a:gd name="connsiteX208" fmla="*/ 1475382 w 2123321"/>
                        <a:gd name="connsiteY208" fmla="*/ 1391235 h 1424894"/>
                        <a:gd name="connsiteX209" fmla="*/ 1486602 w 2123321"/>
                        <a:gd name="connsiteY209" fmla="*/ 1419284 h 1424894"/>
                        <a:gd name="connsiteX210" fmla="*/ 1506236 w 2123321"/>
                        <a:gd name="connsiteY210" fmla="*/ 1424894 h 1424894"/>
                        <a:gd name="connsiteX211" fmla="*/ 1562334 w 2123321"/>
                        <a:gd name="connsiteY211" fmla="*/ 1413674 h 1424894"/>
                        <a:gd name="connsiteX212" fmla="*/ 1565139 w 2123321"/>
                        <a:gd name="connsiteY212" fmla="*/ 1405259 h 1424894"/>
                        <a:gd name="connsiteX213" fmla="*/ 1573554 w 2123321"/>
                        <a:gd name="connsiteY213" fmla="*/ 1396845 h 1424894"/>
                        <a:gd name="connsiteX214" fmla="*/ 1579164 w 2123321"/>
                        <a:gd name="connsiteY214" fmla="*/ 1368796 h 1424894"/>
                        <a:gd name="connsiteX215" fmla="*/ 1581969 w 2123321"/>
                        <a:gd name="connsiteY215" fmla="*/ 1360381 h 1424894"/>
                        <a:gd name="connsiteX216" fmla="*/ 1610018 w 2123321"/>
                        <a:gd name="connsiteY216" fmla="*/ 1343551 h 1424894"/>
                        <a:gd name="connsiteX217" fmla="*/ 1629652 w 2123321"/>
                        <a:gd name="connsiteY217" fmla="*/ 1337942 h 1424894"/>
                        <a:gd name="connsiteX218" fmla="*/ 1638067 w 2123321"/>
                        <a:gd name="connsiteY218" fmla="*/ 1332332 h 1424894"/>
                        <a:gd name="connsiteX219" fmla="*/ 1646481 w 2123321"/>
                        <a:gd name="connsiteY219" fmla="*/ 1329527 h 1424894"/>
                        <a:gd name="connsiteX220" fmla="*/ 1668921 w 2123321"/>
                        <a:gd name="connsiteY220" fmla="*/ 1321112 h 1424894"/>
                        <a:gd name="connsiteX221" fmla="*/ 1685750 w 2123321"/>
                        <a:gd name="connsiteY221" fmla="*/ 1298673 h 1424894"/>
                        <a:gd name="connsiteX222" fmla="*/ 1694165 w 2123321"/>
                        <a:gd name="connsiteY222" fmla="*/ 1284648 h 1424894"/>
                        <a:gd name="connsiteX223" fmla="*/ 1710994 w 2123321"/>
                        <a:gd name="connsiteY223" fmla="*/ 1270624 h 1424894"/>
                        <a:gd name="connsiteX224" fmla="*/ 1739043 w 2123321"/>
                        <a:gd name="connsiteY224" fmla="*/ 1265014 h 1424894"/>
                        <a:gd name="connsiteX225" fmla="*/ 1786727 w 2123321"/>
                        <a:gd name="connsiteY225" fmla="*/ 1262209 h 1424894"/>
                        <a:gd name="connsiteX226" fmla="*/ 1797946 w 2123321"/>
                        <a:gd name="connsiteY226" fmla="*/ 1253794 h 1424894"/>
                        <a:gd name="connsiteX227" fmla="*/ 1814776 w 2123321"/>
                        <a:gd name="connsiteY227" fmla="*/ 1242575 h 1424894"/>
                        <a:gd name="connsiteX228" fmla="*/ 1817581 w 2123321"/>
                        <a:gd name="connsiteY228" fmla="*/ 1231355 h 1424894"/>
                        <a:gd name="connsiteX229" fmla="*/ 1820386 w 2123321"/>
                        <a:gd name="connsiteY229" fmla="*/ 1197696 h 1424894"/>
                        <a:gd name="connsiteX230" fmla="*/ 1828800 w 2123321"/>
                        <a:gd name="connsiteY230" fmla="*/ 1189281 h 1424894"/>
                        <a:gd name="connsiteX231" fmla="*/ 1775507 w 2123321"/>
                        <a:gd name="connsiteY231" fmla="*/ 1183672 h 1424894"/>
                        <a:gd name="connsiteX232" fmla="*/ 1767092 w 2123321"/>
                        <a:gd name="connsiteY232" fmla="*/ 1189281 h 1424894"/>
                        <a:gd name="connsiteX233" fmla="*/ 1758678 w 2123321"/>
                        <a:gd name="connsiteY233" fmla="*/ 1192086 h 1424894"/>
                        <a:gd name="connsiteX234" fmla="*/ 1750263 w 2123321"/>
                        <a:gd name="connsiteY234" fmla="*/ 1197696 h 1424894"/>
                        <a:gd name="connsiteX235" fmla="*/ 1727824 w 2123321"/>
                        <a:gd name="connsiteY235" fmla="*/ 1203306 h 1424894"/>
                        <a:gd name="connsiteX236" fmla="*/ 1710994 w 2123321"/>
                        <a:gd name="connsiteY236" fmla="*/ 1217331 h 1424894"/>
                        <a:gd name="connsiteX237" fmla="*/ 1702580 w 2123321"/>
                        <a:gd name="connsiteY237" fmla="*/ 1222940 h 1424894"/>
                        <a:gd name="connsiteX238" fmla="*/ 1691360 w 2123321"/>
                        <a:gd name="connsiteY238" fmla="*/ 1231355 h 1424894"/>
                        <a:gd name="connsiteX239" fmla="*/ 1677335 w 2123321"/>
                        <a:gd name="connsiteY239" fmla="*/ 1234160 h 1424894"/>
                        <a:gd name="connsiteX240" fmla="*/ 1652091 w 2123321"/>
                        <a:gd name="connsiteY240" fmla="*/ 1231355 h 1424894"/>
                        <a:gd name="connsiteX241" fmla="*/ 1646481 w 2123321"/>
                        <a:gd name="connsiteY241" fmla="*/ 1222940 h 1424894"/>
                        <a:gd name="connsiteX242" fmla="*/ 1643676 w 2123321"/>
                        <a:gd name="connsiteY242" fmla="*/ 1211721 h 1424894"/>
                        <a:gd name="connsiteX243" fmla="*/ 1640872 w 2123321"/>
                        <a:gd name="connsiteY243" fmla="*/ 1203306 h 1424894"/>
                        <a:gd name="connsiteX244" fmla="*/ 1635262 w 2123321"/>
                        <a:gd name="connsiteY244" fmla="*/ 1192086 h 1424894"/>
                        <a:gd name="connsiteX245" fmla="*/ 1624042 w 2123321"/>
                        <a:gd name="connsiteY245" fmla="*/ 1186477 h 1424894"/>
                        <a:gd name="connsiteX246" fmla="*/ 1612823 w 2123321"/>
                        <a:gd name="connsiteY246" fmla="*/ 1178062 h 1424894"/>
                        <a:gd name="connsiteX247" fmla="*/ 1601603 w 2123321"/>
                        <a:gd name="connsiteY247" fmla="*/ 1172452 h 1424894"/>
                        <a:gd name="connsiteX248" fmla="*/ 1590383 w 2123321"/>
                        <a:gd name="connsiteY248" fmla="*/ 1164037 h 1424894"/>
                        <a:gd name="connsiteX249" fmla="*/ 1579164 w 2123321"/>
                        <a:gd name="connsiteY249" fmla="*/ 1161232 h 1424894"/>
                        <a:gd name="connsiteX250" fmla="*/ 1553919 w 2123321"/>
                        <a:gd name="connsiteY250" fmla="*/ 1147208 h 1424894"/>
                        <a:gd name="connsiteX251" fmla="*/ 1531480 w 2123321"/>
                        <a:gd name="connsiteY251" fmla="*/ 1141598 h 1424894"/>
                        <a:gd name="connsiteX252" fmla="*/ 1486602 w 2123321"/>
                        <a:gd name="connsiteY252" fmla="*/ 1127574 h 1424894"/>
                        <a:gd name="connsiteX253" fmla="*/ 1478187 w 2123321"/>
                        <a:gd name="connsiteY253" fmla="*/ 1121964 h 1424894"/>
                        <a:gd name="connsiteX254" fmla="*/ 1469772 w 2123321"/>
                        <a:gd name="connsiteY254" fmla="*/ 1119159 h 1424894"/>
                        <a:gd name="connsiteX255" fmla="*/ 1466967 w 2123321"/>
                        <a:gd name="connsiteY255" fmla="*/ 1110744 h 1424894"/>
                        <a:gd name="connsiteX256" fmla="*/ 1503431 w 2123321"/>
                        <a:gd name="connsiteY256" fmla="*/ 1107939 h 1424894"/>
                        <a:gd name="connsiteX257" fmla="*/ 1511846 w 2123321"/>
                        <a:gd name="connsiteY257" fmla="*/ 1102329 h 1424894"/>
                        <a:gd name="connsiteX258" fmla="*/ 1528675 w 2123321"/>
                        <a:gd name="connsiteY258" fmla="*/ 1099524 h 1424894"/>
                        <a:gd name="connsiteX259" fmla="*/ 1542700 w 2123321"/>
                        <a:gd name="connsiteY259" fmla="*/ 1096720 h 1424894"/>
                        <a:gd name="connsiteX260" fmla="*/ 1551115 w 2123321"/>
                        <a:gd name="connsiteY260" fmla="*/ 1093915 h 1424894"/>
                        <a:gd name="connsiteX261" fmla="*/ 1562334 w 2123321"/>
                        <a:gd name="connsiteY261" fmla="*/ 1091110 h 1424894"/>
                        <a:gd name="connsiteX262" fmla="*/ 1593188 w 2123321"/>
                        <a:gd name="connsiteY262" fmla="*/ 1074280 h 1424894"/>
                        <a:gd name="connsiteX263" fmla="*/ 1601603 w 2123321"/>
                        <a:gd name="connsiteY263" fmla="*/ 1065866 h 1424894"/>
                        <a:gd name="connsiteX264" fmla="*/ 1607213 w 2123321"/>
                        <a:gd name="connsiteY264" fmla="*/ 1054646 h 1424894"/>
                        <a:gd name="connsiteX265" fmla="*/ 1612823 w 2123321"/>
                        <a:gd name="connsiteY265" fmla="*/ 1046231 h 1424894"/>
                        <a:gd name="connsiteX266" fmla="*/ 1624042 w 2123321"/>
                        <a:gd name="connsiteY266" fmla="*/ 1026597 h 1424894"/>
                        <a:gd name="connsiteX267" fmla="*/ 1640872 w 2123321"/>
                        <a:gd name="connsiteY267" fmla="*/ 1035012 h 1424894"/>
                        <a:gd name="connsiteX268" fmla="*/ 1646481 w 2123321"/>
                        <a:gd name="connsiteY268" fmla="*/ 1054646 h 1424894"/>
                        <a:gd name="connsiteX269" fmla="*/ 1640872 w 2123321"/>
                        <a:gd name="connsiteY269" fmla="*/ 1071475 h 1424894"/>
                        <a:gd name="connsiteX270" fmla="*/ 1618432 w 2123321"/>
                        <a:gd name="connsiteY270" fmla="*/ 1091110 h 1424894"/>
                        <a:gd name="connsiteX271" fmla="*/ 1626847 w 2123321"/>
                        <a:gd name="connsiteY271" fmla="*/ 1085500 h 1424894"/>
                        <a:gd name="connsiteX272" fmla="*/ 1638067 w 2123321"/>
                        <a:gd name="connsiteY272" fmla="*/ 1077085 h 1424894"/>
                        <a:gd name="connsiteX273" fmla="*/ 1646481 w 2123321"/>
                        <a:gd name="connsiteY273" fmla="*/ 1057451 h 1424894"/>
                        <a:gd name="connsiteX274" fmla="*/ 1649286 w 2123321"/>
                        <a:gd name="connsiteY274" fmla="*/ 1035012 h 1424894"/>
                        <a:gd name="connsiteX275" fmla="*/ 1663311 w 2123321"/>
                        <a:gd name="connsiteY275" fmla="*/ 1018182 h 1424894"/>
                        <a:gd name="connsiteX276" fmla="*/ 1671726 w 2123321"/>
                        <a:gd name="connsiteY276" fmla="*/ 1006962 h 1424894"/>
                        <a:gd name="connsiteX277" fmla="*/ 1674530 w 2123321"/>
                        <a:gd name="connsiteY277" fmla="*/ 998548 h 1424894"/>
                        <a:gd name="connsiteX278" fmla="*/ 1682945 w 2123321"/>
                        <a:gd name="connsiteY278" fmla="*/ 992938 h 1424894"/>
                        <a:gd name="connsiteX279" fmla="*/ 1691360 w 2123321"/>
                        <a:gd name="connsiteY279" fmla="*/ 984523 h 1424894"/>
                        <a:gd name="connsiteX280" fmla="*/ 1696970 w 2123321"/>
                        <a:gd name="connsiteY280" fmla="*/ 976108 h 1424894"/>
                        <a:gd name="connsiteX281" fmla="*/ 1733434 w 2123321"/>
                        <a:gd name="connsiteY281" fmla="*/ 953669 h 1424894"/>
                        <a:gd name="connsiteX282" fmla="*/ 1747458 w 2123321"/>
                        <a:gd name="connsiteY282" fmla="*/ 950864 h 1424894"/>
                        <a:gd name="connsiteX283" fmla="*/ 1769897 w 2123321"/>
                        <a:gd name="connsiteY283" fmla="*/ 936840 h 1424894"/>
                        <a:gd name="connsiteX284" fmla="*/ 1778312 w 2123321"/>
                        <a:gd name="connsiteY284" fmla="*/ 928425 h 1424894"/>
                        <a:gd name="connsiteX285" fmla="*/ 1786727 w 2123321"/>
                        <a:gd name="connsiteY285" fmla="*/ 925620 h 1424894"/>
                        <a:gd name="connsiteX286" fmla="*/ 1814776 w 2123321"/>
                        <a:gd name="connsiteY286" fmla="*/ 922815 h 1424894"/>
                        <a:gd name="connsiteX287" fmla="*/ 1825996 w 2123321"/>
                        <a:gd name="connsiteY287" fmla="*/ 917205 h 1424894"/>
                        <a:gd name="connsiteX288" fmla="*/ 1834410 w 2123321"/>
                        <a:gd name="connsiteY288" fmla="*/ 914400 h 1424894"/>
                        <a:gd name="connsiteX289" fmla="*/ 1842825 w 2123321"/>
                        <a:gd name="connsiteY289" fmla="*/ 905986 h 1424894"/>
                        <a:gd name="connsiteX290" fmla="*/ 1859654 w 2123321"/>
                        <a:gd name="connsiteY290" fmla="*/ 897571 h 1424894"/>
                        <a:gd name="connsiteX291" fmla="*/ 1879289 w 2123321"/>
                        <a:gd name="connsiteY291" fmla="*/ 877937 h 1424894"/>
                        <a:gd name="connsiteX292" fmla="*/ 1884899 w 2123321"/>
                        <a:gd name="connsiteY292" fmla="*/ 866717 h 1424894"/>
                        <a:gd name="connsiteX293" fmla="*/ 1887703 w 2123321"/>
                        <a:gd name="connsiteY293" fmla="*/ 858302 h 1424894"/>
                        <a:gd name="connsiteX294" fmla="*/ 1904533 w 2123321"/>
                        <a:gd name="connsiteY294" fmla="*/ 847083 h 1424894"/>
                        <a:gd name="connsiteX295" fmla="*/ 1924167 w 2123321"/>
                        <a:gd name="connsiteY295" fmla="*/ 838668 h 1424894"/>
                        <a:gd name="connsiteX296" fmla="*/ 1943802 w 2123321"/>
                        <a:gd name="connsiteY296" fmla="*/ 830253 h 1424894"/>
                        <a:gd name="connsiteX297" fmla="*/ 1963436 w 2123321"/>
                        <a:gd name="connsiteY297" fmla="*/ 819034 h 1424894"/>
                        <a:gd name="connsiteX298" fmla="*/ 1966241 w 2123321"/>
                        <a:gd name="connsiteY298" fmla="*/ 774155 h 1424894"/>
                        <a:gd name="connsiteX299" fmla="*/ 1963436 w 2123321"/>
                        <a:gd name="connsiteY299" fmla="*/ 760131 h 1424894"/>
                        <a:gd name="connsiteX300" fmla="*/ 1957826 w 2123321"/>
                        <a:gd name="connsiteY300" fmla="*/ 743301 h 1424894"/>
                        <a:gd name="connsiteX301" fmla="*/ 1960631 w 2123321"/>
                        <a:gd name="connsiteY301" fmla="*/ 732081 h 1424894"/>
                        <a:gd name="connsiteX302" fmla="*/ 1969046 w 2123321"/>
                        <a:gd name="connsiteY302" fmla="*/ 729277 h 1424894"/>
                        <a:gd name="connsiteX303" fmla="*/ 1997095 w 2123321"/>
                        <a:gd name="connsiteY303" fmla="*/ 706837 h 1424894"/>
                        <a:gd name="connsiteX304" fmla="*/ 2002705 w 2123321"/>
                        <a:gd name="connsiteY304" fmla="*/ 698423 h 1424894"/>
                        <a:gd name="connsiteX305" fmla="*/ 2008315 w 2123321"/>
                        <a:gd name="connsiteY305" fmla="*/ 681593 h 1424894"/>
                        <a:gd name="connsiteX306" fmla="*/ 2011119 w 2123321"/>
                        <a:gd name="connsiteY306" fmla="*/ 673178 h 1424894"/>
                        <a:gd name="connsiteX307" fmla="*/ 2039169 w 2123321"/>
                        <a:gd name="connsiteY307" fmla="*/ 659154 h 1424894"/>
                        <a:gd name="connsiteX308" fmla="*/ 2047583 w 2123321"/>
                        <a:gd name="connsiteY308" fmla="*/ 653544 h 1424894"/>
                        <a:gd name="connsiteX309" fmla="*/ 2055998 w 2123321"/>
                        <a:gd name="connsiteY309" fmla="*/ 650739 h 1424894"/>
                        <a:gd name="connsiteX310" fmla="*/ 2095267 w 2123321"/>
                        <a:gd name="connsiteY310" fmla="*/ 645129 h 1424894"/>
                        <a:gd name="connsiteX311" fmla="*/ 2106486 w 2123321"/>
                        <a:gd name="connsiteY311" fmla="*/ 642324 h 1424894"/>
                        <a:gd name="connsiteX312" fmla="*/ 2114901 w 2123321"/>
                        <a:gd name="connsiteY312" fmla="*/ 639520 h 1424894"/>
                        <a:gd name="connsiteX313" fmla="*/ 2120511 w 2123321"/>
                        <a:gd name="connsiteY313" fmla="*/ 622690 h 1424894"/>
                        <a:gd name="connsiteX314" fmla="*/ 2120511 w 2123321"/>
                        <a:gd name="connsiteY314" fmla="*/ 555372 h 1424894"/>
                        <a:gd name="connsiteX315" fmla="*/ 2112096 w 2123321"/>
                        <a:gd name="connsiteY315" fmla="*/ 549762 h 1424894"/>
                        <a:gd name="connsiteX316" fmla="*/ 2103681 w 2123321"/>
                        <a:gd name="connsiteY316" fmla="*/ 541348 h 1424894"/>
                        <a:gd name="connsiteX317" fmla="*/ 2095267 w 2123321"/>
                        <a:gd name="connsiteY317" fmla="*/ 524518 h 1424894"/>
                        <a:gd name="connsiteX318" fmla="*/ 2078437 w 2123321"/>
                        <a:gd name="connsiteY318" fmla="*/ 510494 h 1424894"/>
                        <a:gd name="connsiteX319" fmla="*/ 2070023 w 2123321"/>
                        <a:gd name="connsiteY319" fmla="*/ 502079 h 1424894"/>
                        <a:gd name="connsiteX320" fmla="*/ 2075632 w 2123321"/>
                        <a:gd name="connsiteY320" fmla="*/ 488054 h 1424894"/>
                        <a:gd name="connsiteX321" fmla="*/ 2092462 w 2123321"/>
                        <a:gd name="connsiteY321" fmla="*/ 482445 h 1424894"/>
                        <a:gd name="connsiteX322" fmla="*/ 2100876 w 2123321"/>
                        <a:gd name="connsiteY322" fmla="*/ 465615 h 1424894"/>
                        <a:gd name="connsiteX323" fmla="*/ 2098072 w 2123321"/>
                        <a:gd name="connsiteY323" fmla="*/ 454396 h 1424894"/>
                        <a:gd name="connsiteX324" fmla="*/ 2086852 w 2123321"/>
                        <a:gd name="connsiteY324" fmla="*/ 451591 h 1424894"/>
                        <a:gd name="connsiteX325" fmla="*/ 2067218 w 2123321"/>
                        <a:gd name="connsiteY325" fmla="*/ 448786 h 1424894"/>
                        <a:gd name="connsiteX326" fmla="*/ 2081242 w 2123321"/>
                        <a:gd name="connsiteY326" fmla="*/ 434761 h 1424894"/>
                        <a:gd name="connsiteX327" fmla="*/ 2089657 w 2123321"/>
                        <a:gd name="connsiteY327" fmla="*/ 423542 h 1424894"/>
                        <a:gd name="connsiteX328" fmla="*/ 2089657 w 2123321"/>
                        <a:gd name="connsiteY328" fmla="*/ 342199 h 1424894"/>
                        <a:gd name="connsiteX329" fmla="*/ 2081242 w 2123321"/>
                        <a:gd name="connsiteY329" fmla="*/ 333785 h 1424894"/>
                        <a:gd name="connsiteX330" fmla="*/ 2078437 w 2123321"/>
                        <a:gd name="connsiteY330" fmla="*/ 325370 h 1424894"/>
                        <a:gd name="connsiteX331" fmla="*/ 2047583 w 2123321"/>
                        <a:gd name="connsiteY331" fmla="*/ 325370 h 1424894"/>
                        <a:gd name="connsiteX332" fmla="*/ 2039169 w 2123321"/>
                        <a:gd name="connsiteY332" fmla="*/ 328175 h 1424894"/>
                        <a:gd name="connsiteX333" fmla="*/ 2022339 w 2123321"/>
                        <a:gd name="connsiteY333" fmla="*/ 325370 h 1424894"/>
                        <a:gd name="connsiteX334" fmla="*/ 2011119 w 2123321"/>
                        <a:gd name="connsiteY334" fmla="*/ 319760 h 1424894"/>
                        <a:gd name="connsiteX335" fmla="*/ 2002705 w 2123321"/>
                        <a:gd name="connsiteY335" fmla="*/ 316955 h 1424894"/>
                        <a:gd name="connsiteX336" fmla="*/ 1985875 w 2123321"/>
                        <a:gd name="connsiteY336" fmla="*/ 319760 h 1424894"/>
                        <a:gd name="connsiteX337" fmla="*/ 1974656 w 2123321"/>
                        <a:gd name="connsiteY337" fmla="*/ 322565 h 1424894"/>
                        <a:gd name="connsiteX338" fmla="*/ 1943802 w 2123321"/>
                        <a:gd name="connsiteY338" fmla="*/ 314150 h 1424894"/>
                        <a:gd name="connsiteX339" fmla="*/ 1935387 w 2123321"/>
                        <a:gd name="connsiteY339" fmla="*/ 316955 h 1424894"/>
                        <a:gd name="connsiteX340" fmla="*/ 1926972 w 2123321"/>
                        <a:gd name="connsiteY340" fmla="*/ 322565 h 1424894"/>
                        <a:gd name="connsiteX341" fmla="*/ 1907338 w 2123321"/>
                        <a:gd name="connsiteY341" fmla="*/ 319760 h 1424894"/>
                        <a:gd name="connsiteX342" fmla="*/ 1896118 w 2123321"/>
                        <a:gd name="connsiteY342" fmla="*/ 314150 h 1424894"/>
                        <a:gd name="connsiteX343" fmla="*/ 1859654 w 2123321"/>
                        <a:gd name="connsiteY343" fmla="*/ 305735 h 1424894"/>
                        <a:gd name="connsiteX344" fmla="*/ 1834410 w 2123321"/>
                        <a:gd name="connsiteY344" fmla="*/ 308540 h 1424894"/>
                        <a:gd name="connsiteX345" fmla="*/ 1828800 w 2123321"/>
                        <a:gd name="connsiteY345" fmla="*/ 319760 h 1424894"/>
                        <a:gd name="connsiteX346" fmla="*/ 1814776 w 2123321"/>
                        <a:gd name="connsiteY346" fmla="*/ 328175 h 1424894"/>
                        <a:gd name="connsiteX347" fmla="*/ 1786727 w 2123321"/>
                        <a:gd name="connsiteY347" fmla="*/ 314150 h 1424894"/>
                        <a:gd name="connsiteX348" fmla="*/ 1772702 w 2123321"/>
                        <a:gd name="connsiteY348" fmla="*/ 302931 h 1424894"/>
                        <a:gd name="connsiteX349" fmla="*/ 1753068 w 2123321"/>
                        <a:gd name="connsiteY349" fmla="*/ 288906 h 1424894"/>
                        <a:gd name="connsiteX350" fmla="*/ 1741848 w 2123321"/>
                        <a:gd name="connsiteY350" fmla="*/ 272077 h 1424894"/>
                        <a:gd name="connsiteX351" fmla="*/ 1722214 w 2123321"/>
                        <a:gd name="connsiteY351" fmla="*/ 260857 h 1424894"/>
                        <a:gd name="connsiteX352" fmla="*/ 1696970 w 2123321"/>
                        <a:gd name="connsiteY352" fmla="*/ 263662 h 1424894"/>
                        <a:gd name="connsiteX353" fmla="*/ 1671726 w 2123321"/>
                        <a:gd name="connsiteY353" fmla="*/ 277686 h 1424894"/>
                        <a:gd name="connsiteX354" fmla="*/ 1654896 w 2123321"/>
                        <a:gd name="connsiteY354" fmla="*/ 286101 h 1424894"/>
                        <a:gd name="connsiteX355" fmla="*/ 1652091 w 2123321"/>
                        <a:gd name="connsiteY355" fmla="*/ 297321 h 1424894"/>
                        <a:gd name="connsiteX356" fmla="*/ 1649286 w 2123321"/>
                        <a:gd name="connsiteY356" fmla="*/ 305735 h 1424894"/>
                        <a:gd name="connsiteX357" fmla="*/ 1629652 w 2123321"/>
                        <a:gd name="connsiteY357" fmla="*/ 302931 h 1424894"/>
                        <a:gd name="connsiteX358" fmla="*/ 1621237 w 2123321"/>
                        <a:gd name="connsiteY358" fmla="*/ 300126 h 1424894"/>
                        <a:gd name="connsiteX359" fmla="*/ 1604408 w 2123321"/>
                        <a:gd name="connsiteY359" fmla="*/ 308540 h 1424894"/>
                        <a:gd name="connsiteX360" fmla="*/ 1551115 w 2123321"/>
                        <a:gd name="connsiteY360" fmla="*/ 308540 h 1424894"/>
                        <a:gd name="connsiteX361" fmla="*/ 1539895 w 2123321"/>
                        <a:gd name="connsiteY361" fmla="*/ 314150 h 1424894"/>
                        <a:gd name="connsiteX362" fmla="*/ 1511846 w 2123321"/>
                        <a:gd name="connsiteY362" fmla="*/ 297321 h 1424894"/>
                        <a:gd name="connsiteX363" fmla="*/ 1509041 w 2123321"/>
                        <a:gd name="connsiteY363" fmla="*/ 288906 h 1424894"/>
                        <a:gd name="connsiteX364" fmla="*/ 1495016 w 2123321"/>
                        <a:gd name="connsiteY364" fmla="*/ 263662 h 1424894"/>
                        <a:gd name="connsiteX365" fmla="*/ 1472577 w 2123321"/>
                        <a:gd name="connsiteY365" fmla="*/ 246832 h 1424894"/>
                        <a:gd name="connsiteX366" fmla="*/ 1469772 w 2123321"/>
                        <a:gd name="connsiteY366" fmla="*/ 232808 h 1424894"/>
                        <a:gd name="connsiteX367" fmla="*/ 1469772 w 2123321"/>
                        <a:gd name="connsiteY367" fmla="*/ 196344 h 1424894"/>
                        <a:gd name="connsiteX368" fmla="*/ 1450138 w 2123321"/>
                        <a:gd name="connsiteY368" fmla="*/ 193539 h 1424894"/>
                        <a:gd name="connsiteX369" fmla="*/ 1444528 w 2123321"/>
                        <a:gd name="connsiteY369" fmla="*/ 185124 h 1424894"/>
                        <a:gd name="connsiteX370" fmla="*/ 1413674 w 2123321"/>
                        <a:gd name="connsiteY370" fmla="*/ 182320 h 1424894"/>
                        <a:gd name="connsiteX371" fmla="*/ 1391235 w 2123321"/>
                        <a:gd name="connsiteY371" fmla="*/ 193539 h 1424894"/>
                        <a:gd name="connsiteX372" fmla="*/ 1374405 w 2123321"/>
                        <a:gd name="connsiteY372" fmla="*/ 187929 h 1424894"/>
                        <a:gd name="connsiteX373" fmla="*/ 1363186 w 2123321"/>
                        <a:gd name="connsiteY373" fmla="*/ 185124 h 1424894"/>
                        <a:gd name="connsiteX374" fmla="*/ 1354771 w 2123321"/>
                        <a:gd name="connsiteY374" fmla="*/ 182320 h 1424894"/>
                        <a:gd name="connsiteX375" fmla="*/ 1340746 w 2123321"/>
                        <a:gd name="connsiteY375" fmla="*/ 179515 h 1424894"/>
                        <a:gd name="connsiteX376" fmla="*/ 1332332 w 2123321"/>
                        <a:gd name="connsiteY376" fmla="*/ 159880 h 1424894"/>
                        <a:gd name="connsiteX377" fmla="*/ 1321112 w 2123321"/>
                        <a:gd name="connsiteY377" fmla="*/ 140246 h 1424894"/>
                        <a:gd name="connsiteX378" fmla="*/ 1323917 w 2123321"/>
                        <a:gd name="connsiteY378" fmla="*/ 120612 h 1424894"/>
                        <a:gd name="connsiteX379" fmla="*/ 1332332 w 2123321"/>
                        <a:gd name="connsiteY379" fmla="*/ 117807 h 1424894"/>
                        <a:gd name="connsiteX380" fmla="*/ 1349161 w 2123321"/>
                        <a:gd name="connsiteY380" fmla="*/ 100977 h 1424894"/>
                        <a:gd name="connsiteX381" fmla="*/ 1351966 w 2123321"/>
                        <a:gd name="connsiteY381" fmla="*/ 89758 h 1424894"/>
                        <a:gd name="connsiteX382" fmla="*/ 1332332 w 2123321"/>
                        <a:gd name="connsiteY382" fmla="*/ 67318 h 1424894"/>
                        <a:gd name="connsiteX383" fmla="*/ 1323917 w 2123321"/>
                        <a:gd name="connsiteY383" fmla="*/ 64513 h 1424894"/>
                        <a:gd name="connsiteX384" fmla="*/ 1315502 w 2123321"/>
                        <a:gd name="connsiteY384" fmla="*/ 58904 h 1424894"/>
                        <a:gd name="connsiteX385" fmla="*/ 1307088 w 2123321"/>
                        <a:gd name="connsiteY385" fmla="*/ 47684 h 1424894"/>
                        <a:gd name="connsiteX386" fmla="*/ 1298673 w 2123321"/>
                        <a:gd name="connsiteY386" fmla="*/ 39269 h 1424894"/>
                        <a:gd name="connsiteX387" fmla="*/ 1290258 w 2123321"/>
                        <a:gd name="connsiteY387" fmla="*/ 19635 h 1424894"/>
                        <a:gd name="connsiteX388" fmla="*/ 1270624 w 2123321"/>
                        <a:gd name="connsiteY388" fmla="*/ 0 h 1424894"/>
                        <a:gd name="connsiteX389" fmla="*/ 1186476 w 2123321"/>
                        <a:gd name="connsiteY389" fmla="*/ 5610 h 1424894"/>
                        <a:gd name="connsiteX390" fmla="*/ 1178062 w 2123321"/>
                        <a:gd name="connsiteY390" fmla="*/ 11220 h 1424894"/>
                        <a:gd name="connsiteX391" fmla="*/ 1166842 w 2123321"/>
                        <a:gd name="connsiteY391" fmla="*/ 19635 h 1424894"/>
                        <a:gd name="connsiteX392" fmla="*/ 1133183 w 2123321"/>
                        <a:gd name="connsiteY392" fmla="*/ 28050 h 1424894"/>
                        <a:gd name="connsiteX393" fmla="*/ 1102329 w 2123321"/>
                        <a:gd name="connsiteY393" fmla="*/ 30854 h 1424894"/>
                        <a:gd name="connsiteX394" fmla="*/ 1099524 w 2123321"/>
                        <a:gd name="connsiteY394" fmla="*/ 39269 h 1424894"/>
                        <a:gd name="connsiteX395" fmla="*/ 1093915 w 2123321"/>
                        <a:gd name="connsiteY395" fmla="*/ 47684 h 1424894"/>
                        <a:gd name="connsiteX396" fmla="*/ 1099524 w 2123321"/>
                        <a:gd name="connsiteY396" fmla="*/ 75733 h 1424894"/>
                        <a:gd name="connsiteX397" fmla="*/ 1079890 w 2123321"/>
                        <a:gd name="connsiteY397" fmla="*/ 84148 h 1424894"/>
                        <a:gd name="connsiteX398" fmla="*/ 1012572 w 2123321"/>
                        <a:gd name="connsiteY398" fmla="*/ 81343 h 1424894"/>
                        <a:gd name="connsiteX399" fmla="*/ 1001353 w 2123321"/>
                        <a:gd name="connsiteY399" fmla="*/ 86953 h 1424894"/>
                        <a:gd name="connsiteX400" fmla="*/ 992938 w 2123321"/>
                        <a:gd name="connsiteY400" fmla="*/ 95367 h 1424894"/>
                        <a:gd name="connsiteX401" fmla="*/ 959279 w 2123321"/>
                        <a:gd name="connsiteY401" fmla="*/ 98172 h 1424894"/>
                        <a:gd name="connsiteX402" fmla="*/ 934035 w 2123321"/>
                        <a:gd name="connsiteY402" fmla="*/ 131831 h 1424894"/>
                        <a:gd name="connsiteX403" fmla="*/ 931230 w 2123321"/>
                        <a:gd name="connsiteY403" fmla="*/ 143051 h 1424894"/>
                        <a:gd name="connsiteX404" fmla="*/ 922815 w 2123321"/>
                        <a:gd name="connsiteY404" fmla="*/ 162685 h 1424894"/>
                        <a:gd name="connsiteX405" fmla="*/ 928425 w 2123321"/>
                        <a:gd name="connsiteY405" fmla="*/ 213174 h 1424894"/>
                        <a:gd name="connsiteX406" fmla="*/ 939645 w 2123321"/>
                        <a:gd name="connsiteY406" fmla="*/ 227198 h 1424894"/>
                        <a:gd name="connsiteX407" fmla="*/ 945254 w 2123321"/>
                        <a:gd name="connsiteY407" fmla="*/ 235613 h 1424894"/>
                        <a:gd name="connsiteX408" fmla="*/ 942449 w 2123321"/>
                        <a:gd name="connsiteY408" fmla="*/ 260857 h 1424894"/>
                        <a:gd name="connsiteX409" fmla="*/ 922815 w 2123321"/>
                        <a:gd name="connsiteY409" fmla="*/ 255247 h 1424894"/>
                        <a:gd name="connsiteX410" fmla="*/ 911596 w 2123321"/>
                        <a:gd name="connsiteY410" fmla="*/ 241223 h 1424894"/>
                        <a:gd name="connsiteX411" fmla="*/ 891961 w 2123321"/>
                        <a:gd name="connsiteY411" fmla="*/ 227198 h 1424894"/>
                        <a:gd name="connsiteX412" fmla="*/ 819034 w 2123321"/>
                        <a:gd name="connsiteY412" fmla="*/ 235613 h 1424894"/>
                        <a:gd name="connsiteX413" fmla="*/ 810619 w 2123321"/>
                        <a:gd name="connsiteY413" fmla="*/ 244027 h 1424894"/>
                        <a:gd name="connsiteX414" fmla="*/ 802204 w 2123321"/>
                        <a:gd name="connsiteY414" fmla="*/ 246832 h 1424894"/>
                        <a:gd name="connsiteX415" fmla="*/ 782570 w 2123321"/>
                        <a:gd name="connsiteY415" fmla="*/ 244027 h 1424894"/>
                        <a:gd name="connsiteX416" fmla="*/ 771350 w 2123321"/>
                        <a:gd name="connsiteY416" fmla="*/ 227198 h 1424894"/>
                        <a:gd name="connsiteX417" fmla="*/ 762935 w 2123321"/>
                        <a:gd name="connsiteY417" fmla="*/ 218783 h 1424894"/>
                        <a:gd name="connsiteX418" fmla="*/ 743301 w 2123321"/>
                        <a:gd name="connsiteY418" fmla="*/ 221588 h 1424894"/>
                        <a:gd name="connsiteX419" fmla="*/ 740496 w 2123321"/>
                        <a:gd name="connsiteY419" fmla="*/ 230003 h 1424894"/>
                        <a:gd name="connsiteX420" fmla="*/ 726472 w 2123321"/>
                        <a:gd name="connsiteY420" fmla="*/ 244027 h 1424894"/>
                        <a:gd name="connsiteX421" fmla="*/ 698423 w 2123321"/>
                        <a:gd name="connsiteY421" fmla="*/ 232808 h 1424894"/>
                        <a:gd name="connsiteX422" fmla="*/ 667569 w 2123321"/>
                        <a:gd name="connsiteY422" fmla="*/ 227198 h 1424894"/>
                        <a:gd name="connsiteX423" fmla="*/ 650739 w 2123321"/>
                        <a:gd name="connsiteY423" fmla="*/ 218783 h 1424894"/>
                        <a:gd name="connsiteX424" fmla="*/ 636715 w 2123321"/>
                        <a:gd name="connsiteY424" fmla="*/ 227198 h 1424894"/>
                        <a:gd name="connsiteX425" fmla="*/ 628300 w 2123321"/>
                        <a:gd name="connsiteY425" fmla="*/ 235613 h 1424894"/>
                        <a:gd name="connsiteX426" fmla="*/ 605861 w 2123321"/>
                        <a:gd name="connsiteY426" fmla="*/ 244027 h 1424894"/>
                        <a:gd name="connsiteX427" fmla="*/ 594641 w 2123321"/>
                        <a:gd name="connsiteY427" fmla="*/ 249637 h 1424894"/>
                        <a:gd name="connsiteX428" fmla="*/ 580616 w 2123321"/>
                        <a:gd name="connsiteY428" fmla="*/ 241223 h 1424894"/>
                        <a:gd name="connsiteX429" fmla="*/ 572202 w 2123321"/>
                        <a:gd name="connsiteY429" fmla="*/ 232808 h 1424894"/>
                        <a:gd name="connsiteX430" fmla="*/ 549762 w 2123321"/>
                        <a:gd name="connsiteY430" fmla="*/ 227198 h 1424894"/>
                        <a:gd name="connsiteX431" fmla="*/ 541348 w 2123321"/>
                        <a:gd name="connsiteY431" fmla="*/ 224393 h 1424894"/>
                        <a:gd name="connsiteX432" fmla="*/ 535738 w 2123321"/>
                        <a:gd name="connsiteY432" fmla="*/ 213174 h 1424894"/>
                        <a:gd name="connsiteX433" fmla="*/ 496469 w 2123321"/>
                        <a:gd name="connsiteY433" fmla="*/ 204759 h 1424894"/>
                        <a:gd name="connsiteX434" fmla="*/ 468420 w 2123321"/>
                        <a:gd name="connsiteY434" fmla="*/ 201954 h 1424894"/>
                        <a:gd name="connsiteX435" fmla="*/ 460005 w 2123321"/>
                        <a:gd name="connsiteY435" fmla="*/ 199149 h 1424894"/>
                        <a:gd name="connsiteX436" fmla="*/ 437566 w 2123321"/>
                        <a:gd name="connsiteY436" fmla="*/ 193539 h 1424894"/>
                        <a:gd name="connsiteX437" fmla="*/ 429151 w 2123321"/>
                        <a:gd name="connsiteY437" fmla="*/ 190734 h 1424894"/>
                        <a:gd name="connsiteX438" fmla="*/ 238418 w 2123321"/>
                        <a:gd name="connsiteY438" fmla="*/ 193539 h 1424894"/>
                        <a:gd name="connsiteX439" fmla="*/ 221588 w 2123321"/>
                        <a:gd name="connsiteY439" fmla="*/ 207564 h 1424894"/>
                        <a:gd name="connsiteX440" fmla="*/ 215978 w 2123321"/>
                        <a:gd name="connsiteY440" fmla="*/ 215978 h 1424894"/>
                        <a:gd name="connsiteX441" fmla="*/ 210369 w 2123321"/>
                        <a:gd name="connsiteY441" fmla="*/ 227198 h 1424894"/>
                        <a:gd name="connsiteX442" fmla="*/ 196344 w 2123321"/>
                        <a:gd name="connsiteY442" fmla="*/ 244027 h 1424894"/>
                        <a:gd name="connsiteX443" fmla="*/ 187929 w 2123321"/>
                        <a:gd name="connsiteY443" fmla="*/ 246832 h 1424894"/>
                        <a:gd name="connsiteX444" fmla="*/ 179515 w 2123321"/>
                        <a:gd name="connsiteY444" fmla="*/ 255247 h 1424894"/>
                        <a:gd name="connsiteX445" fmla="*/ 157075 w 2123321"/>
                        <a:gd name="connsiteY445" fmla="*/ 252442 h 142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2123321" h="1424894">
                          <a:moveTo>
                            <a:pt x="157075" y="252442"/>
                          </a:moveTo>
                          <a:lnTo>
                            <a:pt x="157075" y="252442"/>
                          </a:lnTo>
                          <a:cubicBezTo>
                            <a:pt x="155064" y="270543"/>
                            <a:pt x="151883" y="280014"/>
                            <a:pt x="157075" y="297321"/>
                          </a:cubicBezTo>
                          <a:cubicBezTo>
                            <a:pt x="158044" y="300550"/>
                            <a:pt x="160815" y="302930"/>
                            <a:pt x="162685" y="305735"/>
                          </a:cubicBezTo>
                          <a:cubicBezTo>
                            <a:pt x="169735" y="326886"/>
                            <a:pt x="160225" y="300815"/>
                            <a:pt x="171100" y="322565"/>
                          </a:cubicBezTo>
                          <a:cubicBezTo>
                            <a:pt x="172422" y="325210"/>
                            <a:pt x="172265" y="328520"/>
                            <a:pt x="173905" y="330980"/>
                          </a:cubicBezTo>
                          <a:cubicBezTo>
                            <a:pt x="178224" y="337459"/>
                            <a:pt x="184525" y="340865"/>
                            <a:pt x="190734" y="345004"/>
                          </a:cubicBezTo>
                          <a:cubicBezTo>
                            <a:pt x="192604" y="350614"/>
                            <a:pt x="195508" y="355980"/>
                            <a:pt x="196344" y="361834"/>
                          </a:cubicBezTo>
                          <a:cubicBezTo>
                            <a:pt x="199694" y="385284"/>
                            <a:pt x="197546" y="375054"/>
                            <a:pt x="201954" y="392688"/>
                          </a:cubicBezTo>
                          <a:cubicBezTo>
                            <a:pt x="205415" y="423838"/>
                            <a:pt x="207056" y="425399"/>
                            <a:pt x="201954" y="462810"/>
                          </a:cubicBezTo>
                          <a:cubicBezTo>
                            <a:pt x="201155" y="468669"/>
                            <a:pt x="198214" y="474030"/>
                            <a:pt x="196344" y="479640"/>
                          </a:cubicBezTo>
                          <a:cubicBezTo>
                            <a:pt x="192604" y="490859"/>
                            <a:pt x="196343" y="487119"/>
                            <a:pt x="185124" y="490859"/>
                          </a:cubicBezTo>
                          <a:lnTo>
                            <a:pt x="151465" y="513299"/>
                          </a:lnTo>
                          <a:cubicBezTo>
                            <a:pt x="143985" y="518286"/>
                            <a:pt x="140451" y="519846"/>
                            <a:pt x="134636" y="527323"/>
                          </a:cubicBezTo>
                          <a:cubicBezTo>
                            <a:pt x="130497" y="532645"/>
                            <a:pt x="128184" y="539385"/>
                            <a:pt x="123416" y="544153"/>
                          </a:cubicBezTo>
                          <a:cubicBezTo>
                            <a:pt x="120611" y="546958"/>
                            <a:pt x="117541" y="549520"/>
                            <a:pt x="115002" y="552567"/>
                          </a:cubicBezTo>
                          <a:cubicBezTo>
                            <a:pt x="112844" y="555157"/>
                            <a:pt x="110900" y="557967"/>
                            <a:pt x="109392" y="560982"/>
                          </a:cubicBezTo>
                          <a:cubicBezTo>
                            <a:pt x="108070" y="563627"/>
                            <a:pt x="108678" y="567306"/>
                            <a:pt x="106587" y="569397"/>
                          </a:cubicBezTo>
                          <a:cubicBezTo>
                            <a:pt x="104496" y="571488"/>
                            <a:pt x="100977" y="571267"/>
                            <a:pt x="98172" y="572202"/>
                          </a:cubicBezTo>
                          <a:cubicBezTo>
                            <a:pt x="95360" y="580636"/>
                            <a:pt x="95799" y="581781"/>
                            <a:pt x="89757" y="589031"/>
                          </a:cubicBezTo>
                          <a:cubicBezTo>
                            <a:pt x="87218" y="592078"/>
                            <a:pt x="83778" y="594315"/>
                            <a:pt x="81343" y="597446"/>
                          </a:cubicBezTo>
                          <a:cubicBezTo>
                            <a:pt x="77204" y="602768"/>
                            <a:pt x="73863" y="608665"/>
                            <a:pt x="70123" y="614275"/>
                          </a:cubicBezTo>
                          <a:lnTo>
                            <a:pt x="64513" y="622690"/>
                          </a:lnTo>
                          <a:lnTo>
                            <a:pt x="58903" y="631105"/>
                          </a:lnTo>
                          <a:cubicBezTo>
                            <a:pt x="57196" y="636227"/>
                            <a:pt x="53797" y="645714"/>
                            <a:pt x="53294" y="650739"/>
                          </a:cubicBezTo>
                          <a:cubicBezTo>
                            <a:pt x="51803" y="665653"/>
                            <a:pt x="51424" y="680658"/>
                            <a:pt x="50489" y="695618"/>
                          </a:cubicBezTo>
                          <a:cubicBezTo>
                            <a:pt x="51567" y="702084"/>
                            <a:pt x="52646" y="713956"/>
                            <a:pt x="56099" y="720862"/>
                          </a:cubicBezTo>
                          <a:cubicBezTo>
                            <a:pt x="57606" y="723877"/>
                            <a:pt x="59838" y="726472"/>
                            <a:pt x="61708" y="729277"/>
                          </a:cubicBezTo>
                          <a:cubicBezTo>
                            <a:pt x="60773" y="737692"/>
                            <a:pt x="62047" y="746660"/>
                            <a:pt x="58903" y="754521"/>
                          </a:cubicBezTo>
                          <a:cubicBezTo>
                            <a:pt x="57805" y="757266"/>
                            <a:pt x="53388" y="756746"/>
                            <a:pt x="50489" y="757326"/>
                          </a:cubicBezTo>
                          <a:cubicBezTo>
                            <a:pt x="44006" y="758623"/>
                            <a:pt x="37399" y="759196"/>
                            <a:pt x="30854" y="760131"/>
                          </a:cubicBezTo>
                          <a:lnTo>
                            <a:pt x="14025" y="810619"/>
                          </a:lnTo>
                          <a:cubicBezTo>
                            <a:pt x="13090" y="813424"/>
                            <a:pt x="12860" y="816574"/>
                            <a:pt x="11220" y="819034"/>
                          </a:cubicBezTo>
                          <a:lnTo>
                            <a:pt x="0" y="835863"/>
                          </a:lnTo>
                          <a:cubicBezTo>
                            <a:pt x="935" y="848018"/>
                            <a:pt x="558" y="860345"/>
                            <a:pt x="2805" y="872327"/>
                          </a:cubicBezTo>
                          <a:cubicBezTo>
                            <a:pt x="4762" y="882762"/>
                            <a:pt x="9860" y="880062"/>
                            <a:pt x="16830" y="883547"/>
                          </a:cubicBezTo>
                          <a:cubicBezTo>
                            <a:pt x="19845" y="885054"/>
                            <a:pt x="22230" y="887649"/>
                            <a:pt x="25245" y="889156"/>
                          </a:cubicBezTo>
                          <a:cubicBezTo>
                            <a:pt x="33895" y="893481"/>
                            <a:pt x="48359" y="893798"/>
                            <a:pt x="56099" y="894766"/>
                          </a:cubicBezTo>
                          <a:cubicBezTo>
                            <a:pt x="57034" y="901311"/>
                            <a:pt x="56448" y="908262"/>
                            <a:pt x="58903" y="914400"/>
                          </a:cubicBezTo>
                          <a:cubicBezTo>
                            <a:pt x="60376" y="918083"/>
                            <a:pt x="64271" y="920275"/>
                            <a:pt x="67318" y="922815"/>
                          </a:cubicBezTo>
                          <a:cubicBezTo>
                            <a:pt x="74568" y="928857"/>
                            <a:pt x="75714" y="928419"/>
                            <a:pt x="84148" y="931230"/>
                          </a:cubicBezTo>
                          <a:cubicBezTo>
                            <a:pt x="105298" y="924179"/>
                            <a:pt x="80046" y="934511"/>
                            <a:pt x="98172" y="920010"/>
                          </a:cubicBezTo>
                          <a:cubicBezTo>
                            <a:pt x="101047" y="917710"/>
                            <a:pt x="119912" y="914540"/>
                            <a:pt x="120611" y="914400"/>
                          </a:cubicBezTo>
                          <a:cubicBezTo>
                            <a:pt x="141180" y="915335"/>
                            <a:pt x="161875" y="914752"/>
                            <a:pt x="182319" y="917205"/>
                          </a:cubicBezTo>
                          <a:cubicBezTo>
                            <a:pt x="196470" y="918903"/>
                            <a:pt x="186795" y="924486"/>
                            <a:pt x="193539" y="931230"/>
                          </a:cubicBezTo>
                          <a:cubicBezTo>
                            <a:pt x="195630" y="933321"/>
                            <a:pt x="199149" y="933100"/>
                            <a:pt x="201954" y="934035"/>
                          </a:cubicBezTo>
                          <a:cubicBezTo>
                            <a:pt x="213174" y="933100"/>
                            <a:pt x="224508" y="933081"/>
                            <a:pt x="235613" y="931230"/>
                          </a:cubicBezTo>
                          <a:cubicBezTo>
                            <a:pt x="241446" y="930258"/>
                            <a:pt x="246832" y="927490"/>
                            <a:pt x="252442" y="925620"/>
                          </a:cubicBezTo>
                          <a:lnTo>
                            <a:pt x="260857" y="922815"/>
                          </a:lnTo>
                          <a:cubicBezTo>
                            <a:pt x="271549" y="925488"/>
                            <a:pt x="272189" y="924312"/>
                            <a:pt x="280491" y="931230"/>
                          </a:cubicBezTo>
                          <a:cubicBezTo>
                            <a:pt x="283538" y="933770"/>
                            <a:pt x="285605" y="937445"/>
                            <a:pt x="288906" y="939645"/>
                          </a:cubicBezTo>
                          <a:cubicBezTo>
                            <a:pt x="291366" y="941285"/>
                            <a:pt x="294676" y="941128"/>
                            <a:pt x="297321" y="942450"/>
                          </a:cubicBezTo>
                          <a:cubicBezTo>
                            <a:pt x="319071" y="953324"/>
                            <a:pt x="292998" y="943813"/>
                            <a:pt x="314150" y="950864"/>
                          </a:cubicBezTo>
                          <a:cubicBezTo>
                            <a:pt x="323500" y="949929"/>
                            <a:pt x="333218" y="950822"/>
                            <a:pt x="342199" y="948059"/>
                          </a:cubicBezTo>
                          <a:cubicBezTo>
                            <a:pt x="360432" y="942449"/>
                            <a:pt x="340957" y="932994"/>
                            <a:pt x="356224" y="922815"/>
                          </a:cubicBezTo>
                          <a:cubicBezTo>
                            <a:pt x="359029" y="920945"/>
                            <a:pt x="361409" y="918174"/>
                            <a:pt x="364638" y="917205"/>
                          </a:cubicBezTo>
                          <a:cubicBezTo>
                            <a:pt x="370971" y="915305"/>
                            <a:pt x="377674" y="914812"/>
                            <a:pt x="384273" y="914400"/>
                          </a:cubicBezTo>
                          <a:cubicBezTo>
                            <a:pt x="407620" y="912941"/>
                            <a:pt x="431022" y="912531"/>
                            <a:pt x="454396" y="911596"/>
                          </a:cubicBezTo>
                          <a:lnTo>
                            <a:pt x="471225" y="905986"/>
                          </a:lnTo>
                          <a:lnTo>
                            <a:pt x="479640" y="903181"/>
                          </a:lnTo>
                          <a:cubicBezTo>
                            <a:pt x="502084" y="888216"/>
                            <a:pt x="474958" y="907861"/>
                            <a:pt x="493664" y="889156"/>
                          </a:cubicBezTo>
                          <a:cubicBezTo>
                            <a:pt x="496048" y="886772"/>
                            <a:pt x="499489" y="885705"/>
                            <a:pt x="502079" y="883547"/>
                          </a:cubicBezTo>
                          <a:cubicBezTo>
                            <a:pt x="505127" y="881008"/>
                            <a:pt x="507193" y="877333"/>
                            <a:pt x="510494" y="875132"/>
                          </a:cubicBezTo>
                          <a:cubicBezTo>
                            <a:pt x="512954" y="873492"/>
                            <a:pt x="516264" y="873649"/>
                            <a:pt x="518908" y="872327"/>
                          </a:cubicBezTo>
                          <a:cubicBezTo>
                            <a:pt x="521923" y="870819"/>
                            <a:pt x="524518" y="868587"/>
                            <a:pt x="527323" y="866717"/>
                          </a:cubicBezTo>
                          <a:cubicBezTo>
                            <a:pt x="531063" y="861107"/>
                            <a:pt x="536411" y="856284"/>
                            <a:pt x="538543" y="849888"/>
                          </a:cubicBezTo>
                          <a:cubicBezTo>
                            <a:pt x="540413" y="844278"/>
                            <a:pt x="539233" y="836338"/>
                            <a:pt x="544153" y="833058"/>
                          </a:cubicBezTo>
                          <a:cubicBezTo>
                            <a:pt x="546958" y="831188"/>
                            <a:pt x="549552" y="828956"/>
                            <a:pt x="552567" y="827448"/>
                          </a:cubicBezTo>
                          <a:cubicBezTo>
                            <a:pt x="558850" y="824306"/>
                            <a:pt x="572543" y="822318"/>
                            <a:pt x="577811" y="821839"/>
                          </a:cubicBezTo>
                          <a:cubicBezTo>
                            <a:pt x="592738" y="820482"/>
                            <a:pt x="607730" y="819969"/>
                            <a:pt x="622690" y="819034"/>
                          </a:cubicBezTo>
                          <a:cubicBezTo>
                            <a:pt x="643176" y="812205"/>
                            <a:pt x="633782" y="814858"/>
                            <a:pt x="650739" y="810619"/>
                          </a:cubicBezTo>
                          <a:cubicBezTo>
                            <a:pt x="659154" y="811554"/>
                            <a:pt x="667733" y="811520"/>
                            <a:pt x="675983" y="813424"/>
                          </a:cubicBezTo>
                          <a:cubicBezTo>
                            <a:pt x="680057" y="814364"/>
                            <a:pt x="683360" y="817387"/>
                            <a:pt x="687203" y="819034"/>
                          </a:cubicBezTo>
                          <a:cubicBezTo>
                            <a:pt x="689921" y="820199"/>
                            <a:pt x="692973" y="820517"/>
                            <a:pt x="695618" y="821839"/>
                          </a:cubicBezTo>
                          <a:cubicBezTo>
                            <a:pt x="698633" y="823346"/>
                            <a:pt x="700952" y="826079"/>
                            <a:pt x="704032" y="827448"/>
                          </a:cubicBezTo>
                          <a:cubicBezTo>
                            <a:pt x="709436" y="829850"/>
                            <a:pt x="720862" y="833058"/>
                            <a:pt x="720862" y="833058"/>
                          </a:cubicBezTo>
                          <a:cubicBezTo>
                            <a:pt x="736941" y="857176"/>
                            <a:pt x="715531" y="828793"/>
                            <a:pt x="734886" y="844278"/>
                          </a:cubicBezTo>
                          <a:cubicBezTo>
                            <a:pt x="753006" y="858775"/>
                            <a:pt x="727764" y="848451"/>
                            <a:pt x="748911" y="855497"/>
                          </a:cubicBezTo>
                          <a:lnTo>
                            <a:pt x="760130" y="872327"/>
                          </a:lnTo>
                          <a:lnTo>
                            <a:pt x="782570" y="847083"/>
                          </a:lnTo>
                          <a:cubicBezTo>
                            <a:pt x="790050" y="849888"/>
                            <a:pt x="799071" y="850153"/>
                            <a:pt x="805009" y="855497"/>
                          </a:cubicBezTo>
                          <a:cubicBezTo>
                            <a:pt x="825395" y="873845"/>
                            <a:pt x="797883" y="870005"/>
                            <a:pt x="819034" y="877937"/>
                          </a:cubicBezTo>
                          <a:cubicBezTo>
                            <a:pt x="823498" y="879611"/>
                            <a:pt x="828383" y="879807"/>
                            <a:pt x="833058" y="880742"/>
                          </a:cubicBezTo>
                          <a:cubicBezTo>
                            <a:pt x="835863" y="882612"/>
                            <a:pt x="839686" y="883492"/>
                            <a:pt x="841473" y="886351"/>
                          </a:cubicBezTo>
                          <a:cubicBezTo>
                            <a:pt x="844607" y="891366"/>
                            <a:pt x="847083" y="903181"/>
                            <a:pt x="847083" y="903181"/>
                          </a:cubicBezTo>
                          <a:cubicBezTo>
                            <a:pt x="849052" y="936655"/>
                            <a:pt x="836860" y="945752"/>
                            <a:pt x="858302" y="956474"/>
                          </a:cubicBezTo>
                          <a:cubicBezTo>
                            <a:pt x="860947" y="957796"/>
                            <a:pt x="863912" y="958344"/>
                            <a:pt x="866717" y="959279"/>
                          </a:cubicBezTo>
                          <a:cubicBezTo>
                            <a:pt x="868587" y="962084"/>
                            <a:pt x="869468" y="965907"/>
                            <a:pt x="872327" y="967694"/>
                          </a:cubicBezTo>
                          <a:cubicBezTo>
                            <a:pt x="877341" y="970828"/>
                            <a:pt x="889156" y="973304"/>
                            <a:pt x="889156" y="973304"/>
                          </a:cubicBezTo>
                          <a:cubicBezTo>
                            <a:pt x="891026" y="976109"/>
                            <a:pt x="892382" y="979334"/>
                            <a:pt x="894766" y="981718"/>
                          </a:cubicBezTo>
                          <a:cubicBezTo>
                            <a:pt x="900204" y="987156"/>
                            <a:pt x="904751" y="987851"/>
                            <a:pt x="911596" y="990133"/>
                          </a:cubicBezTo>
                          <a:cubicBezTo>
                            <a:pt x="911922" y="992418"/>
                            <a:pt x="914559" y="1015696"/>
                            <a:pt x="917205" y="1020987"/>
                          </a:cubicBezTo>
                          <a:cubicBezTo>
                            <a:pt x="920220" y="1027017"/>
                            <a:pt x="924685" y="1032206"/>
                            <a:pt x="928425" y="1037816"/>
                          </a:cubicBezTo>
                          <a:lnTo>
                            <a:pt x="934035" y="1046231"/>
                          </a:lnTo>
                          <a:lnTo>
                            <a:pt x="939645" y="1054646"/>
                          </a:lnTo>
                          <a:cubicBezTo>
                            <a:pt x="941515" y="1060256"/>
                            <a:pt x="939644" y="1069605"/>
                            <a:pt x="945254" y="1071475"/>
                          </a:cubicBezTo>
                          <a:cubicBezTo>
                            <a:pt x="966405" y="1078525"/>
                            <a:pt x="940334" y="1069015"/>
                            <a:pt x="962084" y="1079890"/>
                          </a:cubicBezTo>
                          <a:cubicBezTo>
                            <a:pt x="964729" y="1081212"/>
                            <a:pt x="967694" y="1081760"/>
                            <a:pt x="970499" y="1082695"/>
                          </a:cubicBezTo>
                          <a:cubicBezTo>
                            <a:pt x="971434" y="1085500"/>
                            <a:pt x="972774" y="1088201"/>
                            <a:pt x="973303" y="1091110"/>
                          </a:cubicBezTo>
                          <a:cubicBezTo>
                            <a:pt x="974651" y="1098526"/>
                            <a:pt x="973573" y="1106450"/>
                            <a:pt x="976108" y="1113549"/>
                          </a:cubicBezTo>
                          <a:cubicBezTo>
                            <a:pt x="978376" y="1119898"/>
                            <a:pt x="983588" y="1124768"/>
                            <a:pt x="987328" y="1130378"/>
                          </a:cubicBezTo>
                          <a:cubicBezTo>
                            <a:pt x="994578" y="1141252"/>
                            <a:pt x="991872" y="1135596"/>
                            <a:pt x="995743" y="1147208"/>
                          </a:cubicBezTo>
                          <a:cubicBezTo>
                            <a:pt x="994808" y="1150013"/>
                            <a:pt x="994785" y="1153314"/>
                            <a:pt x="992938" y="1155623"/>
                          </a:cubicBezTo>
                          <a:cubicBezTo>
                            <a:pt x="988984" y="1160565"/>
                            <a:pt x="981650" y="1162190"/>
                            <a:pt x="976108" y="1164037"/>
                          </a:cubicBezTo>
                          <a:cubicBezTo>
                            <a:pt x="956811" y="1157604"/>
                            <a:pt x="980142" y="1164037"/>
                            <a:pt x="945254" y="1164037"/>
                          </a:cubicBezTo>
                          <a:cubicBezTo>
                            <a:pt x="941733" y="1164037"/>
                            <a:pt x="929587" y="1159749"/>
                            <a:pt x="925620" y="1158427"/>
                          </a:cubicBezTo>
                          <a:cubicBezTo>
                            <a:pt x="906725" y="1139534"/>
                            <a:pt x="928589" y="1158510"/>
                            <a:pt x="905986" y="1147208"/>
                          </a:cubicBezTo>
                          <a:cubicBezTo>
                            <a:pt x="867406" y="1127917"/>
                            <a:pt x="904011" y="1140940"/>
                            <a:pt x="880742" y="1133183"/>
                          </a:cubicBezTo>
                          <a:cubicBezTo>
                            <a:pt x="877002" y="1134118"/>
                            <a:pt x="872730" y="1133850"/>
                            <a:pt x="869522" y="1135988"/>
                          </a:cubicBezTo>
                          <a:cubicBezTo>
                            <a:pt x="866717" y="1137858"/>
                            <a:pt x="864181" y="1141043"/>
                            <a:pt x="863912" y="1144403"/>
                          </a:cubicBezTo>
                          <a:cubicBezTo>
                            <a:pt x="862272" y="1164907"/>
                            <a:pt x="863912" y="1185542"/>
                            <a:pt x="863912" y="1206111"/>
                          </a:cubicBezTo>
                          <a:lnTo>
                            <a:pt x="875132" y="1222940"/>
                          </a:lnTo>
                          <a:cubicBezTo>
                            <a:pt x="871392" y="1230420"/>
                            <a:pt x="869825" y="1239467"/>
                            <a:pt x="863912" y="1245380"/>
                          </a:cubicBezTo>
                          <a:cubicBezTo>
                            <a:pt x="859731" y="1249561"/>
                            <a:pt x="852693" y="1249119"/>
                            <a:pt x="847083" y="1250989"/>
                          </a:cubicBezTo>
                          <a:cubicBezTo>
                            <a:pt x="835471" y="1254859"/>
                            <a:pt x="841127" y="1252155"/>
                            <a:pt x="830253" y="1259404"/>
                          </a:cubicBezTo>
                          <a:cubicBezTo>
                            <a:pt x="828383" y="1262209"/>
                            <a:pt x="826012" y="1264738"/>
                            <a:pt x="824643" y="1267819"/>
                          </a:cubicBezTo>
                          <a:cubicBezTo>
                            <a:pt x="822242" y="1273222"/>
                            <a:pt x="822314" y="1279728"/>
                            <a:pt x="819034" y="1284648"/>
                          </a:cubicBezTo>
                          <a:lnTo>
                            <a:pt x="813424" y="1293063"/>
                          </a:lnTo>
                          <a:cubicBezTo>
                            <a:pt x="810525" y="1324951"/>
                            <a:pt x="808438" y="1315505"/>
                            <a:pt x="813424" y="1337942"/>
                          </a:cubicBezTo>
                          <a:cubicBezTo>
                            <a:pt x="815051" y="1345265"/>
                            <a:pt x="814767" y="1353289"/>
                            <a:pt x="824643" y="1354771"/>
                          </a:cubicBezTo>
                          <a:cubicBezTo>
                            <a:pt x="840389" y="1357133"/>
                            <a:pt x="856432" y="1356641"/>
                            <a:pt x="872327" y="1357576"/>
                          </a:cubicBezTo>
                          <a:cubicBezTo>
                            <a:pt x="881677" y="1356641"/>
                            <a:pt x="891089" y="1356200"/>
                            <a:pt x="900376" y="1354771"/>
                          </a:cubicBezTo>
                          <a:cubicBezTo>
                            <a:pt x="903298" y="1354321"/>
                            <a:pt x="906482" y="1353813"/>
                            <a:pt x="908791" y="1351966"/>
                          </a:cubicBezTo>
                          <a:cubicBezTo>
                            <a:pt x="911423" y="1349860"/>
                            <a:pt x="912016" y="1345935"/>
                            <a:pt x="914400" y="1343551"/>
                          </a:cubicBezTo>
                          <a:cubicBezTo>
                            <a:pt x="924458" y="1333493"/>
                            <a:pt x="941056" y="1333909"/>
                            <a:pt x="953669" y="1332332"/>
                          </a:cubicBezTo>
                          <a:cubicBezTo>
                            <a:pt x="967455" y="1323141"/>
                            <a:pt x="964517" y="1328724"/>
                            <a:pt x="959279" y="1304283"/>
                          </a:cubicBezTo>
                          <a:cubicBezTo>
                            <a:pt x="958040" y="1298501"/>
                            <a:pt x="953669" y="1287453"/>
                            <a:pt x="953669" y="1287453"/>
                          </a:cubicBezTo>
                          <a:cubicBezTo>
                            <a:pt x="954604" y="1281843"/>
                            <a:pt x="952452" y="1274645"/>
                            <a:pt x="956474" y="1270624"/>
                          </a:cubicBezTo>
                          <a:cubicBezTo>
                            <a:pt x="958858" y="1268240"/>
                            <a:pt x="960576" y="1276024"/>
                            <a:pt x="962084" y="1279039"/>
                          </a:cubicBezTo>
                          <a:cubicBezTo>
                            <a:pt x="963406" y="1281683"/>
                            <a:pt x="962799" y="1285363"/>
                            <a:pt x="964889" y="1287453"/>
                          </a:cubicBezTo>
                          <a:cubicBezTo>
                            <a:pt x="966979" y="1289543"/>
                            <a:pt x="970498" y="1289323"/>
                            <a:pt x="973303" y="1290258"/>
                          </a:cubicBezTo>
                          <a:cubicBezTo>
                            <a:pt x="976108" y="1289323"/>
                            <a:pt x="979627" y="1289544"/>
                            <a:pt x="981718" y="1287453"/>
                          </a:cubicBezTo>
                          <a:cubicBezTo>
                            <a:pt x="983809" y="1285363"/>
                            <a:pt x="983882" y="1281925"/>
                            <a:pt x="984523" y="1279039"/>
                          </a:cubicBezTo>
                          <a:cubicBezTo>
                            <a:pt x="985757" y="1273487"/>
                            <a:pt x="985529" y="1267605"/>
                            <a:pt x="987328" y="1262209"/>
                          </a:cubicBezTo>
                          <a:cubicBezTo>
                            <a:pt x="988394" y="1259011"/>
                            <a:pt x="990079" y="1255581"/>
                            <a:pt x="992938" y="1253794"/>
                          </a:cubicBezTo>
                          <a:cubicBezTo>
                            <a:pt x="997952" y="1250660"/>
                            <a:pt x="1009767" y="1248185"/>
                            <a:pt x="1009767" y="1248185"/>
                          </a:cubicBezTo>
                          <a:cubicBezTo>
                            <a:pt x="1012572" y="1245380"/>
                            <a:pt x="1015135" y="1242310"/>
                            <a:pt x="1018182" y="1239770"/>
                          </a:cubicBezTo>
                          <a:cubicBezTo>
                            <a:pt x="1020772" y="1237612"/>
                            <a:pt x="1024491" y="1236792"/>
                            <a:pt x="1026597" y="1234160"/>
                          </a:cubicBezTo>
                          <a:cubicBezTo>
                            <a:pt x="1028444" y="1231851"/>
                            <a:pt x="1027509" y="1228016"/>
                            <a:pt x="1029402" y="1225745"/>
                          </a:cubicBezTo>
                          <a:cubicBezTo>
                            <a:pt x="1032395" y="1222154"/>
                            <a:pt x="1037146" y="1220458"/>
                            <a:pt x="1040621" y="1217331"/>
                          </a:cubicBezTo>
                          <a:cubicBezTo>
                            <a:pt x="1050644" y="1208310"/>
                            <a:pt x="1056956" y="1202771"/>
                            <a:pt x="1063061" y="1192086"/>
                          </a:cubicBezTo>
                          <a:cubicBezTo>
                            <a:pt x="1070529" y="1179016"/>
                            <a:pt x="1067531" y="1183451"/>
                            <a:pt x="1071475" y="1169647"/>
                          </a:cubicBezTo>
                          <a:cubicBezTo>
                            <a:pt x="1072287" y="1166804"/>
                            <a:pt x="1073468" y="1164075"/>
                            <a:pt x="1074280" y="1161232"/>
                          </a:cubicBezTo>
                          <a:cubicBezTo>
                            <a:pt x="1081324" y="1136578"/>
                            <a:pt x="1073164" y="1161775"/>
                            <a:pt x="1079890" y="1141598"/>
                          </a:cubicBezTo>
                          <a:cubicBezTo>
                            <a:pt x="1080825" y="1134118"/>
                            <a:pt x="1080712" y="1126431"/>
                            <a:pt x="1082695" y="1119159"/>
                          </a:cubicBezTo>
                          <a:cubicBezTo>
                            <a:pt x="1085824" y="1107685"/>
                            <a:pt x="1090316" y="1111392"/>
                            <a:pt x="1099524" y="1107939"/>
                          </a:cubicBezTo>
                          <a:cubicBezTo>
                            <a:pt x="1103439" y="1106471"/>
                            <a:pt x="1106901" y="1103976"/>
                            <a:pt x="1110744" y="1102329"/>
                          </a:cubicBezTo>
                          <a:cubicBezTo>
                            <a:pt x="1113462" y="1101164"/>
                            <a:pt x="1116354" y="1100459"/>
                            <a:pt x="1119159" y="1099524"/>
                          </a:cubicBezTo>
                          <a:cubicBezTo>
                            <a:pt x="1122899" y="1096719"/>
                            <a:pt x="1126319" y="1093429"/>
                            <a:pt x="1130378" y="1091110"/>
                          </a:cubicBezTo>
                          <a:cubicBezTo>
                            <a:pt x="1145354" y="1082553"/>
                            <a:pt x="1133066" y="1096837"/>
                            <a:pt x="1150013" y="1079890"/>
                          </a:cubicBezTo>
                          <a:cubicBezTo>
                            <a:pt x="1152397" y="1077506"/>
                            <a:pt x="1153753" y="1074280"/>
                            <a:pt x="1155623" y="1071475"/>
                          </a:cubicBezTo>
                          <a:cubicBezTo>
                            <a:pt x="1150509" y="1056134"/>
                            <a:pt x="1148765" y="1055397"/>
                            <a:pt x="1158427" y="1032207"/>
                          </a:cubicBezTo>
                          <a:cubicBezTo>
                            <a:pt x="1159564" y="1029478"/>
                            <a:pt x="1164037" y="1030337"/>
                            <a:pt x="1166842" y="1029402"/>
                          </a:cubicBezTo>
                          <a:cubicBezTo>
                            <a:pt x="1171517" y="1030337"/>
                            <a:pt x="1176900" y="1029563"/>
                            <a:pt x="1180867" y="1032207"/>
                          </a:cubicBezTo>
                          <a:cubicBezTo>
                            <a:pt x="1183327" y="1033847"/>
                            <a:pt x="1181825" y="1038312"/>
                            <a:pt x="1183672" y="1040621"/>
                          </a:cubicBezTo>
                          <a:cubicBezTo>
                            <a:pt x="1185778" y="1043253"/>
                            <a:pt x="1189281" y="1044361"/>
                            <a:pt x="1192086" y="1046231"/>
                          </a:cubicBezTo>
                          <a:cubicBezTo>
                            <a:pt x="1194891" y="1044361"/>
                            <a:pt x="1200083" y="1043966"/>
                            <a:pt x="1200501" y="1040621"/>
                          </a:cubicBezTo>
                          <a:cubicBezTo>
                            <a:pt x="1205186" y="1003143"/>
                            <a:pt x="1184791" y="992751"/>
                            <a:pt x="1206111" y="1006962"/>
                          </a:cubicBezTo>
                          <a:cubicBezTo>
                            <a:pt x="1207981" y="1009767"/>
                            <a:pt x="1209762" y="1012634"/>
                            <a:pt x="1211721" y="1015377"/>
                          </a:cubicBezTo>
                          <a:cubicBezTo>
                            <a:pt x="1214438" y="1019181"/>
                            <a:pt x="1217816" y="1022538"/>
                            <a:pt x="1220135" y="1026597"/>
                          </a:cubicBezTo>
                          <a:cubicBezTo>
                            <a:pt x="1221602" y="1029164"/>
                            <a:pt x="1222005" y="1032207"/>
                            <a:pt x="1222940" y="1035012"/>
                          </a:cubicBezTo>
                          <a:cubicBezTo>
                            <a:pt x="1223875" y="1041557"/>
                            <a:pt x="1223060" y="1048605"/>
                            <a:pt x="1225745" y="1054646"/>
                          </a:cubicBezTo>
                          <a:cubicBezTo>
                            <a:pt x="1227114" y="1057727"/>
                            <a:pt x="1231145" y="1058748"/>
                            <a:pt x="1234160" y="1060256"/>
                          </a:cubicBezTo>
                          <a:cubicBezTo>
                            <a:pt x="1242224" y="1064288"/>
                            <a:pt x="1254457" y="1064574"/>
                            <a:pt x="1262209" y="1065866"/>
                          </a:cubicBezTo>
                          <a:cubicBezTo>
                            <a:pt x="1266912" y="1066650"/>
                            <a:pt x="1271559" y="1067735"/>
                            <a:pt x="1276234" y="1068670"/>
                          </a:cubicBezTo>
                          <a:cubicBezTo>
                            <a:pt x="1279039" y="1070540"/>
                            <a:pt x="1282542" y="1071648"/>
                            <a:pt x="1284648" y="1074280"/>
                          </a:cubicBezTo>
                          <a:cubicBezTo>
                            <a:pt x="1286495" y="1076589"/>
                            <a:pt x="1289859" y="1080976"/>
                            <a:pt x="1287453" y="1082695"/>
                          </a:cubicBezTo>
                          <a:cubicBezTo>
                            <a:pt x="1281179" y="1087176"/>
                            <a:pt x="1265014" y="1088305"/>
                            <a:pt x="1265014" y="1088305"/>
                          </a:cubicBezTo>
                          <a:cubicBezTo>
                            <a:pt x="1261274" y="1087370"/>
                            <a:pt x="1257649" y="1085500"/>
                            <a:pt x="1253794" y="1085500"/>
                          </a:cubicBezTo>
                          <a:cubicBezTo>
                            <a:pt x="1219670" y="1085500"/>
                            <a:pt x="1218679" y="1086352"/>
                            <a:pt x="1194891" y="1091110"/>
                          </a:cubicBezTo>
                          <a:cubicBezTo>
                            <a:pt x="1195826" y="1093915"/>
                            <a:pt x="1195052" y="1098202"/>
                            <a:pt x="1197696" y="1099524"/>
                          </a:cubicBezTo>
                          <a:cubicBezTo>
                            <a:pt x="1203609" y="1102480"/>
                            <a:pt x="1210777" y="1101455"/>
                            <a:pt x="1217330" y="1102329"/>
                          </a:cubicBezTo>
                          <a:lnTo>
                            <a:pt x="1239770" y="1105134"/>
                          </a:lnTo>
                          <a:cubicBezTo>
                            <a:pt x="1242526" y="1106053"/>
                            <a:pt x="1255822" y="1109666"/>
                            <a:pt x="1256599" y="1113549"/>
                          </a:cubicBezTo>
                          <a:cubicBezTo>
                            <a:pt x="1257260" y="1116855"/>
                            <a:pt x="1253848" y="1120177"/>
                            <a:pt x="1250989" y="1121964"/>
                          </a:cubicBezTo>
                          <a:cubicBezTo>
                            <a:pt x="1245975" y="1125098"/>
                            <a:pt x="1234160" y="1127574"/>
                            <a:pt x="1234160" y="1127574"/>
                          </a:cubicBezTo>
                          <a:cubicBezTo>
                            <a:pt x="1269185" y="1136327"/>
                            <a:pt x="1225666" y="1125146"/>
                            <a:pt x="1253794" y="1133183"/>
                          </a:cubicBezTo>
                          <a:cubicBezTo>
                            <a:pt x="1283475" y="1141664"/>
                            <a:pt x="1241839" y="1128263"/>
                            <a:pt x="1281843" y="1141598"/>
                          </a:cubicBezTo>
                          <a:lnTo>
                            <a:pt x="1298673" y="1147208"/>
                          </a:lnTo>
                          <a:lnTo>
                            <a:pt x="1307088" y="1150013"/>
                          </a:lnTo>
                          <a:cubicBezTo>
                            <a:pt x="1312698" y="1149078"/>
                            <a:pt x="1318720" y="1149518"/>
                            <a:pt x="1323917" y="1147208"/>
                          </a:cubicBezTo>
                          <a:cubicBezTo>
                            <a:pt x="1327542" y="1145597"/>
                            <a:pt x="1329320" y="1141375"/>
                            <a:pt x="1332332" y="1138793"/>
                          </a:cubicBezTo>
                          <a:cubicBezTo>
                            <a:pt x="1335881" y="1135751"/>
                            <a:pt x="1339370" y="1132469"/>
                            <a:pt x="1343551" y="1130378"/>
                          </a:cubicBezTo>
                          <a:cubicBezTo>
                            <a:pt x="1348840" y="1127734"/>
                            <a:pt x="1360381" y="1124769"/>
                            <a:pt x="1360381" y="1124769"/>
                          </a:cubicBezTo>
                          <a:cubicBezTo>
                            <a:pt x="1445086" y="1130610"/>
                            <a:pt x="1419109" y="1115302"/>
                            <a:pt x="1450138" y="1135988"/>
                          </a:cubicBezTo>
                          <a:cubicBezTo>
                            <a:pt x="1457540" y="1147090"/>
                            <a:pt x="1460680" y="1147170"/>
                            <a:pt x="1450138" y="1164037"/>
                          </a:cubicBezTo>
                          <a:cubicBezTo>
                            <a:pt x="1448571" y="1166544"/>
                            <a:pt x="1444528" y="1165907"/>
                            <a:pt x="1441723" y="1166842"/>
                          </a:cubicBezTo>
                          <a:cubicBezTo>
                            <a:pt x="1415686" y="1186369"/>
                            <a:pt x="1444944" y="1165471"/>
                            <a:pt x="1419284" y="1180867"/>
                          </a:cubicBezTo>
                          <a:cubicBezTo>
                            <a:pt x="1395174" y="1195333"/>
                            <a:pt x="1410964" y="1189249"/>
                            <a:pt x="1394040" y="1194891"/>
                          </a:cubicBezTo>
                          <a:cubicBezTo>
                            <a:pt x="1391235" y="1198631"/>
                            <a:pt x="1388342" y="1202307"/>
                            <a:pt x="1385625" y="1206111"/>
                          </a:cubicBezTo>
                          <a:cubicBezTo>
                            <a:pt x="1383666" y="1208854"/>
                            <a:pt x="1382399" y="1212142"/>
                            <a:pt x="1380015" y="1214526"/>
                          </a:cubicBezTo>
                          <a:cubicBezTo>
                            <a:pt x="1377631" y="1216910"/>
                            <a:pt x="1374405" y="1218265"/>
                            <a:pt x="1371600" y="1220135"/>
                          </a:cubicBezTo>
                          <a:cubicBezTo>
                            <a:pt x="1368795" y="1223875"/>
                            <a:pt x="1366777" y="1228362"/>
                            <a:pt x="1363186" y="1231355"/>
                          </a:cubicBezTo>
                          <a:cubicBezTo>
                            <a:pt x="1360915" y="1233248"/>
                            <a:pt x="1357080" y="1232313"/>
                            <a:pt x="1354771" y="1234160"/>
                          </a:cubicBezTo>
                          <a:cubicBezTo>
                            <a:pt x="1347544" y="1239942"/>
                            <a:pt x="1335137" y="1253794"/>
                            <a:pt x="1335137" y="1253794"/>
                          </a:cubicBezTo>
                          <a:cubicBezTo>
                            <a:pt x="1334202" y="1256599"/>
                            <a:pt x="1332332" y="1259252"/>
                            <a:pt x="1332332" y="1262209"/>
                          </a:cubicBezTo>
                          <a:cubicBezTo>
                            <a:pt x="1332332" y="1269747"/>
                            <a:pt x="1331766" y="1277906"/>
                            <a:pt x="1335137" y="1284648"/>
                          </a:cubicBezTo>
                          <a:cubicBezTo>
                            <a:pt x="1337007" y="1288388"/>
                            <a:pt x="1342221" y="1289638"/>
                            <a:pt x="1346356" y="1290258"/>
                          </a:cubicBezTo>
                          <a:cubicBezTo>
                            <a:pt x="1361179" y="1292482"/>
                            <a:pt x="1376275" y="1292128"/>
                            <a:pt x="1391235" y="1293063"/>
                          </a:cubicBezTo>
                          <a:cubicBezTo>
                            <a:pt x="1417508" y="1301822"/>
                            <a:pt x="1378645" y="1287472"/>
                            <a:pt x="1408064" y="1304283"/>
                          </a:cubicBezTo>
                          <a:cubicBezTo>
                            <a:pt x="1411411" y="1306196"/>
                            <a:pt x="1415577" y="1306029"/>
                            <a:pt x="1419284" y="1307088"/>
                          </a:cubicBezTo>
                          <a:cubicBezTo>
                            <a:pt x="1422127" y="1307900"/>
                            <a:pt x="1424894" y="1308958"/>
                            <a:pt x="1427699" y="1309893"/>
                          </a:cubicBezTo>
                          <a:cubicBezTo>
                            <a:pt x="1438503" y="1306291"/>
                            <a:pt x="1445319" y="1302674"/>
                            <a:pt x="1458553" y="1309893"/>
                          </a:cubicBezTo>
                          <a:cubicBezTo>
                            <a:pt x="1463339" y="1312503"/>
                            <a:pt x="1464162" y="1319242"/>
                            <a:pt x="1466967" y="1323917"/>
                          </a:cubicBezTo>
                          <a:cubicBezTo>
                            <a:pt x="1467902" y="1327657"/>
                            <a:pt x="1468713" y="1331430"/>
                            <a:pt x="1469772" y="1335137"/>
                          </a:cubicBezTo>
                          <a:cubicBezTo>
                            <a:pt x="1470584" y="1337980"/>
                            <a:pt x="1472577" y="1340595"/>
                            <a:pt x="1472577" y="1343551"/>
                          </a:cubicBezTo>
                          <a:cubicBezTo>
                            <a:pt x="1472577" y="1350162"/>
                            <a:pt x="1470707" y="1356641"/>
                            <a:pt x="1469772" y="1363186"/>
                          </a:cubicBezTo>
                          <a:cubicBezTo>
                            <a:pt x="1470707" y="1368796"/>
                            <a:pt x="1471462" y="1374438"/>
                            <a:pt x="1472577" y="1380015"/>
                          </a:cubicBezTo>
                          <a:cubicBezTo>
                            <a:pt x="1473333" y="1383795"/>
                            <a:pt x="1474692" y="1387442"/>
                            <a:pt x="1475382" y="1391235"/>
                          </a:cubicBezTo>
                          <a:cubicBezTo>
                            <a:pt x="1478288" y="1407219"/>
                            <a:pt x="1473788" y="1410741"/>
                            <a:pt x="1486602" y="1419284"/>
                          </a:cubicBezTo>
                          <a:cubicBezTo>
                            <a:pt x="1489017" y="1420894"/>
                            <a:pt x="1504739" y="1424520"/>
                            <a:pt x="1506236" y="1424894"/>
                          </a:cubicBezTo>
                          <a:cubicBezTo>
                            <a:pt x="1524593" y="1423583"/>
                            <a:pt x="1546752" y="1427031"/>
                            <a:pt x="1562334" y="1413674"/>
                          </a:cubicBezTo>
                          <a:cubicBezTo>
                            <a:pt x="1564579" y="1411750"/>
                            <a:pt x="1563499" y="1407719"/>
                            <a:pt x="1565139" y="1405259"/>
                          </a:cubicBezTo>
                          <a:cubicBezTo>
                            <a:pt x="1567339" y="1401959"/>
                            <a:pt x="1570749" y="1399650"/>
                            <a:pt x="1573554" y="1396845"/>
                          </a:cubicBezTo>
                          <a:cubicBezTo>
                            <a:pt x="1575424" y="1387495"/>
                            <a:pt x="1577020" y="1378087"/>
                            <a:pt x="1579164" y="1368796"/>
                          </a:cubicBezTo>
                          <a:cubicBezTo>
                            <a:pt x="1579829" y="1365915"/>
                            <a:pt x="1579878" y="1362472"/>
                            <a:pt x="1581969" y="1360381"/>
                          </a:cubicBezTo>
                          <a:cubicBezTo>
                            <a:pt x="1585884" y="1356466"/>
                            <a:pt x="1602935" y="1346207"/>
                            <a:pt x="1610018" y="1343551"/>
                          </a:cubicBezTo>
                          <a:cubicBezTo>
                            <a:pt x="1617215" y="1340852"/>
                            <a:pt x="1622866" y="1341335"/>
                            <a:pt x="1629652" y="1337942"/>
                          </a:cubicBezTo>
                          <a:cubicBezTo>
                            <a:pt x="1632667" y="1336434"/>
                            <a:pt x="1635052" y="1333840"/>
                            <a:pt x="1638067" y="1332332"/>
                          </a:cubicBezTo>
                          <a:cubicBezTo>
                            <a:pt x="1640711" y="1331010"/>
                            <a:pt x="1643703" y="1330537"/>
                            <a:pt x="1646481" y="1329527"/>
                          </a:cubicBezTo>
                          <a:cubicBezTo>
                            <a:pt x="1653989" y="1326797"/>
                            <a:pt x="1661441" y="1323917"/>
                            <a:pt x="1668921" y="1321112"/>
                          </a:cubicBezTo>
                          <a:cubicBezTo>
                            <a:pt x="1674531" y="1313632"/>
                            <a:pt x="1680940" y="1306690"/>
                            <a:pt x="1685750" y="1298673"/>
                          </a:cubicBezTo>
                          <a:cubicBezTo>
                            <a:pt x="1688555" y="1293998"/>
                            <a:pt x="1690894" y="1289009"/>
                            <a:pt x="1694165" y="1284648"/>
                          </a:cubicBezTo>
                          <a:cubicBezTo>
                            <a:pt x="1697885" y="1279688"/>
                            <a:pt x="1705295" y="1273474"/>
                            <a:pt x="1710994" y="1270624"/>
                          </a:cubicBezTo>
                          <a:cubicBezTo>
                            <a:pt x="1718364" y="1266939"/>
                            <a:pt x="1732842" y="1265531"/>
                            <a:pt x="1739043" y="1265014"/>
                          </a:cubicBezTo>
                          <a:cubicBezTo>
                            <a:pt x="1754910" y="1263692"/>
                            <a:pt x="1770832" y="1263144"/>
                            <a:pt x="1786727" y="1262209"/>
                          </a:cubicBezTo>
                          <a:cubicBezTo>
                            <a:pt x="1790467" y="1259404"/>
                            <a:pt x="1794116" y="1256475"/>
                            <a:pt x="1797946" y="1253794"/>
                          </a:cubicBezTo>
                          <a:cubicBezTo>
                            <a:pt x="1803469" y="1249928"/>
                            <a:pt x="1814776" y="1242575"/>
                            <a:pt x="1814776" y="1242575"/>
                          </a:cubicBezTo>
                          <a:cubicBezTo>
                            <a:pt x="1815711" y="1238835"/>
                            <a:pt x="1817103" y="1235180"/>
                            <a:pt x="1817581" y="1231355"/>
                          </a:cubicBezTo>
                          <a:cubicBezTo>
                            <a:pt x="1818977" y="1220183"/>
                            <a:pt x="1817485" y="1208574"/>
                            <a:pt x="1820386" y="1197696"/>
                          </a:cubicBezTo>
                          <a:cubicBezTo>
                            <a:pt x="1821408" y="1193863"/>
                            <a:pt x="1825995" y="1192086"/>
                            <a:pt x="1828800" y="1189281"/>
                          </a:cubicBezTo>
                          <a:cubicBezTo>
                            <a:pt x="1820927" y="1165657"/>
                            <a:pt x="1827464" y="1176250"/>
                            <a:pt x="1775507" y="1183672"/>
                          </a:cubicBezTo>
                          <a:cubicBezTo>
                            <a:pt x="1772170" y="1184149"/>
                            <a:pt x="1770107" y="1187774"/>
                            <a:pt x="1767092" y="1189281"/>
                          </a:cubicBezTo>
                          <a:cubicBezTo>
                            <a:pt x="1764448" y="1190603"/>
                            <a:pt x="1761322" y="1190764"/>
                            <a:pt x="1758678" y="1192086"/>
                          </a:cubicBezTo>
                          <a:cubicBezTo>
                            <a:pt x="1755663" y="1193594"/>
                            <a:pt x="1753420" y="1196512"/>
                            <a:pt x="1750263" y="1197696"/>
                          </a:cubicBezTo>
                          <a:cubicBezTo>
                            <a:pt x="1737459" y="1202497"/>
                            <a:pt x="1738206" y="1198115"/>
                            <a:pt x="1727824" y="1203306"/>
                          </a:cubicBezTo>
                          <a:cubicBezTo>
                            <a:pt x="1717376" y="1208530"/>
                            <a:pt x="1720301" y="1209576"/>
                            <a:pt x="1710994" y="1217331"/>
                          </a:cubicBezTo>
                          <a:cubicBezTo>
                            <a:pt x="1708405" y="1219489"/>
                            <a:pt x="1705323" y="1220981"/>
                            <a:pt x="1702580" y="1222940"/>
                          </a:cubicBezTo>
                          <a:cubicBezTo>
                            <a:pt x="1698776" y="1225657"/>
                            <a:pt x="1695632" y="1229456"/>
                            <a:pt x="1691360" y="1231355"/>
                          </a:cubicBezTo>
                          <a:cubicBezTo>
                            <a:pt x="1687003" y="1233291"/>
                            <a:pt x="1682010" y="1233225"/>
                            <a:pt x="1677335" y="1234160"/>
                          </a:cubicBezTo>
                          <a:cubicBezTo>
                            <a:pt x="1668920" y="1233225"/>
                            <a:pt x="1660048" y="1234248"/>
                            <a:pt x="1652091" y="1231355"/>
                          </a:cubicBezTo>
                          <a:cubicBezTo>
                            <a:pt x="1648923" y="1230203"/>
                            <a:pt x="1647809" y="1226039"/>
                            <a:pt x="1646481" y="1222940"/>
                          </a:cubicBezTo>
                          <a:cubicBezTo>
                            <a:pt x="1644962" y="1219397"/>
                            <a:pt x="1644735" y="1215427"/>
                            <a:pt x="1643676" y="1211721"/>
                          </a:cubicBezTo>
                          <a:cubicBezTo>
                            <a:pt x="1642864" y="1208878"/>
                            <a:pt x="1642037" y="1206024"/>
                            <a:pt x="1640872" y="1203306"/>
                          </a:cubicBezTo>
                          <a:cubicBezTo>
                            <a:pt x="1639225" y="1199463"/>
                            <a:pt x="1638219" y="1195043"/>
                            <a:pt x="1635262" y="1192086"/>
                          </a:cubicBezTo>
                          <a:cubicBezTo>
                            <a:pt x="1632305" y="1189129"/>
                            <a:pt x="1627588" y="1188693"/>
                            <a:pt x="1624042" y="1186477"/>
                          </a:cubicBezTo>
                          <a:cubicBezTo>
                            <a:pt x="1620078" y="1183999"/>
                            <a:pt x="1616787" y="1180540"/>
                            <a:pt x="1612823" y="1178062"/>
                          </a:cubicBezTo>
                          <a:cubicBezTo>
                            <a:pt x="1609277" y="1175846"/>
                            <a:pt x="1605149" y="1174668"/>
                            <a:pt x="1601603" y="1172452"/>
                          </a:cubicBezTo>
                          <a:cubicBezTo>
                            <a:pt x="1597639" y="1169974"/>
                            <a:pt x="1594564" y="1166128"/>
                            <a:pt x="1590383" y="1164037"/>
                          </a:cubicBezTo>
                          <a:cubicBezTo>
                            <a:pt x="1586935" y="1162313"/>
                            <a:pt x="1582904" y="1162167"/>
                            <a:pt x="1579164" y="1161232"/>
                          </a:cubicBezTo>
                          <a:cubicBezTo>
                            <a:pt x="1567475" y="1152466"/>
                            <a:pt x="1568451" y="1151680"/>
                            <a:pt x="1553919" y="1147208"/>
                          </a:cubicBezTo>
                          <a:cubicBezTo>
                            <a:pt x="1546550" y="1144941"/>
                            <a:pt x="1531480" y="1141598"/>
                            <a:pt x="1531480" y="1141598"/>
                          </a:cubicBezTo>
                          <a:cubicBezTo>
                            <a:pt x="1506833" y="1125166"/>
                            <a:pt x="1521360" y="1131049"/>
                            <a:pt x="1486602" y="1127574"/>
                          </a:cubicBezTo>
                          <a:cubicBezTo>
                            <a:pt x="1483797" y="1125704"/>
                            <a:pt x="1481202" y="1123472"/>
                            <a:pt x="1478187" y="1121964"/>
                          </a:cubicBezTo>
                          <a:cubicBezTo>
                            <a:pt x="1475542" y="1120642"/>
                            <a:pt x="1471863" y="1121250"/>
                            <a:pt x="1469772" y="1119159"/>
                          </a:cubicBezTo>
                          <a:cubicBezTo>
                            <a:pt x="1467681" y="1117068"/>
                            <a:pt x="1467902" y="1113549"/>
                            <a:pt x="1466967" y="1110744"/>
                          </a:cubicBezTo>
                          <a:cubicBezTo>
                            <a:pt x="1479122" y="1109809"/>
                            <a:pt x="1491449" y="1110186"/>
                            <a:pt x="1503431" y="1107939"/>
                          </a:cubicBezTo>
                          <a:cubicBezTo>
                            <a:pt x="1506744" y="1107318"/>
                            <a:pt x="1508648" y="1103395"/>
                            <a:pt x="1511846" y="1102329"/>
                          </a:cubicBezTo>
                          <a:cubicBezTo>
                            <a:pt x="1517241" y="1100531"/>
                            <a:pt x="1523080" y="1100541"/>
                            <a:pt x="1528675" y="1099524"/>
                          </a:cubicBezTo>
                          <a:cubicBezTo>
                            <a:pt x="1533366" y="1098671"/>
                            <a:pt x="1538075" y="1097876"/>
                            <a:pt x="1542700" y="1096720"/>
                          </a:cubicBezTo>
                          <a:cubicBezTo>
                            <a:pt x="1545568" y="1096003"/>
                            <a:pt x="1548272" y="1094727"/>
                            <a:pt x="1551115" y="1093915"/>
                          </a:cubicBezTo>
                          <a:cubicBezTo>
                            <a:pt x="1554821" y="1092856"/>
                            <a:pt x="1558776" y="1092593"/>
                            <a:pt x="1562334" y="1091110"/>
                          </a:cubicBezTo>
                          <a:cubicBezTo>
                            <a:pt x="1567445" y="1088980"/>
                            <a:pt x="1586016" y="1080256"/>
                            <a:pt x="1593188" y="1074280"/>
                          </a:cubicBezTo>
                          <a:cubicBezTo>
                            <a:pt x="1596235" y="1071741"/>
                            <a:pt x="1598798" y="1068671"/>
                            <a:pt x="1601603" y="1065866"/>
                          </a:cubicBezTo>
                          <a:cubicBezTo>
                            <a:pt x="1603473" y="1062126"/>
                            <a:pt x="1605138" y="1058277"/>
                            <a:pt x="1607213" y="1054646"/>
                          </a:cubicBezTo>
                          <a:cubicBezTo>
                            <a:pt x="1608886" y="1051719"/>
                            <a:pt x="1611639" y="1049388"/>
                            <a:pt x="1612823" y="1046231"/>
                          </a:cubicBezTo>
                          <a:cubicBezTo>
                            <a:pt x="1620332" y="1026205"/>
                            <a:pt x="1608801" y="1036758"/>
                            <a:pt x="1624042" y="1026597"/>
                          </a:cubicBezTo>
                          <a:cubicBezTo>
                            <a:pt x="1629585" y="1028445"/>
                            <a:pt x="1636917" y="1030069"/>
                            <a:pt x="1640872" y="1035012"/>
                          </a:cubicBezTo>
                          <a:cubicBezTo>
                            <a:pt x="1642334" y="1036839"/>
                            <a:pt x="1646299" y="1053916"/>
                            <a:pt x="1646481" y="1054646"/>
                          </a:cubicBezTo>
                          <a:cubicBezTo>
                            <a:pt x="1644611" y="1060256"/>
                            <a:pt x="1643914" y="1066405"/>
                            <a:pt x="1640872" y="1071475"/>
                          </a:cubicBezTo>
                          <a:cubicBezTo>
                            <a:pt x="1634317" y="1082400"/>
                            <a:pt x="1626838" y="1082704"/>
                            <a:pt x="1618432" y="1091110"/>
                          </a:cubicBezTo>
                          <a:cubicBezTo>
                            <a:pt x="1616048" y="1093494"/>
                            <a:pt x="1624104" y="1087459"/>
                            <a:pt x="1626847" y="1085500"/>
                          </a:cubicBezTo>
                          <a:cubicBezTo>
                            <a:pt x="1630651" y="1082783"/>
                            <a:pt x="1634327" y="1079890"/>
                            <a:pt x="1638067" y="1077085"/>
                          </a:cubicBezTo>
                          <a:cubicBezTo>
                            <a:pt x="1640829" y="1071560"/>
                            <a:pt x="1645302" y="1063936"/>
                            <a:pt x="1646481" y="1057451"/>
                          </a:cubicBezTo>
                          <a:cubicBezTo>
                            <a:pt x="1647829" y="1050035"/>
                            <a:pt x="1647303" y="1042284"/>
                            <a:pt x="1649286" y="1035012"/>
                          </a:cubicBezTo>
                          <a:cubicBezTo>
                            <a:pt x="1650939" y="1028950"/>
                            <a:pt x="1659757" y="1022328"/>
                            <a:pt x="1663311" y="1018182"/>
                          </a:cubicBezTo>
                          <a:cubicBezTo>
                            <a:pt x="1666353" y="1014632"/>
                            <a:pt x="1668921" y="1010702"/>
                            <a:pt x="1671726" y="1006962"/>
                          </a:cubicBezTo>
                          <a:cubicBezTo>
                            <a:pt x="1672661" y="1004157"/>
                            <a:pt x="1672683" y="1000857"/>
                            <a:pt x="1674530" y="998548"/>
                          </a:cubicBezTo>
                          <a:cubicBezTo>
                            <a:pt x="1676636" y="995916"/>
                            <a:pt x="1680355" y="995096"/>
                            <a:pt x="1682945" y="992938"/>
                          </a:cubicBezTo>
                          <a:cubicBezTo>
                            <a:pt x="1685992" y="990398"/>
                            <a:pt x="1688820" y="987570"/>
                            <a:pt x="1691360" y="984523"/>
                          </a:cubicBezTo>
                          <a:cubicBezTo>
                            <a:pt x="1693518" y="981933"/>
                            <a:pt x="1694476" y="978376"/>
                            <a:pt x="1696970" y="976108"/>
                          </a:cubicBezTo>
                          <a:cubicBezTo>
                            <a:pt x="1717438" y="957500"/>
                            <a:pt x="1714700" y="957832"/>
                            <a:pt x="1733434" y="953669"/>
                          </a:cubicBezTo>
                          <a:cubicBezTo>
                            <a:pt x="1738088" y="952635"/>
                            <a:pt x="1742783" y="951799"/>
                            <a:pt x="1747458" y="950864"/>
                          </a:cubicBezTo>
                          <a:cubicBezTo>
                            <a:pt x="1758950" y="945118"/>
                            <a:pt x="1759703" y="945578"/>
                            <a:pt x="1769897" y="936840"/>
                          </a:cubicBezTo>
                          <a:cubicBezTo>
                            <a:pt x="1772909" y="934258"/>
                            <a:pt x="1775011" y="930625"/>
                            <a:pt x="1778312" y="928425"/>
                          </a:cubicBezTo>
                          <a:cubicBezTo>
                            <a:pt x="1780772" y="926785"/>
                            <a:pt x="1783805" y="926070"/>
                            <a:pt x="1786727" y="925620"/>
                          </a:cubicBezTo>
                          <a:cubicBezTo>
                            <a:pt x="1796014" y="924191"/>
                            <a:pt x="1805426" y="923750"/>
                            <a:pt x="1814776" y="922815"/>
                          </a:cubicBezTo>
                          <a:cubicBezTo>
                            <a:pt x="1818516" y="920945"/>
                            <a:pt x="1822153" y="918852"/>
                            <a:pt x="1825996" y="917205"/>
                          </a:cubicBezTo>
                          <a:cubicBezTo>
                            <a:pt x="1828713" y="916040"/>
                            <a:pt x="1831950" y="916040"/>
                            <a:pt x="1834410" y="914400"/>
                          </a:cubicBezTo>
                          <a:cubicBezTo>
                            <a:pt x="1837710" y="912200"/>
                            <a:pt x="1839778" y="908525"/>
                            <a:pt x="1842825" y="905986"/>
                          </a:cubicBezTo>
                          <a:cubicBezTo>
                            <a:pt x="1850075" y="899944"/>
                            <a:pt x="1851220" y="900383"/>
                            <a:pt x="1859654" y="897571"/>
                          </a:cubicBezTo>
                          <a:cubicBezTo>
                            <a:pt x="1871093" y="888992"/>
                            <a:pt x="1871590" y="890255"/>
                            <a:pt x="1879289" y="877937"/>
                          </a:cubicBezTo>
                          <a:cubicBezTo>
                            <a:pt x="1881505" y="874391"/>
                            <a:pt x="1883252" y="870560"/>
                            <a:pt x="1884899" y="866717"/>
                          </a:cubicBezTo>
                          <a:cubicBezTo>
                            <a:pt x="1886064" y="863999"/>
                            <a:pt x="1886063" y="860762"/>
                            <a:pt x="1887703" y="858302"/>
                          </a:cubicBezTo>
                          <a:cubicBezTo>
                            <a:pt x="1895677" y="846340"/>
                            <a:pt x="1894242" y="852229"/>
                            <a:pt x="1904533" y="847083"/>
                          </a:cubicBezTo>
                          <a:cubicBezTo>
                            <a:pt x="1923904" y="837397"/>
                            <a:pt x="1900817" y="844506"/>
                            <a:pt x="1924167" y="838668"/>
                          </a:cubicBezTo>
                          <a:cubicBezTo>
                            <a:pt x="1954793" y="818251"/>
                            <a:pt x="1907581" y="848363"/>
                            <a:pt x="1943802" y="830253"/>
                          </a:cubicBezTo>
                          <a:cubicBezTo>
                            <a:pt x="1977766" y="813272"/>
                            <a:pt x="1937696" y="827614"/>
                            <a:pt x="1963436" y="819034"/>
                          </a:cubicBezTo>
                          <a:cubicBezTo>
                            <a:pt x="1971509" y="794815"/>
                            <a:pt x="1970442" y="805664"/>
                            <a:pt x="1966241" y="774155"/>
                          </a:cubicBezTo>
                          <a:cubicBezTo>
                            <a:pt x="1965611" y="769430"/>
                            <a:pt x="1964690" y="764730"/>
                            <a:pt x="1963436" y="760131"/>
                          </a:cubicBezTo>
                          <a:cubicBezTo>
                            <a:pt x="1961880" y="754426"/>
                            <a:pt x="1957826" y="743301"/>
                            <a:pt x="1957826" y="743301"/>
                          </a:cubicBezTo>
                          <a:cubicBezTo>
                            <a:pt x="1958761" y="739561"/>
                            <a:pt x="1958223" y="735091"/>
                            <a:pt x="1960631" y="732081"/>
                          </a:cubicBezTo>
                          <a:cubicBezTo>
                            <a:pt x="1962478" y="729772"/>
                            <a:pt x="1966461" y="730713"/>
                            <a:pt x="1969046" y="729277"/>
                          </a:cubicBezTo>
                          <a:cubicBezTo>
                            <a:pt x="1980857" y="722715"/>
                            <a:pt x="1988496" y="716868"/>
                            <a:pt x="1997095" y="706837"/>
                          </a:cubicBezTo>
                          <a:cubicBezTo>
                            <a:pt x="1999289" y="704278"/>
                            <a:pt x="2000835" y="701228"/>
                            <a:pt x="2002705" y="698423"/>
                          </a:cubicBezTo>
                          <a:lnTo>
                            <a:pt x="2008315" y="681593"/>
                          </a:lnTo>
                          <a:cubicBezTo>
                            <a:pt x="2009250" y="678788"/>
                            <a:pt x="2008659" y="674818"/>
                            <a:pt x="2011119" y="673178"/>
                          </a:cubicBezTo>
                          <a:cubicBezTo>
                            <a:pt x="2031157" y="659821"/>
                            <a:pt x="2021408" y="663594"/>
                            <a:pt x="2039169" y="659154"/>
                          </a:cubicBezTo>
                          <a:cubicBezTo>
                            <a:pt x="2041974" y="657284"/>
                            <a:pt x="2044568" y="655052"/>
                            <a:pt x="2047583" y="653544"/>
                          </a:cubicBezTo>
                          <a:cubicBezTo>
                            <a:pt x="2050228" y="652222"/>
                            <a:pt x="2053155" y="651551"/>
                            <a:pt x="2055998" y="650739"/>
                          </a:cubicBezTo>
                          <a:cubicBezTo>
                            <a:pt x="2072423" y="646046"/>
                            <a:pt x="2072914" y="647364"/>
                            <a:pt x="2095267" y="645129"/>
                          </a:cubicBezTo>
                          <a:cubicBezTo>
                            <a:pt x="2099007" y="644194"/>
                            <a:pt x="2102780" y="643383"/>
                            <a:pt x="2106486" y="642324"/>
                          </a:cubicBezTo>
                          <a:cubicBezTo>
                            <a:pt x="2109329" y="641512"/>
                            <a:pt x="2113182" y="641926"/>
                            <a:pt x="2114901" y="639520"/>
                          </a:cubicBezTo>
                          <a:cubicBezTo>
                            <a:pt x="2118338" y="634708"/>
                            <a:pt x="2120511" y="622690"/>
                            <a:pt x="2120511" y="622690"/>
                          </a:cubicBezTo>
                          <a:cubicBezTo>
                            <a:pt x="2121332" y="610374"/>
                            <a:pt x="2126402" y="571573"/>
                            <a:pt x="2120511" y="555372"/>
                          </a:cubicBezTo>
                          <a:cubicBezTo>
                            <a:pt x="2119359" y="552204"/>
                            <a:pt x="2114686" y="551920"/>
                            <a:pt x="2112096" y="549762"/>
                          </a:cubicBezTo>
                          <a:cubicBezTo>
                            <a:pt x="2109049" y="547223"/>
                            <a:pt x="2106220" y="544395"/>
                            <a:pt x="2103681" y="541348"/>
                          </a:cubicBezTo>
                          <a:cubicBezTo>
                            <a:pt x="2081614" y="514867"/>
                            <a:pt x="2112135" y="549819"/>
                            <a:pt x="2095267" y="524518"/>
                          </a:cubicBezTo>
                          <a:cubicBezTo>
                            <a:pt x="2089122" y="515300"/>
                            <a:pt x="2086198" y="516961"/>
                            <a:pt x="2078437" y="510494"/>
                          </a:cubicBezTo>
                          <a:cubicBezTo>
                            <a:pt x="2075390" y="507955"/>
                            <a:pt x="2072828" y="504884"/>
                            <a:pt x="2070023" y="502079"/>
                          </a:cubicBezTo>
                          <a:cubicBezTo>
                            <a:pt x="2071893" y="497404"/>
                            <a:pt x="2071843" y="491370"/>
                            <a:pt x="2075632" y="488054"/>
                          </a:cubicBezTo>
                          <a:cubicBezTo>
                            <a:pt x="2080082" y="484160"/>
                            <a:pt x="2092462" y="482445"/>
                            <a:pt x="2092462" y="482445"/>
                          </a:cubicBezTo>
                          <a:cubicBezTo>
                            <a:pt x="2095300" y="478188"/>
                            <a:pt x="2100876" y="471424"/>
                            <a:pt x="2100876" y="465615"/>
                          </a:cubicBezTo>
                          <a:cubicBezTo>
                            <a:pt x="2100876" y="461760"/>
                            <a:pt x="2100798" y="457122"/>
                            <a:pt x="2098072" y="454396"/>
                          </a:cubicBezTo>
                          <a:cubicBezTo>
                            <a:pt x="2095346" y="451670"/>
                            <a:pt x="2090645" y="452281"/>
                            <a:pt x="2086852" y="451591"/>
                          </a:cubicBezTo>
                          <a:cubicBezTo>
                            <a:pt x="2080348" y="450408"/>
                            <a:pt x="2073763" y="449721"/>
                            <a:pt x="2067218" y="448786"/>
                          </a:cubicBezTo>
                          <a:cubicBezTo>
                            <a:pt x="2082170" y="426354"/>
                            <a:pt x="2062548" y="453453"/>
                            <a:pt x="2081242" y="434761"/>
                          </a:cubicBezTo>
                          <a:cubicBezTo>
                            <a:pt x="2084548" y="431456"/>
                            <a:pt x="2086852" y="427282"/>
                            <a:pt x="2089657" y="423542"/>
                          </a:cubicBezTo>
                          <a:cubicBezTo>
                            <a:pt x="2099506" y="393995"/>
                            <a:pt x="2097915" y="402065"/>
                            <a:pt x="2089657" y="342199"/>
                          </a:cubicBezTo>
                          <a:cubicBezTo>
                            <a:pt x="2089115" y="338270"/>
                            <a:pt x="2084047" y="336590"/>
                            <a:pt x="2081242" y="333785"/>
                          </a:cubicBezTo>
                          <a:cubicBezTo>
                            <a:pt x="2080307" y="330980"/>
                            <a:pt x="2080528" y="327461"/>
                            <a:pt x="2078437" y="325370"/>
                          </a:cubicBezTo>
                          <a:cubicBezTo>
                            <a:pt x="2072096" y="319028"/>
                            <a:pt x="2049438" y="325138"/>
                            <a:pt x="2047583" y="325370"/>
                          </a:cubicBezTo>
                          <a:cubicBezTo>
                            <a:pt x="2044778" y="326305"/>
                            <a:pt x="2042125" y="328175"/>
                            <a:pt x="2039169" y="328175"/>
                          </a:cubicBezTo>
                          <a:cubicBezTo>
                            <a:pt x="2033482" y="328175"/>
                            <a:pt x="2027787" y="327004"/>
                            <a:pt x="2022339" y="325370"/>
                          </a:cubicBezTo>
                          <a:cubicBezTo>
                            <a:pt x="2018334" y="324168"/>
                            <a:pt x="2014962" y="321407"/>
                            <a:pt x="2011119" y="319760"/>
                          </a:cubicBezTo>
                          <a:cubicBezTo>
                            <a:pt x="2008402" y="318595"/>
                            <a:pt x="2005510" y="317890"/>
                            <a:pt x="2002705" y="316955"/>
                          </a:cubicBezTo>
                          <a:cubicBezTo>
                            <a:pt x="1997095" y="317890"/>
                            <a:pt x="1991452" y="318645"/>
                            <a:pt x="1985875" y="319760"/>
                          </a:cubicBezTo>
                          <a:cubicBezTo>
                            <a:pt x="1982095" y="320516"/>
                            <a:pt x="1978497" y="322885"/>
                            <a:pt x="1974656" y="322565"/>
                          </a:cubicBezTo>
                          <a:cubicBezTo>
                            <a:pt x="1966217" y="321862"/>
                            <a:pt x="1953062" y="317237"/>
                            <a:pt x="1943802" y="314150"/>
                          </a:cubicBezTo>
                          <a:cubicBezTo>
                            <a:pt x="1940997" y="315085"/>
                            <a:pt x="1938032" y="315633"/>
                            <a:pt x="1935387" y="316955"/>
                          </a:cubicBezTo>
                          <a:cubicBezTo>
                            <a:pt x="1932372" y="318463"/>
                            <a:pt x="1930326" y="322230"/>
                            <a:pt x="1926972" y="322565"/>
                          </a:cubicBezTo>
                          <a:cubicBezTo>
                            <a:pt x="1920394" y="323223"/>
                            <a:pt x="1913883" y="320695"/>
                            <a:pt x="1907338" y="319760"/>
                          </a:cubicBezTo>
                          <a:cubicBezTo>
                            <a:pt x="1903598" y="317890"/>
                            <a:pt x="1900048" y="315579"/>
                            <a:pt x="1896118" y="314150"/>
                          </a:cubicBezTo>
                          <a:cubicBezTo>
                            <a:pt x="1880945" y="308632"/>
                            <a:pt x="1874901" y="308276"/>
                            <a:pt x="1859654" y="305735"/>
                          </a:cubicBezTo>
                          <a:cubicBezTo>
                            <a:pt x="1851239" y="306670"/>
                            <a:pt x="1842118" y="305036"/>
                            <a:pt x="1834410" y="308540"/>
                          </a:cubicBezTo>
                          <a:cubicBezTo>
                            <a:pt x="1830603" y="310270"/>
                            <a:pt x="1831757" y="316803"/>
                            <a:pt x="1828800" y="319760"/>
                          </a:cubicBezTo>
                          <a:cubicBezTo>
                            <a:pt x="1824945" y="323615"/>
                            <a:pt x="1819451" y="325370"/>
                            <a:pt x="1814776" y="328175"/>
                          </a:cubicBezTo>
                          <a:cubicBezTo>
                            <a:pt x="1809712" y="326004"/>
                            <a:pt x="1792701" y="320124"/>
                            <a:pt x="1786727" y="314150"/>
                          </a:cubicBezTo>
                          <a:cubicBezTo>
                            <a:pt x="1774040" y="301463"/>
                            <a:pt x="1789083" y="308389"/>
                            <a:pt x="1772702" y="302931"/>
                          </a:cubicBezTo>
                          <a:cubicBezTo>
                            <a:pt x="1768610" y="300202"/>
                            <a:pt x="1755597" y="291751"/>
                            <a:pt x="1753068" y="288906"/>
                          </a:cubicBezTo>
                          <a:cubicBezTo>
                            <a:pt x="1748589" y="283867"/>
                            <a:pt x="1747458" y="275817"/>
                            <a:pt x="1741848" y="272077"/>
                          </a:cubicBezTo>
                          <a:cubicBezTo>
                            <a:pt x="1729955" y="264147"/>
                            <a:pt x="1736449" y="267975"/>
                            <a:pt x="1722214" y="260857"/>
                          </a:cubicBezTo>
                          <a:cubicBezTo>
                            <a:pt x="1713799" y="261792"/>
                            <a:pt x="1705220" y="261758"/>
                            <a:pt x="1696970" y="263662"/>
                          </a:cubicBezTo>
                          <a:cubicBezTo>
                            <a:pt x="1691954" y="264820"/>
                            <a:pt x="1674890" y="276104"/>
                            <a:pt x="1671726" y="277686"/>
                          </a:cubicBezTo>
                          <a:cubicBezTo>
                            <a:pt x="1648503" y="289297"/>
                            <a:pt x="1679009" y="270026"/>
                            <a:pt x="1654896" y="286101"/>
                          </a:cubicBezTo>
                          <a:cubicBezTo>
                            <a:pt x="1653961" y="289841"/>
                            <a:pt x="1653150" y="293614"/>
                            <a:pt x="1652091" y="297321"/>
                          </a:cubicBezTo>
                          <a:cubicBezTo>
                            <a:pt x="1651279" y="300164"/>
                            <a:pt x="1652154" y="305018"/>
                            <a:pt x="1649286" y="305735"/>
                          </a:cubicBezTo>
                          <a:cubicBezTo>
                            <a:pt x="1642872" y="307338"/>
                            <a:pt x="1636197" y="303866"/>
                            <a:pt x="1629652" y="302931"/>
                          </a:cubicBezTo>
                          <a:cubicBezTo>
                            <a:pt x="1626847" y="301996"/>
                            <a:pt x="1624194" y="300126"/>
                            <a:pt x="1621237" y="300126"/>
                          </a:cubicBezTo>
                          <a:cubicBezTo>
                            <a:pt x="1615433" y="300126"/>
                            <a:pt x="1608661" y="305705"/>
                            <a:pt x="1604408" y="308540"/>
                          </a:cubicBezTo>
                          <a:cubicBezTo>
                            <a:pt x="1581080" y="305207"/>
                            <a:pt x="1578671" y="303373"/>
                            <a:pt x="1551115" y="308540"/>
                          </a:cubicBezTo>
                          <a:cubicBezTo>
                            <a:pt x="1547005" y="309311"/>
                            <a:pt x="1543635" y="312280"/>
                            <a:pt x="1539895" y="314150"/>
                          </a:cubicBezTo>
                          <a:cubicBezTo>
                            <a:pt x="1527884" y="309002"/>
                            <a:pt x="1519018" y="308079"/>
                            <a:pt x="1511846" y="297321"/>
                          </a:cubicBezTo>
                          <a:cubicBezTo>
                            <a:pt x="1510206" y="294861"/>
                            <a:pt x="1509976" y="291711"/>
                            <a:pt x="1509041" y="288906"/>
                          </a:cubicBezTo>
                          <a:cubicBezTo>
                            <a:pt x="1504932" y="260142"/>
                            <a:pt x="1512600" y="275385"/>
                            <a:pt x="1495016" y="263662"/>
                          </a:cubicBezTo>
                          <a:cubicBezTo>
                            <a:pt x="1487237" y="258476"/>
                            <a:pt x="1472577" y="246832"/>
                            <a:pt x="1472577" y="246832"/>
                          </a:cubicBezTo>
                          <a:cubicBezTo>
                            <a:pt x="1471642" y="242157"/>
                            <a:pt x="1469376" y="237559"/>
                            <a:pt x="1469772" y="232808"/>
                          </a:cubicBezTo>
                          <a:cubicBezTo>
                            <a:pt x="1470640" y="222391"/>
                            <a:pt x="1483066" y="206684"/>
                            <a:pt x="1469772" y="196344"/>
                          </a:cubicBezTo>
                          <a:cubicBezTo>
                            <a:pt x="1464554" y="192285"/>
                            <a:pt x="1456683" y="194474"/>
                            <a:pt x="1450138" y="193539"/>
                          </a:cubicBezTo>
                          <a:cubicBezTo>
                            <a:pt x="1448268" y="190734"/>
                            <a:pt x="1447118" y="187282"/>
                            <a:pt x="1444528" y="185124"/>
                          </a:cubicBezTo>
                          <a:cubicBezTo>
                            <a:pt x="1433246" y="175723"/>
                            <a:pt x="1428196" y="180245"/>
                            <a:pt x="1413674" y="182320"/>
                          </a:cubicBezTo>
                          <a:cubicBezTo>
                            <a:pt x="1407238" y="187146"/>
                            <a:pt x="1400501" y="194466"/>
                            <a:pt x="1391235" y="193539"/>
                          </a:cubicBezTo>
                          <a:cubicBezTo>
                            <a:pt x="1385351" y="192951"/>
                            <a:pt x="1380142" y="189363"/>
                            <a:pt x="1374405" y="187929"/>
                          </a:cubicBezTo>
                          <a:cubicBezTo>
                            <a:pt x="1370665" y="186994"/>
                            <a:pt x="1366892" y="186183"/>
                            <a:pt x="1363186" y="185124"/>
                          </a:cubicBezTo>
                          <a:cubicBezTo>
                            <a:pt x="1360343" y="184312"/>
                            <a:pt x="1357639" y="183037"/>
                            <a:pt x="1354771" y="182320"/>
                          </a:cubicBezTo>
                          <a:cubicBezTo>
                            <a:pt x="1350146" y="181164"/>
                            <a:pt x="1345421" y="180450"/>
                            <a:pt x="1340746" y="179515"/>
                          </a:cubicBezTo>
                          <a:cubicBezTo>
                            <a:pt x="1322123" y="142262"/>
                            <a:pt x="1344727" y="188800"/>
                            <a:pt x="1332332" y="159880"/>
                          </a:cubicBezTo>
                          <a:cubicBezTo>
                            <a:pt x="1328062" y="149918"/>
                            <a:pt x="1326745" y="148695"/>
                            <a:pt x="1321112" y="140246"/>
                          </a:cubicBezTo>
                          <a:cubicBezTo>
                            <a:pt x="1322047" y="133701"/>
                            <a:pt x="1320960" y="126525"/>
                            <a:pt x="1323917" y="120612"/>
                          </a:cubicBezTo>
                          <a:cubicBezTo>
                            <a:pt x="1325239" y="117967"/>
                            <a:pt x="1329687" y="119129"/>
                            <a:pt x="1332332" y="117807"/>
                          </a:cubicBezTo>
                          <a:cubicBezTo>
                            <a:pt x="1342174" y="112886"/>
                            <a:pt x="1342137" y="110342"/>
                            <a:pt x="1349161" y="100977"/>
                          </a:cubicBezTo>
                          <a:cubicBezTo>
                            <a:pt x="1350096" y="97237"/>
                            <a:pt x="1351966" y="93613"/>
                            <a:pt x="1351966" y="89758"/>
                          </a:cubicBezTo>
                          <a:cubicBezTo>
                            <a:pt x="1351966" y="79114"/>
                            <a:pt x="1338802" y="71631"/>
                            <a:pt x="1332332" y="67318"/>
                          </a:cubicBezTo>
                          <a:cubicBezTo>
                            <a:pt x="1329872" y="65678"/>
                            <a:pt x="1326562" y="65835"/>
                            <a:pt x="1323917" y="64513"/>
                          </a:cubicBezTo>
                          <a:cubicBezTo>
                            <a:pt x="1320902" y="63006"/>
                            <a:pt x="1318307" y="60774"/>
                            <a:pt x="1315502" y="58904"/>
                          </a:cubicBezTo>
                          <a:cubicBezTo>
                            <a:pt x="1312697" y="55164"/>
                            <a:pt x="1310130" y="51233"/>
                            <a:pt x="1307088" y="47684"/>
                          </a:cubicBezTo>
                          <a:cubicBezTo>
                            <a:pt x="1304506" y="44672"/>
                            <a:pt x="1300979" y="42497"/>
                            <a:pt x="1298673" y="39269"/>
                          </a:cubicBezTo>
                          <a:cubicBezTo>
                            <a:pt x="1282780" y="17021"/>
                            <a:pt x="1300721" y="37946"/>
                            <a:pt x="1290258" y="19635"/>
                          </a:cubicBezTo>
                          <a:cubicBezTo>
                            <a:pt x="1283713" y="8182"/>
                            <a:pt x="1280908" y="7714"/>
                            <a:pt x="1270624" y="0"/>
                          </a:cubicBezTo>
                          <a:cubicBezTo>
                            <a:pt x="1242575" y="1870"/>
                            <a:pt x="1214383" y="2227"/>
                            <a:pt x="1186476" y="5610"/>
                          </a:cubicBezTo>
                          <a:cubicBezTo>
                            <a:pt x="1183130" y="6016"/>
                            <a:pt x="1180805" y="9261"/>
                            <a:pt x="1178062" y="11220"/>
                          </a:cubicBezTo>
                          <a:cubicBezTo>
                            <a:pt x="1174258" y="13937"/>
                            <a:pt x="1170929" y="17365"/>
                            <a:pt x="1166842" y="19635"/>
                          </a:cubicBezTo>
                          <a:cubicBezTo>
                            <a:pt x="1154278" y="26615"/>
                            <a:pt x="1147824" y="25958"/>
                            <a:pt x="1133183" y="28050"/>
                          </a:cubicBezTo>
                          <a:cubicBezTo>
                            <a:pt x="1120534" y="25520"/>
                            <a:pt x="1114784" y="21958"/>
                            <a:pt x="1102329" y="30854"/>
                          </a:cubicBezTo>
                          <a:cubicBezTo>
                            <a:pt x="1099923" y="32572"/>
                            <a:pt x="1100846" y="36624"/>
                            <a:pt x="1099524" y="39269"/>
                          </a:cubicBezTo>
                          <a:cubicBezTo>
                            <a:pt x="1098017" y="42284"/>
                            <a:pt x="1093915" y="47684"/>
                            <a:pt x="1093915" y="47684"/>
                          </a:cubicBezTo>
                          <a:lnTo>
                            <a:pt x="1099524" y="75733"/>
                          </a:lnTo>
                          <a:lnTo>
                            <a:pt x="1079890" y="84148"/>
                          </a:lnTo>
                          <a:cubicBezTo>
                            <a:pt x="1048496" y="78915"/>
                            <a:pt x="1044332" y="75388"/>
                            <a:pt x="1012572" y="81343"/>
                          </a:cubicBezTo>
                          <a:cubicBezTo>
                            <a:pt x="1008462" y="82114"/>
                            <a:pt x="1004755" y="84523"/>
                            <a:pt x="1001353" y="86953"/>
                          </a:cubicBezTo>
                          <a:cubicBezTo>
                            <a:pt x="998125" y="89259"/>
                            <a:pt x="996771" y="94345"/>
                            <a:pt x="992938" y="95367"/>
                          </a:cubicBezTo>
                          <a:cubicBezTo>
                            <a:pt x="982060" y="98268"/>
                            <a:pt x="970499" y="97237"/>
                            <a:pt x="959279" y="98172"/>
                          </a:cubicBezTo>
                          <a:cubicBezTo>
                            <a:pt x="937575" y="126077"/>
                            <a:pt x="945558" y="114546"/>
                            <a:pt x="934035" y="131831"/>
                          </a:cubicBezTo>
                          <a:cubicBezTo>
                            <a:pt x="933100" y="135571"/>
                            <a:pt x="932749" y="139508"/>
                            <a:pt x="931230" y="143051"/>
                          </a:cubicBezTo>
                          <a:cubicBezTo>
                            <a:pt x="919607" y="170172"/>
                            <a:pt x="930869" y="130474"/>
                            <a:pt x="922815" y="162685"/>
                          </a:cubicBezTo>
                          <a:cubicBezTo>
                            <a:pt x="924685" y="179515"/>
                            <a:pt x="924151" y="196789"/>
                            <a:pt x="928425" y="213174"/>
                          </a:cubicBezTo>
                          <a:cubicBezTo>
                            <a:pt x="929936" y="218967"/>
                            <a:pt x="936053" y="222409"/>
                            <a:pt x="939645" y="227198"/>
                          </a:cubicBezTo>
                          <a:cubicBezTo>
                            <a:pt x="941668" y="229895"/>
                            <a:pt x="943384" y="232808"/>
                            <a:pt x="945254" y="235613"/>
                          </a:cubicBezTo>
                          <a:cubicBezTo>
                            <a:pt x="944319" y="244028"/>
                            <a:pt x="948821" y="255282"/>
                            <a:pt x="942449" y="260857"/>
                          </a:cubicBezTo>
                          <a:cubicBezTo>
                            <a:pt x="937327" y="265339"/>
                            <a:pt x="928557" y="258901"/>
                            <a:pt x="922815" y="255247"/>
                          </a:cubicBezTo>
                          <a:cubicBezTo>
                            <a:pt x="917764" y="252033"/>
                            <a:pt x="915829" y="245456"/>
                            <a:pt x="911596" y="241223"/>
                          </a:cubicBezTo>
                          <a:cubicBezTo>
                            <a:pt x="908117" y="237744"/>
                            <a:pt x="896739" y="230383"/>
                            <a:pt x="891961" y="227198"/>
                          </a:cubicBezTo>
                          <a:cubicBezTo>
                            <a:pt x="867652" y="230003"/>
                            <a:pt x="836338" y="218311"/>
                            <a:pt x="819034" y="235613"/>
                          </a:cubicBezTo>
                          <a:cubicBezTo>
                            <a:pt x="816229" y="238418"/>
                            <a:pt x="813920" y="241827"/>
                            <a:pt x="810619" y="244027"/>
                          </a:cubicBezTo>
                          <a:cubicBezTo>
                            <a:pt x="808159" y="245667"/>
                            <a:pt x="805009" y="245897"/>
                            <a:pt x="802204" y="246832"/>
                          </a:cubicBezTo>
                          <a:cubicBezTo>
                            <a:pt x="795659" y="245897"/>
                            <a:pt x="788148" y="247576"/>
                            <a:pt x="782570" y="244027"/>
                          </a:cubicBezTo>
                          <a:cubicBezTo>
                            <a:pt x="776882" y="240407"/>
                            <a:pt x="776117" y="231965"/>
                            <a:pt x="771350" y="227198"/>
                          </a:cubicBezTo>
                          <a:lnTo>
                            <a:pt x="762935" y="218783"/>
                          </a:lnTo>
                          <a:cubicBezTo>
                            <a:pt x="756390" y="219718"/>
                            <a:pt x="749214" y="218631"/>
                            <a:pt x="743301" y="221588"/>
                          </a:cubicBezTo>
                          <a:cubicBezTo>
                            <a:pt x="740656" y="222910"/>
                            <a:pt x="741818" y="227358"/>
                            <a:pt x="740496" y="230003"/>
                          </a:cubicBezTo>
                          <a:cubicBezTo>
                            <a:pt x="735821" y="239353"/>
                            <a:pt x="734887" y="238418"/>
                            <a:pt x="726472" y="244027"/>
                          </a:cubicBezTo>
                          <a:cubicBezTo>
                            <a:pt x="689027" y="238680"/>
                            <a:pt x="719841" y="247088"/>
                            <a:pt x="698423" y="232808"/>
                          </a:cubicBezTo>
                          <a:cubicBezTo>
                            <a:pt x="692437" y="228817"/>
                            <a:pt x="668520" y="227317"/>
                            <a:pt x="667569" y="227198"/>
                          </a:cubicBezTo>
                          <a:cubicBezTo>
                            <a:pt x="665120" y="225565"/>
                            <a:pt x="654962" y="217727"/>
                            <a:pt x="650739" y="218783"/>
                          </a:cubicBezTo>
                          <a:cubicBezTo>
                            <a:pt x="645450" y="220105"/>
                            <a:pt x="641076" y="223927"/>
                            <a:pt x="636715" y="227198"/>
                          </a:cubicBezTo>
                          <a:cubicBezTo>
                            <a:pt x="633542" y="229578"/>
                            <a:pt x="631783" y="233713"/>
                            <a:pt x="628300" y="235613"/>
                          </a:cubicBezTo>
                          <a:cubicBezTo>
                            <a:pt x="621287" y="239438"/>
                            <a:pt x="613235" y="240955"/>
                            <a:pt x="605861" y="244027"/>
                          </a:cubicBezTo>
                          <a:cubicBezTo>
                            <a:pt x="602001" y="245635"/>
                            <a:pt x="598381" y="247767"/>
                            <a:pt x="594641" y="249637"/>
                          </a:cubicBezTo>
                          <a:cubicBezTo>
                            <a:pt x="589966" y="246832"/>
                            <a:pt x="584977" y="244494"/>
                            <a:pt x="580616" y="241223"/>
                          </a:cubicBezTo>
                          <a:cubicBezTo>
                            <a:pt x="577443" y="238843"/>
                            <a:pt x="575813" y="234449"/>
                            <a:pt x="572202" y="232808"/>
                          </a:cubicBezTo>
                          <a:cubicBezTo>
                            <a:pt x="565183" y="229617"/>
                            <a:pt x="557076" y="229636"/>
                            <a:pt x="549762" y="227198"/>
                          </a:cubicBezTo>
                          <a:lnTo>
                            <a:pt x="541348" y="224393"/>
                          </a:lnTo>
                          <a:cubicBezTo>
                            <a:pt x="539478" y="220653"/>
                            <a:pt x="538415" y="216386"/>
                            <a:pt x="535738" y="213174"/>
                          </a:cubicBezTo>
                          <a:cubicBezTo>
                            <a:pt x="526897" y="202565"/>
                            <a:pt x="505664" y="205635"/>
                            <a:pt x="496469" y="204759"/>
                          </a:cubicBezTo>
                          <a:lnTo>
                            <a:pt x="468420" y="201954"/>
                          </a:lnTo>
                          <a:cubicBezTo>
                            <a:pt x="465615" y="201019"/>
                            <a:pt x="462858" y="199927"/>
                            <a:pt x="460005" y="199149"/>
                          </a:cubicBezTo>
                          <a:cubicBezTo>
                            <a:pt x="452567" y="197120"/>
                            <a:pt x="444880" y="195977"/>
                            <a:pt x="437566" y="193539"/>
                          </a:cubicBezTo>
                          <a:lnTo>
                            <a:pt x="429151" y="190734"/>
                          </a:lnTo>
                          <a:lnTo>
                            <a:pt x="238418" y="193539"/>
                          </a:lnTo>
                          <a:cubicBezTo>
                            <a:pt x="224131" y="193936"/>
                            <a:pt x="227849" y="196608"/>
                            <a:pt x="221588" y="207564"/>
                          </a:cubicBezTo>
                          <a:cubicBezTo>
                            <a:pt x="219915" y="210491"/>
                            <a:pt x="217650" y="213051"/>
                            <a:pt x="215978" y="215978"/>
                          </a:cubicBezTo>
                          <a:cubicBezTo>
                            <a:pt x="213904" y="219608"/>
                            <a:pt x="212443" y="223568"/>
                            <a:pt x="210369" y="227198"/>
                          </a:cubicBezTo>
                          <a:cubicBezTo>
                            <a:pt x="207185" y="232771"/>
                            <a:pt x="201700" y="240457"/>
                            <a:pt x="196344" y="244027"/>
                          </a:cubicBezTo>
                          <a:cubicBezTo>
                            <a:pt x="193884" y="245667"/>
                            <a:pt x="190734" y="245897"/>
                            <a:pt x="187929" y="246832"/>
                          </a:cubicBezTo>
                          <a:cubicBezTo>
                            <a:pt x="185124" y="249637"/>
                            <a:pt x="183198" y="253774"/>
                            <a:pt x="179515" y="255247"/>
                          </a:cubicBezTo>
                          <a:cubicBezTo>
                            <a:pt x="158029" y="263842"/>
                            <a:pt x="160815" y="252909"/>
                            <a:pt x="157075" y="252442"/>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49" name="Group 148"/>
                  <p:cNvGrpSpPr/>
                  <p:nvPr/>
                </p:nvGrpSpPr>
                <p:grpSpPr>
                  <a:xfrm>
                    <a:off x="492981" y="182880"/>
                    <a:ext cx="8269356" cy="6652681"/>
                    <a:chOff x="492981" y="182880"/>
                    <a:chExt cx="8269356" cy="6652681"/>
                  </a:xfrm>
                  <a:grpFill/>
                </p:grpSpPr>
                <p:grpSp>
                  <p:nvGrpSpPr>
                    <p:cNvPr id="150" name="Group 149"/>
                    <p:cNvGrpSpPr/>
                    <p:nvPr/>
                  </p:nvGrpSpPr>
                  <p:grpSpPr>
                    <a:xfrm>
                      <a:off x="4813222" y="2347708"/>
                      <a:ext cx="577811" cy="378663"/>
                      <a:chOff x="4813222" y="2347708"/>
                      <a:chExt cx="577811" cy="378663"/>
                    </a:xfrm>
                    <a:grpFill/>
                  </p:grpSpPr>
                  <p:grpSp>
                    <p:nvGrpSpPr>
                      <p:cNvPr id="330" name="Group 329"/>
                      <p:cNvGrpSpPr/>
                      <p:nvPr/>
                    </p:nvGrpSpPr>
                    <p:grpSpPr>
                      <a:xfrm>
                        <a:off x="4813222" y="2347708"/>
                        <a:ext cx="577811" cy="378663"/>
                        <a:chOff x="4813222" y="2347708"/>
                        <a:chExt cx="577811" cy="378663"/>
                      </a:xfrm>
                      <a:grpFill/>
                    </p:grpSpPr>
                    <p:sp>
                      <p:nvSpPr>
                        <p:cNvPr id="332" name="Freeform 331"/>
                        <p:cNvSpPr/>
                        <p:nvPr/>
                      </p:nvSpPr>
                      <p:spPr>
                        <a:xfrm>
                          <a:off x="4956272" y="2347708"/>
                          <a:ext cx="434761" cy="378663"/>
                        </a:xfrm>
                        <a:custGeom>
                          <a:avLst/>
                          <a:gdLst>
                            <a:gd name="connsiteX0" fmla="*/ 98172 w 434761"/>
                            <a:gd name="connsiteY0" fmla="*/ 319759 h 378663"/>
                            <a:gd name="connsiteX1" fmla="*/ 98172 w 434761"/>
                            <a:gd name="connsiteY1" fmla="*/ 319759 h 378663"/>
                            <a:gd name="connsiteX2" fmla="*/ 117807 w 434761"/>
                            <a:gd name="connsiteY2" fmla="*/ 305735 h 378663"/>
                            <a:gd name="connsiteX3" fmla="*/ 165490 w 434761"/>
                            <a:gd name="connsiteY3" fmla="*/ 302930 h 378663"/>
                            <a:gd name="connsiteX4" fmla="*/ 185124 w 434761"/>
                            <a:gd name="connsiteY4" fmla="*/ 297320 h 378663"/>
                            <a:gd name="connsiteX5" fmla="*/ 218783 w 434761"/>
                            <a:gd name="connsiteY5" fmla="*/ 300125 h 378663"/>
                            <a:gd name="connsiteX6" fmla="*/ 227198 w 434761"/>
                            <a:gd name="connsiteY6" fmla="*/ 302930 h 378663"/>
                            <a:gd name="connsiteX7" fmla="*/ 230003 w 434761"/>
                            <a:gd name="connsiteY7" fmla="*/ 311345 h 378663"/>
                            <a:gd name="connsiteX8" fmla="*/ 238418 w 434761"/>
                            <a:gd name="connsiteY8" fmla="*/ 316955 h 378663"/>
                            <a:gd name="connsiteX9" fmla="*/ 246832 w 434761"/>
                            <a:gd name="connsiteY9" fmla="*/ 325369 h 378663"/>
                            <a:gd name="connsiteX10" fmla="*/ 263662 w 434761"/>
                            <a:gd name="connsiteY10" fmla="*/ 336589 h 378663"/>
                            <a:gd name="connsiteX11" fmla="*/ 277686 w 434761"/>
                            <a:gd name="connsiteY11" fmla="*/ 350613 h 378663"/>
                            <a:gd name="connsiteX12" fmla="*/ 291711 w 434761"/>
                            <a:gd name="connsiteY12" fmla="*/ 361833 h 378663"/>
                            <a:gd name="connsiteX13" fmla="*/ 314150 w 434761"/>
                            <a:gd name="connsiteY13" fmla="*/ 375858 h 378663"/>
                            <a:gd name="connsiteX14" fmla="*/ 322565 w 434761"/>
                            <a:gd name="connsiteY14" fmla="*/ 378663 h 378663"/>
                            <a:gd name="connsiteX15" fmla="*/ 330980 w 434761"/>
                            <a:gd name="connsiteY15" fmla="*/ 373053 h 378663"/>
                            <a:gd name="connsiteX16" fmla="*/ 333784 w 434761"/>
                            <a:gd name="connsiteY16" fmla="*/ 364638 h 378663"/>
                            <a:gd name="connsiteX17" fmla="*/ 342199 w 434761"/>
                            <a:gd name="connsiteY17" fmla="*/ 361833 h 378663"/>
                            <a:gd name="connsiteX18" fmla="*/ 378663 w 434761"/>
                            <a:gd name="connsiteY18" fmla="*/ 359028 h 378663"/>
                            <a:gd name="connsiteX19" fmla="*/ 387078 w 434761"/>
                            <a:gd name="connsiteY19" fmla="*/ 356223 h 378663"/>
                            <a:gd name="connsiteX20" fmla="*/ 395492 w 434761"/>
                            <a:gd name="connsiteY20" fmla="*/ 339394 h 378663"/>
                            <a:gd name="connsiteX21" fmla="*/ 401102 w 434761"/>
                            <a:gd name="connsiteY21" fmla="*/ 330979 h 378663"/>
                            <a:gd name="connsiteX22" fmla="*/ 409517 w 434761"/>
                            <a:gd name="connsiteY22" fmla="*/ 325369 h 378663"/>
                            <a:gd name="connsiteX23" fmla="*/ 415127 w 434761"/>
                            <a:gd name="connsiteY23" fmla="*/ 316955 h 378663"/>
                            <a:gd name="connsiteX24" fmla="*/ 415127 w 434761"/>
                            <a:gd name="connsiteY24" fmla="*/ 274881 h 378663"/>
                            <a:gd name="connsiteX25" fmla="*/ 412322 w 434761"/>
                            <a:gd name="connsiteY25" fmla="*/ 266466 h 378663"/>
                            <a:gd name="connsiteX26" fmla="*/ 401102 w 434761"/>
                            <a:gd name="connsiteY26" fmla="*/ 249637 h 378663"/>
                            <a:gd name="connsiteX27" fmla="*/ 395492 w 434761"/>
                            <a:gd name="connsiteY27" fmla="*/ 241222 h 378663"/>
                            <a:gd name="connsiteX28" fmla="*/ 387078 w 434761"/>
                            <a:gd name="connsiteY28" fmla="*/ 173904 h 378663"/>
                            <a:gd name="connsiteX29" fmla="*/ 381468 w 434761"/>
                            <a:gd name="connsiteY29" fmla="*/ 157075 h 378663"/>
                            <a:gd name="connsiteX30" fmla="*/ 378663 w 434761"/>
                            <a:gd name="connsiteY30" fmla="*/ 148660 h 378663"/>
                            <a:gd name="connsiteX31" fmla="*/ 387078 w 434761"/>
                            <a:gd name="connsiteY31" fmla="*/ 92562 h 378663"/>
                            <a:gd name="connsiteX32" fmla="*/ 389883 w 434761"/>
                            <a:gd name="connsiteY32" fmla="*/ 84147 h 378663"/>
                            <a:gd name="connsiteX33" fmla="*/ 395492 w 434761"/>
                            <a:gd name="connsiteY33" fmla="*/ 75732 h 378663"/>
                            <a:gd name="connsiteX34" fmla="*/ 398297 w 434761"/>
                            <a:gd name="connsiteY34" fmla="*/ 67318 h 378663"/>
                            <a:gd name="connsiteX35" fmla="*/ 415127 w 434761"/>
                            <a:gd name="connsiteY35" fmla="*/ 56098 h 378663"/>
                            <a:gd name="connsiteX36" fmla="*/ 429151 w 434761"/>
                            <a:gd name="connsiteY36" fmla="*/ 42074 h 378663"/>
                            <a:gd name="connsiteX37" fmla="*/ 434761 w 434761"/>
                            <a:gd name="connsiteY37" fmla="*/ 33659 h 378663"/>
                            <a:gd name="connsiteX38" fmla="*/ 420737 w 434761"/>
                            <a:gd name="connsiteY38" fmla="*/ 14025 h 378663"/>
                            <a:gd name="connsiteX39" fmla="*/ 403907 w 434761"/>
                            <a:gd name="connsiteY39" fmla="*/ 25244 h 378663"/>
                            <a:gd name="connsiteX40" fmla="*/ 387078 w 434761"/>
                            <a:gd name="connsiteY40" fmla="*/ 28049 h 378663"/>
                            <a:gd name="connsiteX41" fmla="*/ 350614 w 434761"/>
                            <a:gd name="connsiteY41" fmla="*/ 19634 h 378663"/>
                            <a:gd name="connsiteX42" fmla="*/ 325370 w 434761"/>
                            <a:gd name="connsiteY42" fmla="*/ 22439 h 378663"/>
                            <a:gd name="connsiteX43" fmla="*/ 316955 w 434761"/>
                            <a:gd name="connsiteY43" fmla="*/ 25244 h 378663"/>
                            <a:gd name="connsiteX44" fmla="*/ 305735 w 434761"/>
                            <a:gd name="connsiteY44" fmla="*/ 28049 h 378663"/>
                            <a:gd name="connsiteX45" fmla="*/ 297321 w 434761"/>
                            <a:gd name="connsiteY45" fmla="*/ 25244 h 378663"/>
                            <a:gd name="connsiteX46" fmla="*/ 288906 w 434761"/>
                            <a:gd name="connsiteY46" fmla="*/ 16829 h 378663"/>
                            <a:gd name="connsiteX47" fmla="*/ 258052 w 434761"/>
                            <a:gd name="connsiteY47" fmla="*/ 14025 h 378663"/>
                            <a:gd name="connsiteX48" fmla="*/ 227198 w 434761"/>
                            <a:gd name="connsiteY48" fmla="*/ 5610 h 378663"/>
                            <a:gd name="connsiteX49" fmla="*/ 218783 w 434761"/>
                            <a:gd name="connsiteY49" fmla="*/ 2805 h 378663"/>
                            <a:gd name="connsiteX50" fmla="*/ 210368 w 434761"/>
                            <a:gd name="connsiteY50" fmla="*/ 0 h 378663"/>
                            <a:gd name="connsiteX51" fmla="*/ 193539 w 434761"/>
                            <a:gd name="connsiteY51" fmla="*/ 2805 h 378663"/>
                            <a:gd name="connsiteX52" fmla="*/ 187929 w 434761"/>
                            <a:gd name="connsiteY52" fmla="*/ 11220 h 378663"/>
                            <a:gd name="connsiteX53" fmla="*/ 179515 w 434761"/>
                            <a:gd name="connsiteY53" fmla="*/ 14025 h 378663"/>
                            <a:gd name="connsiteX54" fmla="*/ 151465 w 434761"/>
                            <a:gd name="connsiteY54" fmla="*/ 19634 h 378663"/>
                            <a:gd name="connsiteX55" fmla="*/ 137441 w 434761"/>
                            <a:gd name="connsiteY55" fmla="*/ 22439 h 378663"/>
                            <a:gd name="connsiteX56" fmla="*/ 112197 w 434761"/>
                            <a:gd name="connsiteY56" fmla="*/ 22439 h 378663"/>
                            <a:gd name="connsiteX57" fmla="*/ 106587 w 434761"/>
                            <a:gd name="connsiteY57" fmla="*/ 30854 h 378663"/>
                            <a:gd name="connsiteX58" fmla="*/ 89757 w 434761"/>
                            <a:gd name="connsiteY58" fmla="*/ 36464 h 378663"/>
                            <a:gd name="connsiteX59" fmla="*/ 81343 w 434761"/>
                            <a:gd name="connsiteY59" fmla="*/ 39269 h 378663"/>
                            <a:gd name="connsiteX60" fmla="*/ 70123 w 434761"/>
                            <a:gd name="connsiteY60" fmla="*/ 53293 h 378663"/>
                            <a:gd name="connsiteX61" fmla="*/ 53294 w 434761"/>
                            <a:gd name="connsiteY61" fmla="*/ 58903 h 378663"/>
                            <a:gd name="connsiteX62" fmla="*/ 50489 w 434761"/>
                            <a:gd name="connsiteY62" fmla="*/ 67318 h 378663"/>
                            <a:gd name="connsiteX63" fmla="*/ 25245 w 434761"/>
                            <a:gd name="connsiteY63" fmla="*/ 81342 h 378663"/>
                            <a:gd name="connsiteX64" fmla="*/ 11220 w 434761"/>
                            <a:gd name="connsiteY64" fmla="*/ 98172 h 378663"/>
                            <a:gd name="connsiteX65" fmla="*/ 0 w 434761"/>
                            <a:gd name="connsiteY65" fmla="*/ 151465 h 378663"/>
                            <a:gd name="connsiteX66" fmla="*/ 2805 w 434761"/>
                            <a:gd name="connsiteY66" fmla="*/ 159880 h 378663"/>
                            <a:gd name="connsiteX67" fmla="*/ 16830 w 434761"/>
                            <a:gd name="connsiteY67" fmla="*/ 162685 h 378663"/>
                            <a:gd name="connsiteX68" fmla="*/ 25245 w 434761"/>
                            <a:gd name="connsiteY68" fmla="*/ 165490 h 378663"/>
                            <a:gd name="connsiteX69" fmla="*/ 22440 w 434761"/>
                            <a:gd name="connsiteY69" fmla="*/ 185124 h 378663"/>
                            <a:gd name="connsiteX70" fmla="*/ 11220 w 434761"/>
                            <a:gd name="connsiteY70" fmla="*/ 187929 h 378663"/>
                            <a:gd name="connsiteX71" fmla="*/ 11220 w 434761"/>
                            <a:gd name="connsiteY71" fmla="*/ 213173 h 378663"/>
                            <a:gd name="connsiteX72" fmla="*/ 19635 w 434761"/>
                            <a:gd name="connsiteY72" fmla="*/ 218783 h 378663"/>
                            <a:gd name="connsiteX73" fmla="*/ 25245 w 434761"/>
                            <a:gd name="connsiteY73" fmla="*/ 227198 h 378663"/>
                            <a:gd name="connsiteX74" fmla="*/ 28049 w 434761"/>
                            <a:gd name="connsiteY74" fmla="*/ 235612 h 378663"/>
                            <a:gd name="connsiteX75" fmla="*/ 44879 w 434761"/>
                            <a:gd name="connsiteY75" fmla="*/ 246832 h 378663"/>
                            <a:gd name="connsiteX76" fmla="*/ 53294 w 434761"/>
                            <a:gd name="connsiteY76" fmla="*/ 252442 h 378663"/>
                            <a:gd name="connsiteX77" fmla="*/ 72928 w 434761"/>
                            <a:gd name="connsiteY77" fmla="*/ 249637 h 378663"/>
                            <a:gd name="connsiteX78" fmla="*/ 78538 w 434761"/>
                            <a:gd name="connsiteY78" fmla="*/ 241222 h 378663"/>
                            <a:gd name="connsiteX79" fmla="*/ 103782 w 434761"/>
                            <a:gd name="connsiteY79" fmla="*/ 244027 h 378663"/>
                            <a:gd name="connsiteX80" fmla="*/ 103782 w 434761"/>
                            <a:gd name="connsiteY80" fmla="*/ 263661 h 378663"/>
                            <a:gd name="connsiteX81" fmla="*/ 106587 w 434761"/>
                            <a:gd name="connsiteY81" fmla="*/ 297320 h 378663"/>
                            <a:gd name="connsiteX82" fmla="*/ 98172 w 434761"/>
                            <a:gd name="connsiteY82" fmla="*/ 319759 h 37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34761" h="378663">
                              <a:moveTo>
                                <a:pt x="98172" y="319759"/>
                              </a:moveTo>
                              <a:lnTo>
                                <a:pt x="98172" y="319759"/>
                              </a:lnTo>
                              <a:cubicBezTo>
                                <a:pt x="104717" y="315084"/>
                                <a:pt x="110004" y="307686"/>
                                <a:pt x="117807" y="305735"/>
                              </a:cubicBezTo>
                              <a:cubicBezTo>
                                <a:pt x="133253" y="301874"/>
                                <a:pt x="149640" y="304440"/>
                                <a:pt x="165490" y="302930"/>
                              </a:cubicBezTo>
                              <a:cubicBezTo>
                                <a:pt x="170422" y="302460"/>
                                <a:pt x="180074" y="299003"/>
                                <a:pt x="185124" y="297320"/>
                              </a:cubicBezTo>
                              <a:cubicBezTo>
                                <a:pt x="196344" y="298255"/>
                                <a:pt x="207623" y="298637"/>
                                <a:pt x="218783" y="300125"/>
                              </a:cubicBezTo>
                              <a:cubicBezTo>
                                <a:pt x="221714" y="300516"/>
                                <a:pt x="225107" y="300839"/>
                                <a:pt x="227198" y="302930"/>
                              </a:cubicBezTo>
                              <a:cubicBezTo>
                                <a:pt x="229289" y="305021"/>
                                <a:pt x="228156" y="309036"/>
                                <a:pt x="230003" y="311345"/>
                              </a:cubicBezTo>
                              <a:cubicBezTo>
                                <a:pt x="232109" y="313977"/>
                                <a:pt x="235828" y="314797"/>
                                <a:pt x="238418" y="316955"/>
                              </a:cubicBezTo>
                              <a:cubicBezTo>
                                <a:pt x="241465" y="319494"/>
                                <a:pt x="243701" y="322934"/>
                                <a:pt x="246832" y="325369"/>
                              </a:cubicBezTo>
                              <a:cubicBezTo>
                                <a:pt x="252154" y="329508"/>
                                <a:pt x="263662" y="336589"/>
                                <a:pt x="263662" y="336589"/>
                              </a:cubicBezTo>
                              <a:cubicBezTo>
                                <a:pt x="278623" y="359031"/>
                                <a:pt x="258987" y="331914"/>
                                <a:pt x="277686" y="350613"/>
                              </a:cubicBezTo>
                              <a:cubicBezTo>
                                <a:pt x="290374" y="363301"/>
                                <a:pt x="275329" y="356372"/>
                                <a:pt x="291711" y="361833"/>
                              </a:cubicBezTo>
                              <a:cubicBezTo>
                                <a:pt x="300601" y="375168"/>
                                <a:pt x="294123" y="369182"/>
                                <a:pt x="314150" y="375858"/>
                              </a:cubicBezTo>
                              <a:lnTo>
                                <a:pt x="322565" y="378663"/>
                              </a:lnTo>
                              <a:cubicBezTo>
                                <a:pt x="325370" y="376793"/>
                                <a:pt x="328874" y="375686"/>
                                <a:pt x="330980" y="373053"/>
                              </a:cubicBezTo>
                              <a:cubicBezTo>
                                <a:pt x="332827" y="370744"/>
                                <a:pt x="331693" y="366729"/>
                                <a:pt x="333784" y="364638"/>
                              </a:cubicBezTo>
                              <a:cubicBezTo>
                                <a:pt x="335875" y="362547"/>
                                <a:pt x="339265" y="362200"/>
                                <a:pt x="342199" y="361833"/>
                              </a:cubicBezTo>
                              <a:cubicBezTo>
                                <a:pt x="354295" y="360321"/>
                                <a:pt x="366508" y="359963"/>
                                <a:pt x="378663" y="359028"/>
                              </a:cubicBezTo>
                              <a:cubicBezTo>
                                <a:pt x="381468" y="358093"/>
                                <a:pt x="384769" y="358070"/>
                                <a:pt x="387078" y="356223"/>
                              </a:cubicBezTo>
                              <a:cubicBezTo>
                                <a:pt x="393779" y="350862"/>
                                <a:pt x="392104" y="346171"/>
                                <a:pt x="395492" y="339394"/>
                              </a:cubicBezTo>
                              <a:cubicBezTo>
                                <a:pt x="396999" y="336379"/>
                                <a:pt x="398718" y="333363"/>
                                <a:pt x="401102" y="330979"/>
                              </a:cubicBezTo>
                              <a:cubicBezTo>
                                <a:pt x="403486" y="328595"/>
                                <a:pt x="406712" y="327239"/>
                                <a:pt x="409517" y="325369"/>
                              </a:cubicBezTo>
                              <a:cubicBezTo>
                                <a:pt x="411387" y="322564"/>
                                <a:pt x="413619" y="319970"/>
                                <a:pt x="415127" y="316955"/>
                              </a:cubicBezTo>
                              <a:cubicBezTo>
                                <a:pt x="421783" y="303644"/>
                                <a:pt x="417071" y="289459"/>
                                <a:pt x="415127" y="274881"/>
                              </a:cubicBezTo>
                              <a:cubicBezTo>
                                <a:pt x="414736" y="271950"/>
                                <a:pt x="413758" y="269051"/>
                                <a:pt x="412322" y="266466"/>
                              </a:cubicBezTo>
                              <a:cubicBezTo>
                                <a:pt x="409048" y="260572"/>
                                <a:pt x="404842" y="255247"/>
                                <a:pt x="401102" y="249637"/>
                              </a:cubicBezTo>
                              <a:lnTo>
                                <a:pt x="395492" y="241222"/>
                              </a:lnTo>
                              <a:cubicBezTo>
                                <a:pt x="382355" y="201806"/>
                                <a:pt x="396478" y="249099"/>
                                <a:pt x="387078" y="173904"/>
                              </a:cubicBezTo>
                              <a:cubicBezTo>
                                <a:pt x="386345" y="168037"/>
                                <a:pt x="383338" y="162685"/>
                                <a:pt x="381468" y="157075"/>
                              </a:cubicBezTo>
                              <a:lnTo>
                                <a:pt x="378663" y="148660"/>
                              </a:lnTo>
                              <a:cubicBezTo>
                                <a:pt x="381889" y="103491"/>
                                <a:pt x="377318" y="121841"/>
                                <a:pt x="387078" y="92562"/>
                              </a:cubicBezTo>
                              <a:cubicBezTo>
                                <a:pt x="388013" y="89757"/>
                                <a:pt x="388243" y="86607"/>
                                <a:pt x="389883" y="84147"/>
                              </a:cubicBezTo>
                              <a:cubicBezTo>
                                <a:pt x="391753" y="81342"/>
                                <a:pt x="393985" y="78747"/>
                                <a:pt x="395492" y="75732"/>
                              </a:cubicBezTo>
                              <a:cubicBezTo>
                                <a:pt x="396814" y="73088"/>
                                <a:pt x="396206" y="69408"/>
                                <a:pt x="398297" y="67318"/>
                              </a:cubicBezTo>
                              <a:cubicBezTo>
                                <a:pt x="403065" y="62551"/>
                                <a:pt x="415127" y="56098"/>
                                <a:pt x="415127" y="56098"/>
                              </a:cubicBezTo>
                              <a:cubicBezTo>
                                <a:pt x="430088" y="33656"/>
                                <a:pt x="410452" y="60773"/>
                                <a:pt x="429151" y="42074"/>
                              </a:cubicBezTo>
                              <a:cubicBezTo>
                                <a:pt x="431535" y="39690"/>
                                <a:pt x="432891" y="36464"/>
                                <a:pt x="434761" y="33659"/>
                              </a:cubicBezTo>
                              <a:cubicBezTo>
                                <a:pt x="428216" y="14024"/>
                                <a:pt x="434761" y="18699"/>
                                <a:pt x="420737" y="14025"/>
                              </a:cubicBezTo>
                              <a:cubicBezTo>
                                <a:pt x="415127" y="17765"/>
                                <a:pt x="410557" y="24136"/>
                                <a:pt x="403907" y="25244"/>
                              </a:cubicBezTo>
                              <a:cubicBezTo>
                                <a:pt x="398297" y="26179"/>
                                <a:pt x="406712" y="21972"/>
                                <a:pt x="387078" y="28049"/>
                              </a:cubicBezTo>
                              <a:lnTo>
                                <a:pt x="350614" y="19634"/>
                              </a:lnTo>
                              <a:cubicBezTo>
                                <a:pt x="342199" y="20569"/>
                                <a:pt x="333721" y="21047"/>
                                <a:pt x="325370" y="22439"/>
                              </a:cubicBezTo>
                              <a:cubicBezTo>
                                <a:pt x="322454" y="22925"/>
                                <a:pt x="319798" y="24432"/>
                                <a:pt x="316955" y="25244"/>
                              </a:cubicBezTo>
                              <a:cubicBezTo>
                                <a:pt x="313248" y="26303"/>
                                <a:pt x="309475" y="27114"/>
                                <a:pt x="305735" y="28049"/>
                              </a:cubicBezTo>
                              <a:cubicBezTo>
                                <a:pt x="302930" y="27114"/>
                                <a:pt x="299781" y="26884"/>
                                <a:pt x="297321" y="25244"/>
                              </a:cubicBezTo>
                              <a:cubicBezTo>
                                <a:pt x="294020" y="23043"/>
                                <a:pt x="292720" y="17919"/>
                                <a:pt x="288906" y="16829"/>
                              </a:cubicBezTo>
                              <a:cubicBezTo>
                                <a:pt x="278976" y="13992"/>
                                <a:pt x="268337" y="14960"/>
                                <a:pt x="258052" y="14025"/>
                              </a:cubicBezTo>
                              <a:cubicBezTo>
                                <a:pt x="238228" y="10060"/>
                                <a:pt x="248551" y="12728"/>
                                <a:pt x="227198" y="5610"/>
                              </a:cubicBezTo>
                              <a:lnTo>
                                <a:pt x="218783" y="2805"/>
                              </a:lnTo>
                              <a:lnTo>
                                <a:pt x="210368" y="0"/>
                              </a:lnTo>
                              <a:cubicBezTo>
                                <a:pt x="204758" y="935"/>
                                <a:pt x="198626" y="262"/>
                                <a:pt x="193539" y="2805"/>
                              </a:cubicBezTo>
                              <a:cubicBezTo>
                                <a:pt x="190524" y="4313"/>
                                <a:pt x="190561" y="9114"/>
                                <a:pt x="187929" y="11220"/>
                              </a:cubicBezTo>
                              <a:cubicBezTo>
                                <a:pt x="185620" y="13067"/>
                                <a:pt x="182320" y="13090"/>
                                <a:pt x="179515" y="14025"/>
                              </a:cubicBezTo>
                              <a:cubicBezTo>
                                <a:pt x="173668" y="31565"/>
                                <a:pt x="180692" y="19634"/>
                                <a:pt x="151465" y="19634"/>
                              </a:cubicBezTo>
                              <a:cubicBezTo>
                                <a:pt x="146698" y="19634"/>
                                <a:pt x="142116" y="21504"/>
                                <a:pt x="137441" y="22439"/>
                              </a:cubicBezTo>
                              <a:cubicBezTo>
                                <a:pt x="127737" y="19204"/>
                                <a:pt x="124044" y="16515"/>
                                <a:pt x="112197" y="22439"/>
                              </a:cubicBezTo>
                              <a:cubicBezTo>
                                <a:pt x="109182" y="23947"/>
                                <a:pt x="109446" y="29067"/>
                                <a:pt x="106587" y="30854"/>
                              </a:cubicBezTo>
                              <a:cubicBezTo>
                                <a:pt x="101572" y="33988"/>
                                <a:pt x="95367" y="34594"/>
                                <a:pt x="89757" y="36464"/>
                              </a:cubicBezTo>
                              <a:lnTo>
                                <a:pt x="81343" y="39269"/>
                              </a:lnTo>
                              <a:cubicBezTo>
                                <a:pt x="78301" y="48393"/>
                                <a:pt x="80052" y="48880"/>
                                <a:pt x="70123" y="53293"/>
                              </a:cubicBezTo>
                              <a:cubicBezTo>
                                <a:pt x="64720" y="55695"/>
                                <a:pt x="53294" y="58903"/>
                                <a:pt x="53294" y="58903"/>
                              </a:cubicBezTo>
                              <a:cubicBezTo>
                                <a:pt x="52359" y="61708"/>
                                <a:pt x="52580" y="65227"/>
                                <a:pt x="50489" y="67318"/>
                              </a:cubicBezTo>
                              <a:cubicBezTo>
                                <a:pt x="40846" y="76961"/>
                                <a:pt x="35825" y="77815"/>
                                <a:pt x="25245" y="81342"/>
                              </a:cubicBezTo>
                              <a:cubicBezTo>
                                <a:pt x="22411" y="84176"/>
                                <a:pt x="12261" y="93225"/>
                                <a:pt x="11220" y="98172"/>
                              </a:cubicBezTo>
                              <a:cubicBezTo>
                                <a:pt x="-836" y="155437"/>
                                <a:pt x="15321" y="128484"/>
                                <a:pt x="0" y="151465"/>
                              </a:cubicBezTo>
                              <a:cubicBezTo>
                                <a:pt x="935" y="154270"/>
                                <a:pt x="345" y="158240"/>
                                <a:pt x="2805" y="159880"/>
                              </a:cubicBezTo>
                              <a:cubicBezTo>
                                <a:pt x="6772" y="162525"/>
                                <a:pt x="12205" y="161529"/>
                                <a:pt x="16830" y="162685"/>
                              </a:cubicBezTo>
                              <a:cubicBezTo>
                                <a:pt x="19698" y="163402"/>
                                <a:pt x="22440" y="164555"/>
                                <a:pt x="25245" y="165490"/>
                              </a:cubicBezTo>
                              <a:cubicBezTo>
                                <a:pt x="31382" y="183904"/>
                                <a:pt x="36667" y="181059"/>
                                <a:pt x="22440" y="185124"/>
                              </a:cubicBezTo>
                              <a:cubicBezTo>
                                <a:pt x="18733" y="186183"/>
                                <a:pt x="14960" y="186994"/>
                                <a:pt x="11220" y="187929"/>
                              </a:cubicBezTo>
                              <a:cubicBezTo>
                                <a:pt x="7985" y="197633"/>
                                <a:pt x="5296" y="201326"/>
                                <a:pt x="11220" y="213173"/>
                              </a:cubicBezTo>
                              <a:cubicBezTo>
                                <a:pt x="12728" y="216188"/>
                                <a:pt x="16830" y="216913"/>
                                <a:pt x="19635" y="218783"/>
                              </a:cubicBezTo>
                              <a:cubicBezTo>
                                <a:pt x="21505" y="221588"/>
                                <a:pt x="23737" y="224183"/>
                                <a:pt x="25245" y="227198"/>
                              </a:cubicBezTo>
                              <a:cubicBezTo>
                                <a:pt x="26567" y="229842"/>
                                <a:pt x="25959" y="233522"/>
                                <a:pt x="28049" y="235612"/>
                              </a:cubicBezTo>
                              <a:cubicBezTo>
                                <a:pt x="32817" y="240380"/>
                                <a:pt x="39269" y="243092"/>
                                <a:pt x="44879" y="246832"/>
                              </a:cubicBezTo>
                              <a:lnTo>
                                <a:pt x="53294" y="252442"/>
                              </a:lnTo>
                              <a:cubicBezTo>
                                <a:pt x="59839" y="251507"/>
                                <a:pt x="66887" y="252322"/>
                                <a:pt x="72928" y="249637"/>
                              </a:cubicBezTo>
                              <a:cubicBezTo>
                                <a:pt x="76009" y="248268"/>
                                <a:pt x="75221" y="241825"/>
                                <a:pt x="78538" y="241222"/>
                              </a:cubicBezTo>
                              <a:cubicBezTo>
                                <a:pt x="86868" y="239707"/>
                                <a:pt x="95367" y="243092"/>
                                <a:pt x="103782" y="244027"/>
                              </a:cubicBezTo>
                              <a:cubicBezTo>
                                <a:pt x="110508" y="264204"/>
                                <a:pt x="103782" y="239007"/>
                                <a:pt x="103782" y="263661"/>
                              </a:cubicBezTo>
                              <a:cubicBezTo>
                                <a:pt x="103782" y="274920"/>
                                <a:pt x="105962" y="286079"/>
                                <a:pt x="106587" y="297320"/>
                              </a:cubicBezTo>
                              <a:cubicBezTo>
                                <a:pt x="106898" y="302921"/>
                                <a:pt x="99575" y="316019"/>
                                <a:pt x="98172" y="31975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33" name="Freeform 332"/>
                        <p:cNvSpPr/>
                        <p:nvPr/>
                      </p:nvSpPr>
                      <p:spPr>
                        <a:xfrm>
                          <a:off x="4813222" y="2558076"/>
                          <a:ext cx="106978" cy="111287"/>
                        </a:xfrm>
                        <a:custGeom>
                          <a:avLst/>
                          <a:gdLst>
                            <a:gd name="connsiteX0" fmla="*/ 89757 w 106978"/>
                            <a:gd name="connsiteY0" fmla="*/ 0 h 111287"/>
                            <a:gd name="connsiteX1" fmla="*/ 89757 w 106978"/>
                            <a:gd name="connsiteY1" fmla="*/ 0 h 111287"/>
                            <a:gd name="connsiteX2" fmla="*/ 61708 w 106978"/>
                            <a:gd name="connsiteY2" fmla="*/ 2805 h 111287"/>
                            <a:gd name="connsiteX3" fmla="*/ 53293 w 106978"/>
                            <a:gd name="connsiteY3" fmla="*/ 5610 h 111287"/>
                            <a:gd name="connsiteX4" fmla="*/ 44879 w 106978"/>
                            <a:gd name="connsiteY4" fmla="*/ 2805 h 111287"/>
                            <a:gd name="connsiteX5" fmla="*/ 28049 w 106978"/>
                            <a:gd name="connsiteY5" fmla="*/ 11220 h 111287"/>
                            <a:gd name="connsiteX6" fmla="*/ 8415 w 106978"/>
                            <a:gd name="connsiteY6" fmla="*/ 16830 h 111287"/>
                            <a:gd name="connsiteX7" fmla="*/ 5610 w 106978"/>
                            <a:gd name="connsiteY7" fmla="*/ 36464 h 111287"/>
                            <a:gd name="connsiteX8" fmla="*/ 0 w 106978"/>
                            <a:gd name="connsiteY8" fmla="*/ 53293 h 111287"/>
                            <a:gd name="connsiteX9" fmla="*/ 16830 w 106978"/>
                            <a:gd name="connsiteY9" fmla="*/ 64513 h 111287"/>
                            <a:gd name="connsiteX10" fmla="*/ 22439 w 106978"/>
                            <a:gd name="connsiteY10" fmla="*/ 81342 h 111287"/>
                            <a:gd name="connsiteX11" fmla="*/ 19634 w 106978"/>
                            <a:gd name="connsiteY11" fmla="*/ 109391 h 111287"/>
                            <a:gd name="connsiteX12" fmla="*/ 22439 w 106978"/>
                            <a:gd name="connsiteY12" fmla="*/ 72928 h 111287"/>
                            <a:gd name="connsiteX13" fmla="*/ 30854 w 106978"/>
                            <a:gd name="connsiteY13" fmla="*/ 70123 h 111287"/>
                            <a:gd name="connsiteX14" fmla="*/ 50488 w 106978"/>
                            <a:gd name="connsiteY14" fmla="*/ 67318 h 111287"/>
                            <a:gd name="connsiteX15" fmla="*/ 58903 w 106978"/>
                            <a:gd name="connsiteY15" fmla="*/ 61708 h 111287"/>
                            <a:gd name="connsiteX16" fmla="*/ 75733 w 106978"/>
                            <a:gd name="connsiteY16" fmla="*/ 47684 h 111287"/>
                            <a:gd name="connsiteX17" fmla="*/ 84147 w 106978"/>
                            <a:gd name="connsiteY17" fmla="*/ 44879 h 111287"/>
                            <a:gd name="connsiteX18" fmla="*/ 100977 w 106978"/>
                            <a:gd name="connsiteY18" fmla="*/ 33659 h 111287"/>
                            <a:gd name="connsiteX19" fmla="*/ 103782 w 106978"/>
                            <a:gd name="connsiteY19" fmla="*/ 16830 h 111287"/>
                            <a:gd name="connsiteX20" fmla="*/ 95367 w 106978"/>
                            <a:gd name="connsiteY20" fmla="*/ 14025 h 111287"/>
                            <a:gd name="connsiteX21" fmla="*/ 89757 w 106978"/>
                            <a:gd name="connsiteY21" fmla="*/ 0 h 11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978" h="111287">
                              <a:moveTo>
                                <a:pt x="89757" y="0"/>
                              </a:moveTo>
                              <a:lnTo>
                                <a:pt x="89757" y="0"/>
                              </a:lnTo>
                              <a:cubicBezTo>
                                <a:pt x="80407" y="935"/>
                                <a:pt x="70995" y="1376"/>
                                <a:pt x="61708" y="2805"/>
                              </a:cubicBezTo>
                              <a:cubicBezTo>
                                <a:pt x="58786" y="3255"/>
                                <a:pt x="56250" y="5610"/>
                                <a:pt x="53293" y="5610"/>
                              </a:cubicBezTo>
                              <a:cubicBezTo>
                                <a:pt x="50337" y="5610"/>
                                <a:pt x="47684" y="3740"/>
                                <a:pt x="44879" y="2805"/>
                              </a:cubicBezTo>
                              <a:cubicBezTo>
                                <a:pt x="23728" y="9855"/>
                                <a:pt x="49799" y="345"/>
                                <a:pt x="28049" y="11220"/>
                              </a:cubicBezTo>
                              <a:cubicBezTo>
                                <a:pt x="24026" y="13232"/>
                                <a:pt x="12009" y="15931"/>
                                <a:pt x="8415" y="16830"/>
                              </a:cubicBezTo>
                              <a:cubicBezTo>
                                <a:pt x="7480" y="23375"/>
                                <a:pt x="7097" y="30022"/>
                                <a:pt x="5610" y="36464"/>
                              </a:cubicBezTo>
                              <a:cubicBezTo>
                                <a:pt x="4280" y="42226"/>
                                <a:pt x="0" y="53293"/>
                                <a:pt x="0" y="53293"/>
                              </a:cubicBezTo>
                              <a:cubicBezTo>
                                <a:pt x="7907" y="55929"/>
                                <a:pt x="12055" y="55917"/>
                                <a:pt x="16830" y="64513"/>
                              </a:cubicBezTo>
                              <a:cubicBezTo>
                                <a:pt x="19702" y="69682"/>
                                <a:pt x="22439" y="81342"/>
                                <a:pt x="22439" y="81342"/>
                              </a:cubicBezTo>
                              <a:cubicBezTo>
                                <a:pt x="21504" y="90692"/>
                                <a:pt x="19634" y="118787"/>
                                <a:pt x="19634" y="109391"/>
                              </a:cubicBezTo>
                              <a:cubicBezTo>
                                <a:pt x="19634" y="97201"/>
                                <a:pt x="19090" y="84649"/>
                                <a:pt x="22439" y="72928"/>
                              </a:cubicBezTo>
                              <a:cubicBezTo>
                                <a:pt x="23251" y="70085"/>
                                <a:pt x="27955" y="70703"/>
                                <a:pt x="30854" y="70123"/>
                              </a:cubicBezTo>
                              <a:cubicBezTo>
                                <a:pt x="37337" y="68826"/>
                                <a:pt x="43943" y="68253"/>
                                <a:pt x="50488" y="67318"/>
                              </a:cubicBezTo>
                              <a:cubicBezTo>
                                <a:pt x="53293" y="65448"/>
                                <a:pt x="56313" y="63866"/>
                                <a:pt x="58903" y="61708"/>
                              </a:cubicBezTo>
                              <a:cubicBezTo>
                                <a:pt x="68211" y="53951"/>
                                <a:pt x="65284" y="52908"/>
                                <a:pt x="75733" y="47684"/>
                              </a:cubicBezTo>
                              <a:cubicBezTo>
                                <a:pt x="78377" y="46362"/>
                                <a:pt x="81563" y="46315"/>
                                <a:pt x="84147" y="44879"/>
                              </a:cubicBezTo>
                              <a:cubicBezTo>
                                <a:pt x="90041" y="41605"/>
                                <a:pt x="100977" y="33659"/>
                                <a:pt x="100977" y="33659"/>
                              </a:cubicBezTo>
                              <a:cubicBezTo>
                                <a:pt x="104696" y="28081"/>
                                <a:pt x="110750" y="23797"/>
                                <a:pt x="103782" y="16830"/>
                              </a:cubicBezTo>
                              <a:cubicBezTo>
                                <a:pt x="101691" y="14739"/>
                                <a:pt x="98012" y="15347"/>
                                <a:pt x="95367" y="14025"/>
                              </a:cubicBezTo>
                              <a:cubicBezTo>
                                <a:pt x="92352" y="12517"/>
                                <a:pt x="90692" y="2337"/>
                                <a:pt x="89757"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1" name="Freeform 330"/>
                      <p:cNvSpPr/>
                      <p:nvPr/>
                    </p:nvSpPr>
                    <p:spPr>
                      <a:xfrm>
                        <a:off x="4835661" y="2462709"/>
                        <a:ext cx="70123" cy="59868"/>
                      </a:xfrm>
                      <a:custGeom>
                        <a:avLst/>
                        <a:gdLst>
                          <a:gd name="connsiteX0" fmla="*/ 39269 w 70123"/>
                          <a:gd name="connsiteY0" fmla="*/ 0 h 59868"/>
                          <a:gd name="connsiteX1" fmla="*/ 39269 w 70123"/>
                          <a:gd name="connsiteY1" fmla="*/ 0 h 59868"/>
                          <a:gd name="connsiteX2" fmla="*/ 25245 w 70123"/>
                          <a:gd name="connsiteY2" fmla="*/ 19635 h 59868"/>
                          <a:gd name="connsiteX3" fmla="*/ 8415 w 70123"/>
                          <a:gd name="connsiteY3" fmla="*/ 25244 h 59868"/>
                          <a:gd name="connsiteX4" fmla="*/ 0 w 70123"/>
                          <a:gd name="connsiteY4" fmla="*/ 30854 h 59868"/>
                          <a:gd name="connsiteX5" fmla="*/ 5610 w 70123"/>
                          <a:gd name="connsiteY5" fmla="*/ 39269 h 59868"/>
                          <a:gd name="connsiteX6" fmla="*/ 22440 w 70123"/>
                          <a:gd name="connsiteY6" fmla="*/ 50489 h 59868"/>
                          <a:gd name="connsiteX7" fmla="*/ 28049 w 70123"/>
                          <a:gd name="connsiteY7" fmla="*/ 58903 h 59868"/>
                          <a:gd name="connsiteX8" fmla="*/ 50489 w 70123"/>
                          <a:gd name="connsiteY8" fmla="*/ 50489 h 59868"/>
                          <a:gd name="connsiteX9" fmla="*/ 70123 w 70123"/>
                          <a:gd name="connsiteY9" fmla="*/ 47684 h 59868"/>
                          <a:gd name="connsiteX10" fmla="*/ 58903 w 70123"/>
                          <a:gd name="connsiteY10" fmla="*/ 36464 h 59868"/>
                          <a:gd name="connsiteX11" fmla="*/ 47684 w 70123"/>
                          <a:gd name="connsiteY11" fmla="*/ 19635 h 59868"/>
                          <a:gd name="connsiteX12" fmla="*/ 39269 w 70123"/>
                          <a:gd name="connsiteY12" fmla="*/ 0 h 5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123" h="59868">
                            <a:moveTo>
                              <a:pt x="39269" y="0"/>
                            </a:moveTo>
                            <a:lnTo>
                              <a:pt x="39269" y="0"/>
                            </a:lnTo>
                            <a:cubicBezTo>
                              <a:pt x="34594" y="6545"/>
                              <a:pt x="31470" y="14542"/>
                              <a:pt x="25245" y="19635"/>
                            </a:cubicBezTo>
                            <a:cubicBezTo>
                              <a:pt x="20668" y="23380"/>
                              <a:pt x="13335" y="21964"/>
                              <a:pt x="8415" y="25244"/>
                            </a:cubicBezTo>
                            <a:lnTo>
                              <a:pt x="0" y="30854"/>
                            </a:lnTo>
                            <a:cubicBezTo>
                              <a:pt x="1870" y="33659"/>
                              <a:pt x="3073" y="37049"/>
                              <a:pt x="5610" y="39269"/>
                            </a:cubicBezTo>
                            <a:cubicBezTo>
                              <a:pt x="10684" y="43709"/>
                              <a:pt x="22440" y="50489"/>
                              <a:pt x="22440" y="50489"/>
                            </a:cubicBezTo>
                            <a:cubicBezTo>
                              <a:pt x="24310" y="53294"/>
                              <a:pt x="24808" y="57977"/>
                              <a:pt x="28049" y="58903"/>
                            </a:cubicBezTo>
                            <a:cubicBezTo>
                              <a:pt x="41969" y="62879"/>
                              <a:pt x="40519" y="53480"/>
                              <a:pt x="50489" y="50489"/>
                            </a:cubicBezTo>
                            <a:cubicBezTo>
                              <a:pt x="56821" y="48589"/>
                              <a:pt x="63578" y="48619"/>
                              <a:pt x="70123" y="47684"/>
                            </a:cubicBezTo>
                            <a:cubicBezTo>
                              <a:pt x="62643" y="25244"/>
                              <a:pt x="73863" y="51424"/>
                              <a:pt x="58903" y="36464"/>
                            </a:cubicBezTo>
                            <a:cubicBezTo>
                              <a:pt x="54136" y="31697"/>
                              <a:pt x="47684" y="19635"/>
                              <a:pt x="47684" y="19635"/>
                            </a:cubicBezTo>
                            <a:cubicBezTo>
                              <a:pt x="44288" y="9446"/>
                              <a:pt x="40671" y="3272"/>
                              <a:pt x="39269"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51" name="Group 150"/>
                    <p:cNvGrpSpPr/>
                    <p:nvPr/>
                  </p:nvGrpSpPr>
                  <p:grpSpPr>
                    <a:xfrm>
                      <a:off x="492981" y="182880"/>
                      <a:ext cx="8269356" cy="6652681"/>
                      <a:chOff x="492981" y="182880"/>
                      <a:chExt cx="8269356" cy="6652681"/>
                    </a:xfrm>
                    <a:grpFill/>
                  </p:grpSpPr>
                  <p:grpSp>
                    <p:nvGrpSpPr>
                      <p:cNvPr id="152" name="Group 151"/>
                      <p:cNvGrpSpPr/>
                      <p:nvPr/>
                    </p:nvGrpSpPr>
                    <p:grpSpPr>
                      <a:xfrm>
                        <a:off x="492981" y="281635"/>
                        <a:ext cx="8244307" cy="6553926"/>
                        <a:chOff x="492981" y="281635"/>
                        <a:chExt cx="8244307" cy="6553926"/>
                      </a:xfrm>
                      <a:grpFill/>
                    </p:grpSpPr>
                    <p:grpSp>
                      <p:nvGrpSpPr>
                        <p:cNvPr id="156" name="Group 155"/>
                        <p:cNvGrpSpPr/>
                        <p:nvPr/>
                      </p:nvGrpSpPr>
                      <p:grpSpPr>
                        <a:xfrm>
                          <a:off x="492981" y="356029"/>
                          <a:ext cx="8244307" cy="6479532"/>
                          <a:chOff x="492981" y="356029"/>
                          <a:chExt cx="8244307" cy="6479532"/>
                        </a:xfrm>
                        <a:grpFill/>
                      </p:grpSpPr>
                      <p:grpSp>
                        <p:nvGrpSpPr>
                          <p:cNvPr id="181" name="Group 180"/>
                          <p:cNvGrpSpPr/>
                          <p:nvPr/>
                        </p:nvGrpSpPr>
                        <p:grpSpPr>
                          <a:xfrm>
                            <a:off x="492981" y="356029"/>
                            <a:ext cx="8244307" cy="6479532"/>
                            <a:chOff x="492981" y="356029"/>
                            <a:chExt cx="8244307" cy="6479532"/>
                          </a:xfrm>
                          <a:grpFill/>
                        </p:grpSpPr>
                        <p:grpSp>
                          <p:nvGrpSpPr>
                            <p:cNvPr id="183" name="Group 182"/>
                            <p:cNvGrpSpPr/>
                            <p:nvPr/>
                          </p:nvGrpSpPr>
                          <p:grpSpPr>
                            <a:xfrm>
                              <a:off x="492981" y="356029"/>
                              <a:ext cx="8244307" cy="6479532"/>
                              <a:chOff x="492981" y="356029"/>
                              <a:chExt cx="8244307" cy="6479532"/>
                            </a:xfrm>
                            <a:grpFill/>
                          </p:grpSpPr>
                          <p:grpSp>
                            <p:nvGrpSpPr>
                              <p:cNvPr id="185" name="Group 184"/>
                              <p:cNvGrpSpPr/>
                              <p:nvPr/>
                            </p:nvGrpSpPr>
                            <p:grpSpPr>
                              <a:xfrm>
                                <a:off x="492981" y="356029"/>
                                <a:ext cx="8244307" cy="6479532"/>
                                <a:chOff x="492981" y="356029"/>
                                <a:chExt cx="8244307" cy="6479532"/>
                              </a:xfrm>
                              <a:grpFill/>
                            </p:grpSpPr>
                            <p:grpSp>
                              <p:nvGrpSpPr>
                                <p:cNvPr id="187" name="Group 186"/>
                                <p:cNvGrpSpPr/>
                                <p:nvPr/>
                              </p:nvGrpSpPr>
                              <p:grpSpPr>
                                <a:xfrm>
                                  <a:off x="492981" y="356029"/>
                                  <a:ext cx="8244307" cy="6479532"/>
                                  <a:chOff x="492981" y="356029"/>
                                  <a:chExt cx="8244307" cy="6479532"/>
                                </a:xfrm>
                                <a:grpFill/>
                              </p:grpSpPr>
                              <p:grpSp>
                                <p:nvGrpSpPr>
                                  <p:cNvPr id="189" name="Group 188"/>
                                  <p:cNvGrpSpPr/>
                                  <p:nvPr/>
                                </p:nvGrpSpPr>
                                <p:grpSpPr>
                                  <a:xfrm>
                                    <a:off x="492981" y="356029"/>
                                    <a:ext cx="7831986" cy="6479532"/>
                                    <a:chOff x="492981" y="356029"/>
                                    <a:chExt cx="7831986" cy="6479532"/>
                                  </a:xfrm>
                                  <a:grpFill/>
                                </p:grpSpPr>
                                <p:grpSp>
                                  <p:nvGrpSpPr>
                                    <p:cNvPr id="193" name="Group 192"/>
                                    <p:cNvGrpSpPr/>
                                    <p:nvPr/>
                                  </p:nvGrpSpPr>
                                  <p:grpSpPr>
                                    <a:xfrm>
                                      <a:off x="492981" y="356029"/>
                                      <a:ext cx="7711375" cy="6479532"/>
                                      <a:chOff x="492981" y="356029"/>
                                      <a:chExt cx="7711375" cy="6479532"/>
                                    </a:xfrm>
                                    <a:grpFill/>
                                  </p:grpSpPr>
                                  <p:grpSp>
                                    <p:nvGrpSpPr>
                                      <p:cNvPr id="195" name="Group 194"/>
                                      <p:cNvGrpSpPr/>
                                      <p:nvPr/>
                                    </p:nvGrpSpPr>
                                    <p:grpSpPr>
                                      <a:xfrm>
                                        <a:off x="492981" y="356029"/>
                                        <a:ext cx="7689235" cy="6479532"/>
                                        <a:chOff x="492981" y="356029"/>
                                        <a:chExt cx="7689235" cy="6479532"/>
                                      </a:xfrm>
                                      <a:grpFill/>
                                    </p:grpSpPr>
                                    <p:grpSp>
                                      <p:nvGrpSpPr>
                                        <p:cNvPr id="197" name="Group 196"/>
                                        <p:cNvGrpSpPr/>
                                        <p:nvPr/>
                                      </p:nvGrpSpPr>
                                      <p:grpSpPr>
                                        <a:xfrm>
                                          <a:off x="492981" y="356029"/>
                                          <a:ext cx="6286482" cy="6479532"/>
                                          <a:chOff x="492981" y="356029"/>
                                          <a:chExt cx="6286482" cy="6479532"/>
                                        </a:xfrm>
                                        <a:grpFill/>
                                      </p:grpSpPr>
                                      <p:grpSp>
                                        <p:nvGrpSpPr>
                                          <p:cNvPr id="201" name="Group 200"/>
                                          <p:cNvGrpSpPr/>
                                          <p:nvPr/>
                                        </p:nvGrpSpPr>
                                        <p:grpSpPr>
                                          <a:xfrm>
                                            <a:off x="492981" y="356029"/>
                                            <a:ext cx="5406365" cy="6479532"/>
                                            <a:chOff x="492981" y="356029"/>
                                            <a:chExt cx="5406365" cy="6479532"/>
                                          </a:xfrm>
                                          <a:grpFill/>
                                        </p:grpSpPr>
                                        <p:grpSp>
                                          <p:nvGrpSpPr>
                                            <p:cNvPr id="203" name="Group 202"/>
                                            <p:cNvGrpSpPr/>
                                            <p:nvPr/>
                                          </p:nvGrpSpPr>
                                          <p:grpSpPr>
                                            <a:xfrm>
                                              <a:off x="492981" y="356029"/>
                                              <a:ext cx="5406365" cy="6165382"/>
                                              <a:chOff x="492981" y="356029"/>
                                              <a:chExt cx="5406365" cy="6165382"/>
                                            </a:xfrm>
                                            <a:grpFill/>
                                          </p:grpSpPr>
                                          <p:grpSp>
                                            <p:nvGrpSpPr>
                                              <p:cNvPr id="233" name="Group 232"/>
                                              <p:cNvGrpSpPr/>
                                              <p:nvPr/>
                                            </p:nvGrpSpPr>
                                            <p:grpSpPr>
                                              <a:xfrm>
                                                <a:off x="492981" y="356029"/>
                                                <a:ext cx="5406365" cy="6165382"/>
                                                <a:chOff x="492981" y="356029"/>
                                                <a:chExt cx="5406365" cy="6165382"/>
                                              </a:xfrm>
                                              <a:grpFill/>
                                            </p:grpSpPr>
                                            <p:grpSp>
                                              <p:nvGrpSpPr>
                                                <p:cNvPr id="235" name="Group 234"/>
                                                <p:cNvGrpSpPr/>
                                                <p:nvPr/>
                                              </p:nvGrpSpPr>
                                              <p:grpSpPr>
                                                <a:xfrm>
                                                  <a:off x="492981" y="356029"/>
                                                  <a:ext cx="5372082" cy="6165382"/>
                                                  <a:chOff x="492981" y="356029"/>
                                                  <a:chExt cx="5372082" cy="6165382"/>
                                                </a:xfrm>
                                                <a:grpFill/>
                                              </p:grpSpPr>
                                              <p:grpSp>
                                                <p:nvGrpSpPr>
                                                  <p:cNvPr id="237" name="Group 236"/>
                                                  <p:cNvGrpSpPr/>
                                                  <p:nvPr/>
                                                </p:nvGrpSpPr>
                                                <p:grpSpPr>
                                                  <a:xfrm>
                                                    <a:off x="492981" y="356029"/>
                                                    <a:ext cx="5372082" cy="6165382"/>
                                                    <a:chOff x="492981" y="356029"/>
                                                    <a:chExt cx="5372082" cy="6165382"/>
                                                  </a:xfrm>
                                                  <a:grpFill/>
                                                </p:grpSpPr>
                                                <p:grpSp>
                                                  <p:nvGrpSpPr>
                                                    <p:cNvPr id="239" name="Group 238"/>
                                                    <p:cNvGrpSpPr/>
                                                    <p:nvPr/>
                                                  </p:nvGrpSpPr>
                                                  <p:grpSpPr>
                                                    <a:xfrm>
                                                      <a:off x="492981" y="356029"/>
                                                      <a:ext cx="4540982" cy="6165382"/>
                                                      <a:chOff x="492981" y="356029"/>
                                                      <a:chExt cx="4540982" cy="6165382"/>
                                                    </a:xfrm>
                                                    <a:grpFill/>
                                                  </p:grpSpPr>
                                                  <p:grpSp>
                                                    <p:nvGrpSpPr>
                                                      <p:cNvPr id="241" name="Group 240"/>
                                                      <p:cNvGrpSpPr/>
                                                      <p:nvPr/>
                                                    </p:nvGrpSpPr>
                                                    <p:grpSpPr>
                                                      <a:xfrm>
                                                        <a:off x="492981" y="356029"/>
                                                        <a:ext cx="4540982" cy="5722743"/>
                                                        <a:chOff x="492981" y="356029"/>
                                                        <a:chExt cx="4540982" cy="5722743"/>
                                                      </a:xfrm>
                                                      <a:grpFill/>
                                                    </p:grpSpPr>
                                                    <p:grpSp>
                                                      <p:nvGrpSpPr>
                                                        <p:cNvPr id="249" name="Group 248"/>
                                                        <p:cNvGrpSpPr/>
                                                        <p:nvPr/>
                                                      </p:nvGrpSpPr>
                                                      <p:grpSpPr>
                                                        <a:xfrm>
                                                          <a:off x="492981" y="356029"/>
                                                          <a:ext cx="4529333" cy="5722743"/>
                                                          <a:chOff x="492981" y="356029"/>
                                                          <a:chExt cx="4529333" cy="5722743"/>
                                                        </a:xfrm>
                                                        <a:grpFill/>
                                                      </p:grpSpPr>
                                                      <p:grpSp>
                                                        <p:nvGrpSpPr>
                                                          <p:cNvPr id="251" name="Group 250"/>
                                                          <p:cNvGrpSpPr/>
                                                          <p:nvPr/>
                                                        </p:nvGrpSpPr>
                                                        <p:grpSpPr>
                                                          <a:xfrm>
                                                            <a:off x="492981" y="356029"/>
                                                            <a:ext cx="4529333" cy="5722743"/>
                                                            <a:chOff x="492981" y="356029"/>
                                                            <a:chExt cx="4529333" cy="5722743"/>
                                                          </a:xfrm>
                                                          <a:grpFill/>
                                                        </p:grpSpPr>
                                                        <p:grpSp>
                                                          <p:nvGrpSpPr>
                                                            <p:cNvPr id="253" name="Group 252"/>
                                                            <p:cNvGrpSpPr/>
                                                            <p:nvPr/>
                                                          </p:nvGrpSpPr>
                                                          <p:grpSpPr>
                                                            <a:xfrm>
                                                              <a:off x="492981" y="356029"/>
                                                              <a:ext cx="4481450" cy="5722743"/>
                                                              <a:chOff x="492981" y="356029"/>
                                                              <a:chExt cx="4481450" cy="5722743"/>
                                                            </a:xfrm>
                                                            <a:grpFill/>
                                                          </p:grpSpPr>
                                                          <p:grpSp>
                                                            <p:nvGrpSpPr>
                                                              <p:cNvPr id="255" name="Group 254"/>
                                                              <p:cNvGrpSpPr/>
                                                              <p:nvPr/>
                                                            </p:nvGrpSpPr>
                                                            <p:grpSpPr>
                                                              <a:xfrm>
                                                                <a:off x="492981" y="356029"/>
                                                                <a:ext cx="4481450" cy="5722743"/>
                                                                <a:chOff x="492981" y="356029"/>
                                                                <a:chExt cx="4481450" cy="5722743"/>
                                                              </a:xfrm>
                                                              <a:grpFill/>
                                                            </p:grpSpPr>
                                                            <p:grpSp>
                                                              <p:nvGrpSpPr>
                                                                <p:cNvPr id="257" name="Group 256"/>
                                                                <p:cNvGrpSpPr/>
                                                                <p:nvPr/>
                                                              </p:nvGrpSpPr>
                                                              <p:grpSpPr>
                                                                <a:xfrm>
                                                                  <a:off x="492981" y="356029"/>
                                                                  <a:ext cx="4481450" cy="5722743"/>
                                                                  <a:chOff x="492981" y="356029"/>
                                                                  <a:chExt cx="4481450" cy="5722743"/>
                                                                </a:xfrm>
                                                                <a:grpFill/>
                                                              </p:grpSpPr>
                                                              <p:grpSp>
                                                                <p:nvGrpSpPr>
                                                                  <p:cNvPr id="259" name="Group 258"/>
                                                                  <p:cNvGrpSpPr/>
                                                                  <p:nvPr/>
                                                                </p:nvGrpSpPr>
                                                                <p:grpSpPr>
                                                                  <a:xfrm>
                                                                    <a:off x="492981" y="356029"/>
                                                                    <a:ext cx="4445732" cy="5722743"/>
                                                                    <a:chOff x="492981" y="356029"/>
                                                                    <a:chExt cx="4445732" cy="5722743"/>
                                                                  </a:xfrm>
                                                                  <a:grpFill/>
                                                                </p:grpSpPr>
                                                                <p:grpSp>
                                                                  <p:nvGrpSpPr>
                                                                    <p:cNvPr id="261" name="Group 260"/>
                                                                    <p:cNvGrpSpPr/>
                                                                    <p:nvPr/>
                                                                  </p:nvGrpSpPr>
                                                                  <p:grpSpPr>
                                                                    <a:xfrm>
                                                                      <a:off x="492981" y="356029"/>
                                                                      <a:ext cx="4005021" cy="5722743"/>
                                                                      <a:chOff x="492981" y="356029"/>
                                                                      <a:chExt cx="4005021" cy="5722743"/>
                                                                    </a:xfrm>
                                                                    <a:grpFill/>
                                                                  </p:grpSpPr>
                                                                  <p:grpSp>
                                                                    <p:nvGrpSpPr>
                                                                      <p:cNvPr id="263" name="Group 262"/>
                                                                      <p:cNvGrpSpPr/>
                                                                      <p:nvPr/>
                                                                    </p:nvGrpSpPr>
                                                                    <p:grpSpPr>
                                                                      <a:xfrm>
                                                                        <a:off x="492981" y="356029"/>
                                                                        <a:ext cx="4005021" cy="5722743"/>
                                                                        <a:chOff x="492981" y="356029"/>
                                                                        <a:chExt cx="4005021" cy="5722743"/>
                                                                      </a:xfrm>
                                                                      <a:grpFill/>
                                                                    </p:grpSpPr>
                                                                    <p:grpSp>
                                                                      <p:nvGrpSpPr>
                                                                        <p:cNvPr id="265" name="Group 264"/>
                                                                        <p:cNvGrpSpPr/>
                                                                        <p:nvPr/>
                                                                      </p:nvGrpSpPr>
                                                                      <p:grpSpPr>
                                                                        <a:xfrm>
                                                                          <a:off x="492981" y="356029"/>
                                                                          <a:ext cx="3568964" cy="5722743"/>
                                                                          <a:chOff x="492981" y="356029"/>
                                                                          <a:chExt cx="3568964" cy="5722743"/>
                                                                        </a:xfrm>
                                                                        <a:grpFill/>
                                                                      </p:grpSpPr>
                                                                      <p:grpSp>
                                                                        <p:nvGrpSpPr>
                                                                          <p:cNvPr id="267" name="Group 266"/>
                                                                          <p:cNvGrpSpPr/>
                                                                          <p:nvPr/>
                                                                        </p:nvGrpSpPr>
                                                                        <p:grpSpPr>
                                                                          <a:xfrm>
                                                                            <a:off x="492981" y="356029"/>
                                                                            <a:ext cx="2945958" cy="5722743"/>
                                                                            <a:chOff x="492981" y="356029"/>
                                                                            <a:chExt cx="2945958" cy="5722743"/>
                                                                          </a:xfrm>
                                                                          <a:grpFill/>
                                                                        </p:grpSpPr>
                                                                        <p:grpSp>
                                                                          <p:nvGrpSpPr>
                                                                            <p:cNvPr id="281" name="Group 280"/>
                                                                            <p:cNvGrpSpPr/>
                                                                            <p:nvPr/>
                                                                          </p:nvGrpSpPr>
                                                                          <p:grpSpPr>
                                                                            <a:xfrm>
                                                                              <a:off x="492981" y="356029"/>
                                                                              <a:ext cx="2945958" cy="5722743"/>
                                                                              <a:chOff x="492981" y="356029"/>
                                                                              <a:chExt cx="2945958" cy="5722743"/>
                                                                            </a:xfrm>
                                                                            <a:grpFill/>
                                                                          </p:grpSpPr>
                                                                          <p:grpSp>
                                                                            <p:nvGrpSpPr>
                                                                              <p:cNvPr id="283" name="Group 282"/>
                                                                              <p:cNvGrpSpPr/>
                                                                              <p:nvPr/>
                                                                            </p:nvGrpSpPr>
                                                                            <p:grpSpPr>
                                                                              <a:xfrm>
                                                                                <a:off x="492981" y="356029"/>
                                                                                <a:ext cx="2945958" cy="5722743"/>
                                                                                <a:chOff x="492981" y="356029"/>
                                                                                <a:chExt cx="2945958" cy="5722743"/>
                                                                              </a:xfrm>
                                                                              <a:grpFill/>
                                                                            </p:grpSpPr>
                                                                            <p:grpSp>
                                                                              <p:nvGrpSpPr>
                                                                                <p:cNvPr id="287" name="Group 286"/>
                                                                                <p:cNvGrpSpPr/>
                                                                                <p:nvPr/>
                                                                              </p:nvGrpSpPr>
                                                                              <p:grpSpPr>
                                                                                <a:xfrm>
                                                                                  <a:off x="492981" y="356029"/>
                                                                                  <a:ext cx="2723377" cy="5722743"/>
                                                                                  <a:chOff x="492981" y="356029"/>
                                                                                  <a:chExt cx="2723377" cy="5722743"/>
                                                                                </a:xfrm>
                                                                                <a:grpFill/>
                                                                              </p:grpSpPr>
                                                                              <p:grpSp>
                                                                                <p:nvGrpSpPr>
                                                                                  <p:cNvPr id="289" name="Group 288"/>
                                                                                  <p:cNvGrpSpPr/>
                                                                                  <p:nvPr/>
                                                                                </p:nvGrpSpPr>
                                                                                <p:grpSpPr>
                                                                                  <a:xfrm>
                                                                                    <a:off x="1335697" y="356029"/>
                                                                                    <a:ext cx="1414302" cy="3335564"/>
                                                                                    <a:chOff x="1335697" y="356029"/>
                                                                                    <a:chExt cx="1414302" cy="3335564"/>
                                                                                  </a:xfrm>
                                                                                  <a:grpFill/>
                                                                                </p:grpSpPr>
                                                                                <p:sp>
                                                                                  <p:nvSpPr>
                                                                                    <p:cNvPr id="302" name="Freeform 301"/>
                                                                                    <p:cNvSpPr/>
                                                                                    <p:nvPr/>
                                                                                  </p:nvSpPr>
                                                                                  <p:spPr>
                                                                                    <a:xfrm>
                                                                                      <a:off x="1748647" y="356029"/>
                                                                                      <a:ext cx="758885" cy="639664"/>
                                                                                    </a:xfrm>
                                                                                    <a:custGeom>
                                                                                      <a:avLst/>
                                                                                      <a:gdLst>
                                                                                        <a:gd name="connsiteX0" fmla="*/ 272634 w 758885"/>
                                                                                        <a:gd name="connsiteY0" fmla="*/ 150171 h 639664"/>
                                                                                        <a:gd name="connsiteX1" fmla="*/ 272634 w 758885"/>
                                                                                        <a:gd name="connsiteY1" fmla="*/ 150171 h 639664"/>
                                                                                        <a:gd name="connsiteX2" fmla="*/ 265836 w 758885"/>
                                                                                        <a:gd name="connsiteY2" fmla="*/ 197761 h 639664"/>
                                                                                        <a:gd name="connsiteX3" fmla="*/ 255638 w 758885"/>
                                                                                        <a:gd name="connsiteY3" fmla="*/ 218157 h 639664"/>
                                                                                        <a:gd name="connsiteX4" fmla="*/ 252239 w 758885"/>
                                                                                        <a:gd name="connsiteY4" fmla="*/ 228354 h 639664"/>
                                                                                        <a:gd name="connsiteX5" fmla="*/ 262436 w 758885"/>
                                                                                        <a:gd name="connsiteY5" fmla="*/ 235153 h 639664"/>
                                                                                        <a:gd name="connsiteX6" fmla="*/ 276034 w 758885"/>
                                                                                        <a:gd name="connsiteY6" fmla="*/ 221556 h 639664"/>
                                                                                        <a:gd name="connsiteX7" fmla="*/ 286231 w 758885"/>
                                                                                        <a:gd name="connsiteY7" fmla="*/ 214757 h 639664"/>
                                                                                        <a:gd name="connsiteX8" fmla="*/ 306627 w 758885"/>
                                                                                        <a:gd name="connsiteY8" fmla="*/ 207959 h 639664"/>
                                                                                        <a:gd name="connsiteX9" fmla="*/ 316825 w 758885"/>
                                                                                        <a:gd name="connsiteY9" fmla="*/ 211358 h 639664"/>
                                                                                        <a:gd name="connsiteX10" fmla="*/ 313425 w 758885"/>
                                                                                        <a:gd name="connsiteY10" fmla="*/ 224955 h 639664"/>
                                                                                        <a:gd name="connsiteX11" fmla="*/ 316825 w 758885"/>
                                                                                        <a:gd name="connsiteY11" fmla="*/ 241951 h 639664"/>
                                                                                        <a:gd name="connsiteX12" fmla="*/ 340619 w 758885"/>
                                                                                        <a:gd name="connsiteY12" fmla="*/ 235153 h 639664"/>
                                                                                        <a:gd name="connsiteX13" fmla="*/ 354216 w 758885"/>
                                                                                        <a:gd name="connsiteY13" fmla="*/ 221556 h 639664"/>
                                                                                        <a:gd name="connsiteX14" fmla="*/ 361015 w 758885"/>
                                                                                        <a:gd name="connsiteY14" fmla="*/ 201160 h 639664"/>
                                                                                        <a:gd name="connsiteX15" fmla="*/ 367813 w 758885"/>
                                                                                        <a:gd name="connsiteY15" fmla="*/ 190963 h 639664"/>
                                                                                        <a:gd name="connsiteX16" fmla="*/ 371213 w 758885"/>
                                                                                        <a:gd name="connsiteY16" fmla="*/ 180765 h 639664"/>
                                                                                        <a:gd name="connsiteX17" fmla="*/ 381410 w 758885"/>
                                                                                        <a:gd name="connsiteY17" fmla="*/ 173966 h 639664"/>
                                                                                        <a:gd name="connsiteX18" fmla="*/ 395007 w 758885"/>
                                                                                        <a:gd name="connsiteY18" fmla="*/ 156970 h 639664"/>
                                                                                        <a:gd name="connsiteX19" fmla="*/ 401806 w 758885"/>
                                                                                        <a:gd name="connsiteY19" fmla="*/ 167168 h 639664"/>
                                                                                        <a:gd name="connsiteX20" fmla="*/ 401806 w 758885"/>
                                                                                        <a:gd name="connsiteY20" fmla="*/ 231754 h 639664"/>
                                                                                        <a:gd name="connsiteX21" fmla="*/ 412004 w 758885"/>
                                                                                        <a:gd name="connsiteY21" fmla="*/ 221556 h 639664"/>
                                                                                        <a:gd name="connsiteX22" fmla="*/ 422202 w 758885"/>
                                                                                        <a:gd name="connsiteY22" fmla="*/ 201160 h 639664"/>
                                                                                        <a:gd name="connsiteX23" fmla="*/ 442597 w 758885"/>
                                                                                        <a:gd name="connsiteY23" fmla="*/ 187563 h 639664"/>
                                                                                        <a:gd name="connsiteX24" fmla="*/ 459593 w 758885"/>
                                                                                        <a:gd name="connsiteY24" fmla="*/ 190963 h 639664"/>
                                                                                        <a:gd name="connsiteX25" fmla="*/ 479989 w 758885"/>
                                                                                        <a:gd name="connsiteY25" fmla="*/ 204560 h 639664"/>
                                                                                        <a:gd name="connsiteX26" fmla="*/ 486787 w 758885"/>
                                                                                        <a:gd name="connsiteY26" fmla="*/ 255548 h 639664"/>
                                                                                        <a:gd name="connsiteX27" fmla="*/ 490187 w 758885"/>
                                                                                        <a:gd name="connsiteY27" fmla="*/ 279343 h 639664"/>
                                                                                        <a:gd name="connsiteX28" fmla="*/ 500384 w 758885"/>
                                                                                        <a:gd name="connsiteY28" fmla="*/ 248750 h 639664"/>
                                                                                        <a:gd name="connsiteX29" fmla="*/ 503784 w 758885"/>
                                                                                        <a:gd name="connsiteY29" fmla="*/ 238552 h 639664"/>
                                                                                        <a:gd name="connsiteX30" fmla="*/ 510582 w 758885"/>
                                                                                        <a:gd name="connsiteY30" fmla="*/ 228354 h 639664"/>
                                                                                        <a:gd name="connsiteX31" fmla="*/ 524179 w 758885"/>
                                                                                        <a:gd name="connsiteY31" fmla="*/ 231754 h 639664"/>
                                                                                        <a:gd name="connsiteX32" fmla="*/ 537776 w 758885"/>
                                                                                        <a:gd name="connsiteY32" fmla="*/ 252149 h 639664"/>
                                                                                        <a:gd name="connsiteX33" fmla="*/ 541176 w 758885"/>
                                                                                        <a:gd name="connsiteY33" fmla="*/ 265746 h 639664"/>
                                                                                        <a:gd name="connsiteX34" fmla="*/ 551373 w 758885"/>
                                                                                        <a:gd name="connsiteY34" fmla="*/ 262347 h 639664"/>
                                                                                        <a:gd name="connsiteX35" fmla="*/ 568370 w 758885"/>
                                                                                        <a:gd name="connsiteY35" fmla="*/ 258948 h 639664"/>
                                                                                        <a:gd name="connsiteX36" fmla="*/ 581967 w 758885"/>
                                                                                        <a:gd name="connsiteY36" fmla="*/ 255548 h 639664"/>
                                                                                        <a:gd name="connsiteX37" fmla="*/ 595564 w 758885"/>
                                                                                        <a:gd name="connsiteY37" fmla="*/ 258948 h 639664"/>
                                                                                        <a:gd name="connsiteX38" fmla="*/ 609161 w 758885"/>
                                                                                        <a:gd name="connsiteY38" fmla="*/ 279343 h 639664"/>
                                                                                        <a:gd name="connsiteX39" fmla="*/ 629556 w 758885"/>
                                                                                        <a:gd name="connsiteY39" fmla="*/ 275944 h 639664"/>
                                                                                        <a:gd name="connsiteX40" fmla="*/ 639754 w 758885"/>
                                                                                        <a:gd name="connsiteY40" fmla="*/ 272545 h 639664"/>
                                                                                        <a:gd name="connsiteX41" fmla="*/ 663549 w 758885"/>
                                                                                        <a:gd name="connsiteY41" fmla="*/ 248750 h 639664"/>
                                                                                        <a:gd name="connsiteX42" fmla="*/ 670347 w 758885"/>
                                                                                        <a:gd name="connsiteY42" fmla="*/ 238552 h 639664"/>
                                                                                        <a:gd name="connsiteX43" fmla="*/ 690743 w 758885"/>
                                                                                        <a:gd name="connsiteY43" fmla="*/ 248750 h 639664"/>
                                                                                        <a:gd name="connsiteX44" fmla="*/ 694142 w 758885"/>
                                                                                        <a:gd name="connsiteY44" fmla="*/ 272545 h 639664"/>
                                                                                        <a:gd name="connsiteX45" fmla="*/ 697541 w 758885"/>
                                                                                        <a:gd name="connsiteY45" fmla="*/ 313336 h 639664"/>
                                                                                        <a:gd name="connsiteX46" fmla="*/ 711138 w 758885"/>
                                                                                        <a:gd name="connsiteY46" fmla="*/ 309937 h 639664"/>
                                                                                        <a:gd name="connsiteX47" fmla="*/ 751929 w 758885"/>
                                                                                        <a:gd name="connsiteY47" fmla="*/ 313336 h 639664"/>
                                                                                        <a:gd name="connsiteX48" fmla="*/ 758728 w 758885"/>
                                                                                        <a:gd name="connsiteY48" fmla="*/ 323534 h 639664"/>
                                                                                        <a:gd name="connsiteX49" fmla="*/ 748530 w 758885"/>
                                                                                        <a:gd name="connsiteY49" fmla="*/ 326933 h 639664"/>
                                                                                        <a:gd name="connsiteX50" fmla="*/ 738332 w 758885"/>
                                                                                        <a:gd name="connsiteY50" fmla="*/ 333731 h 639664"/>
                                                                                        <a:gd name="connsiteX51" fmla="*/ 734933 w 758885"/>
                                                                                        <a:gd name="connsiteY51" fmla="*/ 343929 h 639664"/>
                                                                                        <a:gd name="connsiteX52" fmla="*/ 728135 w 758885"/>
                                                                                        <a:gd name="connsiteY52" fmla="*/ 354127 h 639664"/>
                                                                                        <a:gd name="connsiteX53" fmla="*/ 734933 w 758885"/>
                                                                                        <a:gd name="connsiteY53" fmla="*/ 364325 h 639664"/>
                                                                                        <a:gd name="connsiteX54" fmla="*/ 731534 w 758885"/>
                                                                                        <a:gd name="connsiteY54" fmla="*/ 374522 h 639664"/>
                                                                                        <a:gd name="connsiteX55" fmla="*/ 721336 w 758885"/>
                                                                                        <a:gd name="connsiteY55" fmla="*/ 377922 h 639664"/>
                                                                                        <a:gd name="connsiteX56" fmla="*/ 711138 w 758885"/>
                                                                                        <a:gd name="connsiteY56" fmla="*/ 384720 h 639664"/>
                                                                                        <a:gd name="connsiteX57" fmla="*/ 711138 w 758885"/>
                                                                                        <a:gd name="connsiteY57" fmla="*/ 415313 h 639664"/>
                                                                                        <a:gd name="connsiteX58" fmla="*/ 721336 w 758885"/>
                                                                                        <a:gd name="connsiteY58" fmla="*/ 422112 h 639664"/>
                                                                                        <a:gd name="connsiteX59" fmla="*/ 724735 w 758885"/>
                                                                                        <a:gd name="connsiteY59" fmla="*/ 432310 h 639664"/>
                                                                                        <a:gd name="connsiteX60" fmla="*/ 707739 w 758885"/>
                                                                                        <a:gd name="connsiteY60" fmla="*/ 445907 h 639664"/>
                                                                                        <a:gd name="connsiteX61" fmla="*/ 697541 w 758885"/>
                                                                                        <a:gd name="connsiteY61" fmla="*/ 452705 h 639664"/>
                                                                                        <a:gd name="connsiteX62" fmla="*/ 690743 w 758885"/>
                                                                                        <a:gd name="connsiteY62" fmla="*/ 462903 h 639664"/>
                                                                                        <a:gd name="connsiteX63" fmla="*/ 724735 w 758885"/>
                                                                                        <a:gd name="connsiteY63" fmla="*/ 456105 h 639664"/>
                                                                                        <a:gd name="connsiteX64" fmla="*/ 741732 w 758885"/>
                                                                                        <a:gd name="connsiteY64" fmla="*/ 479899 h 639664"/>
                                                                                        <a:gd name="connsiteX65" fmla="*/ 745131 w 758885"/>
                                                                                        <a:gd name="connsiteY65" fmla="*/ 490097 h 639664"/>
                                                                                        <a:gd name="connsiteX66" fmla="*/ 731534 w 758885"/>
                                                                                        <a:gd name="connsiteY66" fmla="*/ 507093 h 639664"/>
                                                                                        <a:gd name="connsiteX67" fmla="*/ 717937 w 758885"/>
                                                                                        <a:gd name="connsiteY67" fmla="*/ 527489 h 639664"/>
                                                                                        <a:gd name="connsiteX68" fmla="*/ 714538 w 758885"/>
                                                                                        <a:gd name="connsiteY68" fmla="*/ 561481 h 639664"/>
                                                                                        <a:gd name="connsiteX69" fmla="*/ 697541 w 758885"/>
                                                                                        <a:gd name="connsiteY69" fmla="*/ 575079 h 639664"/>
                                                                                        <a:gd name="connsiteX70" fmla="*/ 677146 w 758885"/>
                                                                                        <a:gd name="connsiteY70" fmla="*/ 585276 h 639664"/>
                                                                                        <a:gd name="connsiteX71" fmla="*/ 670347 w 758885"/>
                                                                                        <a:gd name="connsiteY71" fmla="*/ 595474 h 639664"/>
                                                                                        <a:gd name="connsiteX72" fmla="*/ 649952 w 758885"/>
                                                                                        <a:gd name="connsiteY72" fmla="*/ 602273 h 639664"/>
                                                                                        <a:gd name="connsiteX73" fmla="*/ 639754 w 758885"/>
                                                                                        <a:gd name="connsiteY73" fmla="*/ 605672 h 639664"/>
                                                                                        <a:gd name="connsiteX74" fmla="*/ 629556 w 758885"/>
                                                                                        <a:gd name="connsiteY74" fmla="*/ 609071 h 639664"/>
                                                                                        <a:gd name="connsiteX75" fmla="*/ 612560 w 758885"/>
                                                                                        <a:gd name="connsiteY75" fmla="*/ 612470 h 639664"/>
                                                                                        <a:gd name="connsiteX76" fmla="*/ 592164 w 758885"/>
                                                                                        <a:gd name="connsiteY76" fmla="*/ 626067 h 639664"/>
                                                                                        <a:gd name="connsiteX77" fmla="*/ 561571 w 758885"/>
                                                                                        <a:gd name="connsiteY77" fmla="*/ 639664 h 639664"/>
                                                                                        <a:gd name="connsiteX78" fmla="*/ 534377 w 758885"/>
                                                                                        <a:gd name="connsiteY78" fmla="*/ 636265 h 639664"/>
                                                                                        <a:gd name="connsiteX79" fmla="*/ 513981 w 758885"/>
                                                                                        <a:gd name="connsiteY79" fmla="*/ 622668 h 639664"/>
                                                                                        <a:gd name="connsiteX80" fmla="*/ 452795 w 758885"/>
                                                                                        <a:gd name="connsiteY80" fmla="*/ 626067 h 639664"/>
                                                                                        <a:gd name="connsiteX81" fmla="*/ 432399 w 758885"/>
                                                                                        <a:gd name="connsiteY81" fmla="*/ 632866 h 639664"/>
                                                                                        <a:gd name="connsiteX82" fmla="*/ 408605 w 758885"/>
                                                                                        <a:gd name="connsiteY82" fmla="*/ 639664 h 639664"/>
                                                                                        <a:gd name="connsiteX83" fmla="*/ 361015 w 758885"/>
                                                                                        <a:gd name="connsiteY83" fmla="*/ 636265 h 639664"/>
                                                                                        <a:gd name="connsiteX84" fmla="*/ 350817 w 758885"/>
                                                                                        <a:gd name="connsiteY84" fmla="*/ 629467 h 639664"/>
                                                                                        <a:gd name="connsiteX85" fmla="*/ 320224 w 758885"/>
                                                                                        <a:gd name="connsiteY85" fmla="*/ 619269 h 639664"/>
                                                                                        <a:gd name="connsiteX86" fmla="*/ 310026 w 758885"/>
                                                                                        <a:gd name="connsiteY86" fmla="*/ 615870 h 639664"/>
                                                                                        <a:gd name="connsiteX87" fmla="*/ 299828 w 758885"/>
                                                                                        <a:gd name="connsiteY87" fmla="*/ 619269 h 639664"/>
                                                                                        <a:gd name="connsiteX88" fmla="*/ 289631 w 758885"/>
                                                                                        <a:gd name="connsiteY88" fmla="*/ 626067 h 639664"/>
                                                                                        <a:gd name="connsiteX89" fmla="*/ 269235 w 758885"/>
                                                                                        <a:gd name="connsiteY89" fmla="*/ 632866 h 639664"/>
                                                                                        <a:gd name="connsiteX90" fmla="*/ 228444 w 758885"/>
                                                                                        <a:gd name="connsiteY90" fmla="*/ 629467 h 639664"/>
                                                                                        <a:gd name="connsiteX91" fmla="*/ 214847 w 758885"/>
                                                                                        <a:gd name="connsiteY91" fmla="*/ 612470 h 639664"/>
                                                                                        <a:gd name="connsiteX92" fmla="*/ 204649 w 758885"/>
                                                                                        <a:gd name="connsiteY92" fmla="*/ 609071 h 639664"/>
                                                                                        <a:gd name="connsiteX93" fmla="*/ 191052 w 758885"/>
                                                                                        <a:gd name="connsiteY93" fmla="*/ 595474 h 639664"/>
                                                                                        <a:gd name="connsiteX94" fmla="*/ 170657 w 758885"/>
                                                                                        <a:gd name="connsiteY94" fmla="*/ 581877 h 639664"/>
                                                                                        <a:gd name="connsiteX95" fmla="*/ 163858 w 758885"/>
                                                                                        <a:gd name="connsiteY95" fmla="*/ 571679 h 639664"/>
                                                                                        <a:gd name="connsiteX96" fmla="*/ 153660 w 758885"/>
                                                                                        <a:gd name="connsiteY96" fmla="*/ 564881 h 639664"/>
                                                                                        <a:gd name="connsiteX97" fmla="*/ 133265 w 758885"/>
                                                                                        <a:gd name="connsiteY97" fmla="*/ 534287 h 639664"/>
                                                                                        <a:gd name="connsiteX98" fmla="*/ 126466 w 758885"/>
                                                                                        <a:gd name="connsiteY98" fmla="*/ 524090 h 639664"/>
                                                                                        <a:gd name="connsiteX99" fmla="*/ 119668 w 758885"/>
                                                                                        <a:gd name="connsiteY99" fmla="*/ 513892 h 639664"/>
                                                                                        <a:gd name="connsiteX100" fmla="*/ 109470 w 758885"/>
                                                                                        <a:gd name="connsiteY100" fmla="*/ 479899 h 639664"/>
                                                                                        <a:gd name="connsiteX101" fmla="*/ 106071 w 758885"/>
                                                                                        <a:gd name="connsiteY101" fmla="*/ 469702 h 639664"/>
                                                                                        <a:gd name="connsiteX102" fmla="*/ 95873 w 758885"/>
                                                                                        <a:gd name="connsiteY102" fmla="*/ 462903 h 639664"/>
                                                                                        <a:gd name="connsiteX103" fmla="*/ 92474 w 758885"/>
                                                                                        <a:gd name="connsiteY103" fmla="*/ 452705 h 639664"/>
                                                                                        <a:gd name="connsiteX104" fmla="*/ 82276 w 758885"/>
                                                                                        <a:gd name="connsiteY104" fmla="*/ 449306 h 639664"/>
                                                                                        <a:gd name="connsiteX105" fmla="*/ 72078 w 758885"/>
                                                                                        <a:gd name="connsiteY105" fmla="*/ 442508 h 639664"/>
                                                                                        <a:gd name="connsiteX106" fmla="*/ 65280 w 758885"/>
                                                                                        <a:gd name="connsiteY106" fmla="*/ 432310 h 639664"/>
                                                                                        <a:gd name="connsiteX107" fmla="*/ 44884 w 758885"/>
                                                                                        <a:gd name="connsiteY107" fmla="*/ 418713 h 639664"/>
                                                                                        <a:gd name="connsiteX108" fmla="*/ 38086 w 758885"/>
                                                                                        <a:gd name="connsiteY108" fmla="*/ 408515 h 639664"/>
                                                                                        <a:gd name="connsiteX109" fmla="*/ 17690 w 758885"/>
                                                                                        <a:gd name="connsiteY109" fmla="*/ 401716 h 639664"/>
                                                                                        <a:gd name="connsiteX110" fmla="*/ 7492 w 758885"/>
                                                                                        <a:gd name="connsiteY110" fmla="*/ 394918 h 639664"/>
                                                                                        <a:gd name="connsiteX111" fmla="*/ 4093 w 758885"/>
                                                                                        <a:gd name="connsiteY111" fmla="*/ 374522 h 639664"/>
                                                                                        <a:gd name="connsiteX112" fmla="*/ 24489 w 758885"/>
                                                                                        <a:gd name="connsiteY112" fmla="*/ 367724 h 639664"/>
                                                                                        <a:gd name="connsiteX113" fmla="*/ 44884 w 758885"/>
                                                                                        <a:gd name="connsiteY113" fmla="*/ 377922 h 639664"/>
                                                                                        <a:gd name="connsiteX114" fmla="*/ 55082 w 758885"/>
                                                                                        <a:gd name="connsiteY114" fmla="*/ 381321 h 639664"/>
                                                                                        <a:gd name="connsiteX115" fmla="*/ 75477 w 758885"/>
                                                                                        <a:gd name="connsiteY115" fmla="*/ 377922 h 639664"/>
                                                                                        <a:gd name="connsiteX116" fmla="*/ 92474 w 758885"/>
                                                                                        <a:gd name="connsiteY116" fmla="*/ 360925 h 639664"/>
                                                                                        <a:gd name="connsiteX117" fmla="*/ 102671 w 758885"/>
                                                                                        <a:gd name="connsiteY117" fmla="*/ 357526 h 639664"/>
                                                                                        <a:gd name="connsiteX118" fmla="*/ 102671 w 758885"/>
                                                                                        <a:gd name="connsiteY118" fmla="*/ 337131 h 639664"/>
                                                                                        <a:gd name="connsiteX119" fmla="*/ 92474 w 758885"/>
                                                                                        <a:gd name="connsiteY119" fmla="*/ 333731 h 639664"/>
                                                                                        <a:gd name="connsiteX120" fmla="*/ 89074 w 758885"/>
                                                                                        <a:gd name="connsiteY120" fmla="*/ 323534 h 639664"/>
                                                                                        <a:gd name="connsiteX121" fmla="*/ 116268 w 758885"/>
                                                                                        <a:gd name="connsiteY121" fmla="*/ 323534 h 639664"/>
                                                                                        <a:gd name="connsiteX122" fmla="*/ 136664 w 758885"/>
                                                                                        <a:gd name="connsiteY122" fmla="*/ 330332 h 639664"/>
                                                                                        <a:gd name="connsiteX123" fmla="*/ 153660 w 758885"/>
                                                                                        <a:gd name="connsiteY123" fmla="*/ 326933 h 639664"/>
                                                                                        <a:gd name="connsiteX124" fmla="*/ 150261 w 758885"/>
                                                                                        <a:gd name="connsiteY124" fmla="*/ 309937 h 639664"/>
                                                                                        <a:gd name="connsiteX125" fmla="*/ 140063 w 758885"/>
                                                                                        <a:gd name="connsiteY125" fmla="*/ 303138 h 639664"/>
                                                                                        <a:gd name="connsiteX126" fmla="*/ 109470 w 758885"/>
                                                                                        <a:gd name="connsiteY126" fmla="*/ 296339 h 639664"/>
                                                                                        <a:gd name="connsiteX127" fmla="*/ 116268 w 758885"/>
                                                                                        <a:gd name="connsiteY127" fmla="*/ 275944 h 639664"/>
                                                                                        <a:gd name="connsiteX128" fmla="*/ 92474 w 758885"/>
                                                                                        <a:gd name="connsiteY128" fmla="*/ 248750 h 639664"/>
                                                                                        <a:gd name="connsiteX129" fmla="*/ 85675 w 758885"/>
                                                                                        <a:gd name="connsiteY129" fmla="*/ 238552 h 639664"/>
                                                                                        <a:gd name="connsiteX130" fmla="*/ 75477 w 758885"/>
                                                                                        <a:gd name="connsiteY130" fmla="*/ 218157 h 639664"/>
                                                                                        <a:gd name="connsiteX131" fmla="*/ 65280 w 758885"/>
                                                                                        <a:gd name="connsiteY131" fmla="*/ 211358 h 639664"/>
                                                                                        <a:gd name="connsiteX132" fmla="*/ 31287 w 758885"/>
                                                                                        <a:gd name="connsiteY132" fmla="*/ 201160 h 639664"/>
                                                                                        <a:gd name="connsiteX133" fmla="*/ 34686 w 758885"/>
                                                                                        <a:gd name="connsiteY133" fmla="*/ 180765 h 639664"/>
                                                                                        <a:gd name="connsiteX134" fmla="*/ 44884 w 758885"/>
                                                                                        <a:gd name="connsiteY134" fmla="*/ 177365 h 639664"/>
                                                                                        <a:gd name="connsiteX135" fmla="*/ 68679 w 758885"/>
                                                                                        <a:gd name="connsiteY135" fmla="*/ 180765 h 639664"/>
                                                                                        <a:gd name="connsiteX136" fmla="*/ 89074 w 758885"/>
                                                                                        <a:gd name="connsiteY136" fmla="*/ 187563 h 639664"/>
                                                                                        <a:gd name="connsiteX137" fmla="*/ 99272 w 758885"/>
                                                                                        <a:gd name="connsiteY137" fmla="*/ 194362 h 639664"/>
                                                                                        <a:gd name="connsiteX138" fmla="*/ 133265 w 758885"/>
                                                                                        <a:gd name="connsiteY138" fmla="*/ 201160 h 639664"/>
                                                                                        <a:gd name="connsiteX139" fmla="*/ 153660 w 758885"/>
                                                                                        <a:gd name="connsiteY139" fmla="*/ 207959 h 639664"/>
                                                                                        <a:gd name="connsiteX140" fmla="*/ 167257 w 758885"/>
                                                                                        <a:gd name="connsiteY140" fmla="*/ 228354 h 639664"/>
                                                                                        <a:gd name="connsiteX141" fmla="*/ 177455 w 758885"/>
                                                                                        <a:gd name="connsiteY141" fmla="*/ 238552 h 639664"/>
                                                                                        <a:gd name="connsiteX142" fmla="*/ 184254 w 758885"/>
                                                                                        <a:gd name="connsiteY142" fmla="*/ 248750 h 639664"/>
                                                                                        <a:gd name="connsiteX143" fmla="*/ 194451 w 758885"/>
                                                                                        <a:gd name="connsiteY143" fmla="*/ 252149 h 639664"/>
                                                                                        <a:gd name="connsiteX144" fmla="*/ 204649 w 758885"/>
                                                                                        <a:gd name="connsiteY144" fmla="*/ 245351 h 639664"/>
                                                                                        <a:gd name="connsiteX145" fmla="*/ 191052 w 758885"/>
                                                                                        <a:gd name="connsiteY145" fmla="*/ 228354 h 639664"/>
                                                                                        <a:gd name="connsiteX146" fmla="*/ 187653 w 758885"/>
                                                                                        <a:gd name="connsiteY146" fmla="*/ 218157 h 639664"/>
                                                                                        <a:gd name="connsiteX147" fmla="*/ 174056 w 758885"/>
                                                                                        <a:gd name="connsiteY147" fmla="*/ 197761 h 639664"/>
                                                                                        <a:gd name="connsiteX148" fmla="*/ 184254 w 758885"/>
                                                                                        <a:gd name="connsiteY148" fmla="*/ 190963 h 639664"/>
                                                                                        <a:gd name="connsiteX149" fmla="*/ 204649 w 758885"/>
                                                                                        <a:gd name="connsiteY149" fmla="*/ 180765 h 639664"/>
                                                                                        <a:gd name="connsiteX150" fmla="*/ 211448 w 758885"/>
                                                                                        <a:gd name="connsiteY150" fmla="*/ 167168 h 639664"/>
                                                                                        <a:gd name="connsiteX151" fmla="*/ 187653 w 758885"/>
                                                                                        <a:gd name="connsiteY151" fmla="*/ 126377 h 639664"/>
                                                                                        <a:gd name="connsiteX152" fmla="*/ 177455 w 758885"/>
                                                                                        <a:gd name="connsiteY152" fmla="*/ 119578 h 639664"/>
                                                                                        <a:gd name="connsiteX153" fmla="*/ 126466 w 758885"/>
                                                                                        <a:gd name="connsiteY153" fmla="*/ 102582 h 639664"/>
                                                                                        <a:gd name="connsiteX154" fmla="*/ 116268 w 758885"/>
                                                                                        <a:gd name="connsiteY154" fmla="*/ 99183 h 639664"/>
                                                                                        <a:gd name="connsiteX155" fmla="*/ 106071 w 758885"/>
                                                                                        <a:gd name="connsiteY155" fmla="*/ 95783 h 639664"/>
                                                                                        <a:gd name="connsiteX156" fmla="*/ 102671 w 758885"/>
                                                                                        <a:gd name="connsiteY156" fmla="*/ 85586 h 639664"/>
                                                                                        <a:gd name="connsiteX157" fmla="*/ 92474 w 758885"/>
                                                                                        <a:gd name="connsiteY157" fmla="*/ 78787 h 639664"/>
                                                                                        <a:gd name="connsiteX158" fmla="*/ 85675 w 758885"/>
                                                                                        <a:gd name="connsiteY158" fmla="*/ 68589 h 639664"/>
                                                                                        <a:gd name="connsiteX159" fmla="*/ 89074 w 758885"/>
                                                                                        <a:gd name="connsiteY159" fmla="*/ 58392 h 639664"/>
                                                                                        <a:gd name="connsiteX160" fmla="*/ 106071 w 758885"/>
                                                                                        <a:gd name="connsiteY160" fmla="*/ 65190 h 639664"/>
                                                                                        <a:gd name="connsiteX161" fmla="*/ 116268 w 758885"/>
                                                                                        <a:gd name="connsiteY161" fmla="*/ 68589 h 639664"/>
                                                                                        <a:gd name="connsiteX162" fmla="*/ 119668 w 758885"/>
                                                                                        <a:gd name="connsiteY162" fmla="*/ 58392 h 639664"/>
                                                                                        <a:gd name="connsiteX163" fmla="*/ 123067 w 758885"/>
                                                                                        <a:gd name="connsiteY163" fmla="*/ 34597 h 639664"/>
                                                                                        <a:gd name="connsiteX164" fmla="*/ 133265 w 758885"/>
                                                                                        <a:gd name="connsiteY164" fmla="*/ 37996 h 639664"/>
                                                                                        <a:gd name="connsiteX165" fmla="*/ 136664 w 758885"/>
                                                                                        <a:gd name="connsiteY165" fmla="*/ 48194 h 639664"/>
                                                                                        <a:gd name="connsiteX166" fmla="*/ 146862 w 758885"/>
                                                                                        <a:gd name="connsiteY166" fmla="*/ 58392 h 639664"/>
                                                                                        <a:gd name="connsiteX167" fmla="*/ 153660 w 758885"/>
                                                                                        <a:gd name="connsiteY167" fmla="*/ 68589 h 639664"/>
                                                                                        <a:gd name="connsiteX168" fmla="*/ 163858 w 758885"/>
                                                                                        <a:gd name="connsiteY168" fmla="*/ 65190 h 639664"/>
                                                                                        <a:gd name="connsiteX169" fmla="*/ 167257 w 758885"/>
                                                                                        <a:gd name="connsiteY169" fmla="*/ 48194 h 639664"/>
                                                                                        <a:gd name="connsiteX170" fmla="*/ 174056 w 758885"/>
                                                                                        <a:gd name="connsiteY170" fmla="*/ 37996 h 639664"/>
                                                                                        <a:gd name="connsiteX171" fmla="*/ 177455 w 758885"/>
                                                                                        <a:gd name="connsiteY171" fmla="*/ 10802 h 639664"/>
                                                                                        <a:gd name="connsiteX172" fmla="*/ 187653 w 758885"/>
                                                                                        <a:gd name="connsiteY172" fmla="*/ 7403 h 639664"/>
                                                                                        <a:gd name="connsiteX173" fmla="*/ 218246 w 758885"/>
                                                                                        <a:gd name="connsiteY173" fmla="*/ 10802 h 639664"/>
                                                                                        <a:gd name="connsiteX174" fmla="*/ 221645 w 758885"/>
                                                                                        <a:gd name="connsiteY174" fmla="*/ 44794 h 639664"/>
                                                                                        <a:gd name="connsiteX175" fmla="*/ 218246 w 758885"/>
                                                                                        <a:gd name="connsiteY175" fmla="*/ 54992 h 639664"/>
                                                                                        <a:gd name="connsiteX176" fmla="*/ 235242 w 758885"/>
                                                                                        <a:gd name="connsiteY176" fmla="*/ 58392 h 639664"/>
                                                                                        <a:gd name="connsiteX177" fmla="*/ 228444 w 758885"/>
                                                                                        <a:gd name="connsiteY177" fmla="*/ 68589 h 639664"/>
                                                                                        <a:gd name="connsiteX178" fmla="*/ 231843 w 758885"/>
                                                                                        <a:gd name="connsiteY178" fmla="*/ 78787 h 639664"/>
                                                                                        <a:gd name="connsiteX179" fmla="*/ 252239 w 758885"/>
                                                                                        <a:gd name="connsiteY179" fmla="*/ 88985 h 639664"/>
                                                                                        <a:gd name="connsiteX180" fmla="*/ 259037 w 758885"/>
                                                                                        <a:gd name="connsiteY180" fmla="*/ 65190 h 639664"/>
                                                                                        <a:gd name="connsiteX181" fmla="*/ 248839 w 758885"/>
                                                                                        <a:gd name="connsiteY181" fmla="*/ 41395 h 639664"/>
                                                                                        <a:gd name="connsiteX182" fmla="*/ 238642 w 758885"/>
                                                                                        <a:gd name="connsiteY182" fmla="*/ 34597 h 639664"/>
                                                                                        <a:gd name="connsiteX183" fmla="*/ 262436 w 758885"/>
                                                                                        <a:gd name="connsiteY183" fmla="*/ 24399 h 639664"/>
                                                                                        <a:gd name="connsiteX184" fmla="*/ 269235 w 758885"/>
                                                                                        <a:gd name="connsiteY184" fmla="*/ 14201 h 639664"/>
                                                                                        <a:gd name="connsiteX185" fmla="*/ 272634 w 758885"/>
                                                                                        <a:gd name="connsiteY185" fmla="*/ 4003 h 639664"/>
                                                                                        <a:gd name="connsiteX186" fmla="*/ 293030 w 758885"/>
                                                                                        <a:gd name="connsiteY186" fmla="*/ 7403 h 639664"/>
                                                                                        <a:gd name="connsiteX187" fmla="*/ 303228 w 758885"/>
                                                                                        <a:gd name="connsiteY187" fmla="*/ 10802 h 639664"/>
                                                                                        <a:gd name="connsiteX188" fmla="*/ 310026 w 758885"/>
                                                                                        <a:gd name="connsiteY188" fmla="*/ 58392 h 639664"/>
                                                                                        <a:gd name="connsiteX189" fmla="*/ 316825 w 758885"/>
                                                                                        <a:gd name="connsiteY189" fmla="*/ 78787 h 639664"/>
                                                                                        <a:gd name="connsiteX190" fmla="*/ 320224 w 758885"/>
                                                                                        <a:gd name="connsiteY190" fmla="*/ 88985 h 639664"/>
                                                                                        <a:gd name="connsiteX191" fmla="*/ 316825 w 758885"/>
                                                                                        <a:gd name="connsiteY191" fmla="*/ 122977 h 639664"/>
                                                                                        <a:gd name="connsiteX192" fmla="*/ 296429 w 758885"/>
                                                                                        <a:gd name="connsiteY192" fmla="*/ 136574 h 639664"/>
                                                                                        <a:gd name="connsiteX193" fmla="*/ 286231 w 758885"/>
                                                                                        <a:gd name="connsiteY193" fmla="*/ 143373 h 639664"/>
                                                                                        <a:gd name="connsiteX194" fmla="*/ 276034 w 758885"/>
                                                                                        <a:gd name="connsiteY194" fmla="*/ 150171 h 639664"/>
                                                                                        <a:gd name="connsiteX195" fmla="*/ 272634 w 758885"/>
                                                                                        <a:gd name="connsiteY195" fmla="*/ 150171 h 63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58885" h="639664">
                                                                                          <a:moveTo>
                                                                                            <a:pt x="272634" y="150171"/>
                                                                                          </a:moveTo>
                                                                                          <a:lnTo>
                                                                                            <a:pt x="272634" y="150171"/>
                                                                                          </a:lnTo>
                                                                                          <a:cubicBezTo>
                                                                                            <a:pt x="270520" y="169201"/>
                                                                                            <a:pt x="270165" y="180448"/>
                                                                                            <a:pt x="265836" y="197761"/>
                                                                                          </a:cubicBezTo>
                                                                                          <a:cubicBezTo>
                                                                                            <a:pt x="261564" y="214846"/>
                                                                                            <a:pt x="263944" y="201544"/>
                                                                                            <a:pt x="255638" y="218157"/>
                                                                                          </a:cubicBezTo>
                                                                                          <a:cubicBezTo>
                                                                                            <a:pt x="254036" y="221362"/>
                                                                                            <a:pt x="253372" y="224955"/>
                                                                                            <a:pt x="252239" y="228354"/>
                                                                                          </a:cubicBezTo>
                                                                                          <a:cubicBezTo>
                                                                                            <a:pt x="255638" y="230620"/>
                                                                                            <a:pt x="258406" y="234481"/>
                                                                                            <a:pt x="262436" y="235153"/>
                                                                                          </a:cubicBezTo>
                                                                                          <a:cubicBezTo>
                                                                                            <a:pt x="276832" y="237553"/>
                                                                                            <a:pt x="270702" y="228221"/>
                                                                                            <a:pt x="276034" y="221556"/>
                                                                                          </a:cubicBezTo>
                                                                                          <a:cubicBezTo>
                                                                                            <a:pt x="278586" y="218366"/>
                                                                                            <a:pt x="282498" y="216416"/>
                                                                                            <a:pt x="286231" y="214757"/>
                                                                                          </a:cubicBezTo>
                                                                                          <a:cubicBezTo>
                                                                                            <a:pt x="292780" y="211846"/>
                                                                                            <a:pt x="306627" y="207959"/>
                                                                                            <a:pt x="306627" y="207959"/>
                                                                                          </a:cubicBezTo>
                                                                                          <a:cubicBezTo>
                                                                                            <a:pt x="310026" y="209092"/>
                                                                                            <a:pt x="315494" y="208031"/>
                                                                                            <a:pt x="316825" y="211358"/>
                                                                                          </a:cubicBezTo>
                                                                                          <a:cubicBezTo>
                                                                                            <a:pt x="318560" y="215696"/>
                                                                                            <a:pt x="313425" y="220283"/>
                                                                                            <a:pt x="313425" y="224955"/>
                                                                                          </a:cubicBezTo>
                                                                                          <a:cubicBezTo>
                                                                                            <a:pt x="313425" y="230733"/>
                                                                                            <a:pt x="315692" y="236286"/>
                                                                                            <a:pt x="316825" y="241951"/>
                                                                                          </a:cubicBezTo>
                                                                                          <a:cubicBezTo>
                                                                                            <a:pt x="316943" y="241922"/>
                                                                                            <a:pt x="338993" y="236779"/>
                                                                                            <a:pt x="340619" y="235153"/>
                                                                                          </a:cubicBezTo>
                                                                                          <a:cubicBezTo>
                                                                                            <a:pt x="358748" y="217024"/>
                                                                                            <a:pt x="327026" y="230619"/>
                                                                                            <a:pt x="354216" y="221556"/>
                                                                                          </a:cubicBezTo>
                                                                                          <a:cubicBezTo>
                                                                                            <a:pt x="356482" y="214757"/>
                                                                                            <a:pt x="357040" y="207123"/>
                                                                                            <a:pt x="361015" y="201160"/>
                                                                                          </a:cubicBezTo>
                                                                                          <a:cubicBezTo>
                                                                                            <a:pt x="363281" y="197761"/>
                                                                                            <a:pt x="365986" y="194617"/>
                                                                                            <a:pt x="367813" y="190963"/>
                                                                                          </a:cubicBezTo>
                                                                                          <a:cubicBezTo>
                                                                                            <a:pt x="369416" y="187758"/>
                                                                                            <a:pt x="368975" y="183563"/>
                                                                                            <a:pt x="371213" y="180765"/>
                                                                                          </a:cubicBezTo>
                                                                                          <a:cubicBezTo>
                                                                                            <a:pt x="373765" y="177575"/>
                                                                                            <a:pt x="378011" y="176232"/>
                                                                                            <a:pt x="381410" y="173966"/>
                                                                                          </a:cubicBezTo>
                                                                                          <a:cubicBezTo>
                                                                                            <a:pt x="382971" y="169285"/>
                                                                                            <a:pt x="385398" y="155048"/>
                                                                                            <a:pt x="395007" y="156970"/>
                                                                                          </a:cubicBezTo>
                                                                                          <a:cubicBezTo>
                                                                                            <a:pt x="399013" y="157771"/>
                                                                                            <a:pt x="399540" y="163769"/>
                                                                                            <a:pt x="401806" y="167168"/>
                                                                                          </a:cubicBezTo>
                                                                                          <a:cubicBezTo>
                                                                                            <a:pt x="401318" y="172539"/>
                                                                                            <a:pt x="394126" y="222155"/>
                                                                                            <a:pt x="401806" y="231754"/>
                                                                                          </a:cubicBezTo>
                                                                                          <a:cubicBezTo>
                                                                                            <a:pt x="404809" y="235508"/>
                                                                                            <a:pt x="408605" y="224955"/>
                                                                                            <a:pt x="412004" y="221556"/>
                                                                                          </a:cubicBezTo>
                                                                                          <a:cubicBezTo>
                                                                                            <a:pt x="414429" y="214281"/>
                                                                                            <a:pt x="415999" y="206588"/>
                                                                                            <a:pt x="422202" y="201160"/>
                                                                                          </a:cubicBezTo>
                                                                                          <a:cubicBezTo>
                                                                                            <a:pt x="428351" y="195780"/>
                                                                                            <a:pt x="442597" y="187563"/>
                                                                                            <a:pt x="442597" y="187563"/>
                                                                                          </a:cubicBezTo>
                                                                                          <a:cubicBezTo>
                                                                                            <a:pt x="448262" y="188696"/>
                                                                                            <a:pt x="454333" y="188572"/>
                                                                                            <a:pt x="459593" y="190963"/>
                                                                                          </a:cubicBezTo>
                                                                                          <a:cubicBezTo>
                                                                                            <a:pt x="467031" y="194344"/>
                                                                                            <a:pt x="479989" y="204560"/>
                                                                                            <a:pt x="479989" y="204560"/>
                                                                                          </a:cubicBezTo>
                                                                                          <a:cubicBezTo>
                                                                                            <a:pt x="488076" y="228822"/>
                                                                                            <a:pt x="481668" y="206918"/>
                                                                                            <a:pt x="486787" y="255548"/>
                                                                                          </a:cubicBezTo>
                                                                                          <a:cubicBezTo>
                                                                                            <a:pt x="487626" y="263516"/>
                                                                                            <a:pt x="489054" y="271411"/>
                                                                                            <a:pt x="490187" y="279343"/>
                                                                                          </a:cubicBezTo>
                                                                                          <a:lnTo>
                                                                                            <a:pt x="500384" y="248750"/>
                                                                                          </a:lnTo>
                                                                                          <a:cubicBezTo>
                                                                                            <a:pt x="501517" y="245351"/>
                                                                                            <a:pt x="501796" y="241534"/>
                                                                                            <a:pt x="503784" y="238552"/>
                                                                                          </a:cubicBezTo>
                                                                                          <a:lnTo>
                                                                                            <a:pt x="510582" y="228354"/>
                                                                                          </a:lnTo>
                                                                                          <a:cubicBezTo>
                                                                                            <a:pt x="515114" y="229487"/>
                                                                                            <a:pt x="520663" y="228678"/>
                                                                                            <a:pt x="524179" y="231754"/>
                                                                                          </a:cubicBezTo>
                                                                                          <a:cubicBezTo>
                                                                                            <a:pt x="530328" y="237134"/>
                                                                                            <a:pt x="537776" y="252149"/>
                                                                                            <a:pt x="537776" y="252149"/>
                                                                                          </a:cubicBezTo>
                                                                                          <a:cubicBezTo>
                                                                                            <a:pt x="538909" y="256681"/>
                                                                                            <a:pt x="537439" y="262943"/>
                                                                                            <a:pt x="541176" y="265746"/>
                                                                                          </a:cubicBezTo>
                                                                                          <a:cubicBezTo>
                                                                                            <a:pt x="544042" y="267896"/>
                                                                                            <a:pt x="547897" y="263216"/>
                                                                                            <a:pt x="551373" y="262347"/>
                                                                                          </a:cubicBezTo>
                                                                                          <a:cubicBezTo>
                                                                                            <a:pt x="556978" y="260946"/>
                                                                                            <a:pt x="562730" y="260201"/>
                                                                                            <a:pt x="568370" y="258948"/>
                                                                                          </a:cubicBezTo>
                                                                                          <a:cubicBezTo>
                                                                                            <a:pt x="572931" y="257934"/>
                                                                                            <a:pt x="577435" y="256681"/>
                                                                                            <a:pt x="581967" y="255548"/>
                                                                                          </a:cubicBezTo>
                                                                                          <a:cubicBezTo>
                                                                                            <a:pt x="586499" y="256681"/>
                                                                                            <a:pt x="592048" y="255872"/>
                                                                                            <a:pt x="595564" y="258948"/>
                                                                                          </a:cubicBezTo>
                                                                                          <a:cubicBezTo>
                                                                                            <a:pt x="601713" y="264328"/>
                                                                                            <a:pt x="609161" y="279343"/>
                                                                                            <a:pt x="609161" y="279343"/>
                                                                                          </a:cubicBezTo>
                                                                                          <a:cubicBezTo>
                                                                                            <a:pt x="615959" y="278210"/>
                                                                                            <a:pt x="622828" y="277439"/>
                                                                                            <a:pt x="629556" y="275944"/>
                                                                                          </a:cubicBezTo>
                                                                                          <a:cubicBezTo>
                                                                                            <a:pt x="633054" y="275167"/>
                                                                                            <a:pt x="637220" y="275079"/>
                                                                                            <a:pt x="639754" y="272545"/>
                                                                                          </a:cubicBezTo>
                                                                                          <a:cubicBezTo>
                                                                                            <a:pt x="667027" y="245272"/>
                                                                                            <a:pt x="640473" y="256441"/>
                                                                                            <a:pt x="663549" y="248750"/>
                                                                                          </a:cubicBezTo>
                                                                                          <a:cubicBezTo>
                                                                                            <a:pt x="665815" y="245351"/>
                                                                                            <a:pt x="666554" y="240069"/>
                                                                                            <a:pt x="670347" y="238552"/>
                                                                                          </a:cubicBezTo>
                                                                                          <a:cubicBezTo>
                                                                                            <a:pt x="674746" y="236792"/>
                                                                                            <a:pt x="688595" y="247318"/>
                                                                                            <a:pt x="690743" y="248750"/>
                                                                                          </a:cubicBezTo>
                                                                                          <a:cubicBezTo>
                                                                                            <a:pt x="691876" y="256682"/>
                                                                                            <a:pt x="693303" y="264577"/>
                                                                                            <a:pt x="694142" y="272545"/>
                                                                                          </a:cubicBezTo>
                                                                                          <a:cubicBezTo>
                                                                                            <a:pt x="695570" y="286114"/>
                                                                                            <a:pt x="691895" y="300915"/>
                                                                                            <a:pt x="697541" y="313336"/>
                                                                                          </a:cubicBezTo>
                                                                                          <a:cubicBezTo>
                                                                                            <a:pt x="699474" y="317589"/>
                                                                                            <a:pt x="706606" y="311070"/>
                                                                                            <a:pt x="711138" y="309937"/>
                                                                                          </a:cubicBezTo>
                                                                                          <a:cubicBezTo>
                                                                                            <a:pt x="724735" y="311070"/>
                                                                                            <a:pt x="738810" y="309588"/>
                                                                                            <a:pt x="751929" y="313336"/>
                                                                                          </a:cubicBezTo>
                                                                                          <a:cubicBezTo>
                                                                                            <a:pt x="755857" y="314458"/>
                                                                                            <a:pt x="759719" y="319570"/>
                                                                                            <a:pt x="758728" y="323534"/>
                                                                                          </a:cubicBezTo>
                                                                                          <a:cubicBezTo>
                                                                                            <a:pt x="757859" y="327010"/>
                                                                                            <a:pt x="751735" y="325331"/>
                                                                                            <a:pt x="748530" y="326933"/>
                                                                                          </a:cubicBezTo>
                                                                                          <a:cubicBezTo>
                                                                                            <a:pt x="744876" y="328760"/>
                                                                                            <a:pt x="741731" y="331465"/>
                                                                                            <a:pt x="738332" y="333731"/>
                                                                                          </a:cubicBezTo>
                                                                                          <a:cubicBezTo>
                                                                                            <a:pt x="737199" y="337130"/>
                                                                                            <a:pt x="736535" y="340724"/>
                                                                                            <a:pt x="734933" y="343929"/>
                                                                                          </a:cubicBezTo>
                                                                                          <a:cubicBezTo>
                                                                                            <a:pt x="733106" y="347583"/>
                                                                                            <a:pt x="728135" y="350042"/>
                                                                                            <a:pt x="728135" y="354127"/>
                                                                                          </a:cubicBezTo>
                                                                                          <a:cubicBezTo>
                                                                                            <a:pt x="728135" y="358212"/>
                                                                                            <a:pt x="732667" y="360926"/>
                                                                                            <a:pt x="734933" y="364325"/>
                                                                                          </a:cubicBezTo>
                                                                                          <a:cubicBezTo>
                                                                                            <a:pt x="733800" y="367724"/>
                                                                                            <a:pt x="734067" y="371989"/>
                                                                                            <a:pt x="731534" y="374522"/>
                                                                                          </a:cubicBezTo>
                                                                                          <a:cubicBezTo>
                                                                                            <a:pt x="729000" y="377056"/>
                                                                                            <a:pt x="724541" y="376320"/>
                                                                                            <a:pt x="721336" y="377922"/>
                                                                                          </a:cubicBezTo>
                                                                                          <a:cubicBezTo>
                                                                                            <a:pt x="717682" y="379749"/>
                                                                                            <a:pt x="714537" y="382454"/>
                                                                                            <a:pt x="711138" y="384720"/>
                                                                                          </a:cubicBezTo>
                                                                                          <a:cubicBezTo>
                                                                                            <a:pt x="707218" y="396480"/>
                                                                                            <a:pt x="703959" y="400956"/>
                                                                                            <a:pt x="711138" y="415313"/>
                                                                                          </a:cubicBezTo>
                                                                                          <a:cubicBezTo>
                                                                                            <a:pt x="712965" y="418967"/>
                                                                                            <a:pt x="717937" y="419846"/>
                                                                                            <a:pt x="721336" y="422112"/>
                                                                                          </a:cubicBezTo>
                                                                                          <a:cubicBezTo>
                                                                                            <a:pt x="722469" y="425511"/>
                                                                                            <a:pt x="725324" y="428776"/>
                                                                                            <a:pt x="724735" y="432310"/>
                                                                                          </a:cubicBezTo>
                                                                                          <a:cubicBezTo>
                                                                                            <a:pt x="722651" y="444813"/>
                                                                                            <a:pt x="715935" y="441810"/>
                                                                                            <a:pt x="707739" y="445907"/>
                                                                                          </a:cubicBezTo>
                                                                                          <a:cubicBezTo>
                                                                                            <a:pt x="704085" y="447734"/>
                                                                                            <a:pt x="700940" y="450439"/>
                                                                                            <a:pt x="697541" y="452705"/>
                                                                                          </a:cubicBezTo>
                                                                                          <a:cubicBezTo>
                                                                                            <a:pt x="695275" y="456104"/>
                                                                                            <a:pt x="686950" y="461386"/>
                                                                                            <a:pt x="690743" y="462903"/>
                                                                                          </a:cubicBezTo>
                                                                                          <a:cubicBezTo>
                                                                                            <a:pt x="697845" y="465744"/>
                                                                                            <a:pt x="715988" y="459021"/>
                                                                                            <a:pt x="724735" y="456105"/>
                                                                                          </a:cubicBezTo>
                                                                                          <a:cubicBezTo>
                                                                                            <a:pt x="741731" y="461770"/>
                                                                                            <a:pt x="733800" y="456105"/>
                                                                                            <a:pt x="741732" y="479899"/>
                                                                                          </a:cubicBezTo>
                                                                                          <a:lnTo>
                                                                                            <a:pt x="745131" y="490097"/>
                                                                                          </a:lnTo>
                                                                                          <a:cubicBezTo>
                                                                                            <a:pt x="737476" y="513063"/>
                                                                                            <a:pt x="748093" y="488169"/>
                                                                                            <a:pt x="731534" y="507093"/>
                                                                                          </a:cubicBezTo>
                                                                                          <a:cubicBezTo>
                                                                                            <a:pt x="726153" y="513242"/>
                                                                                            <a:pt x="717937" y="527489"/>
                                                                                            <a:pt x="717937" y="527489"/>
                                                                                          </a:cubicBezTo>
                                                                                          <a:cubicBezTo>
                                                                                            <a:pt x="716804" y="538820"/>
                                                                                            <a:pt x="717099" y="550385"/>
                                                                                            <a:pt x="714538" y="561481"/>
                                                                                          </a:cubicBezTo>
                                                                                          <a:cubicBezTo>
                                                                                            <a:pt x="711548" y="574435"/>
                                                                                            <a:pt x="706530" y="570584"/>
                                                                                            <a:pt x="697541" y="575079"/>
                                                                                          </a:cubicBezTo>
                                                                                          <a:cubicBezTo>
                                                                                            <a:pt x="671191" y="588255"/>
                                                                                            <a:pt x="702773" y="576734"/>
                                                                                            <a:pt x="677146" y="585276"/>
                                                                                          </a:cubicBezTo>
                                                                                          <a:cubicBezTo>
                                                                                            <a:pt x="674880" y="588675"/>
                                                                                            <a:pt x="673811" y="593309"/>
                                                                                            <a:pt x="670347" y="595474"/>
                                                                                          </a:cubicBezTo>
                                                                                          <a:cubicBezTo>
                                                                                            <a:pt x="664270" y="599272"/>
                                                                                            <a:pt x="656750" y="600007"/>
                                                                                            <a:pt x="649952" y="602273"/>
                                                                                          </a:cubicBezTo>
                                                                                          <a:lnTo>
                                                                                            <a:pt x="639754" y="605672"/>
                                                                                          </a:lnTo>
                                                                                          <a:cubicBezTo>
                                                                                            <a:pt x="636355" y="606805"/>
                                                                                            <a:pt x="633070" y="608368"/>
                                                                                            <a:pt x="629556" y="609071"/>
                                                                                          </a:cubicBezTo>
                                                                                          <a:lnTo>
                                                                                            <a:pt x="612560" y="612470"/>
                                                                                          </a:lnTo>
                                                                                          <a:cubicBezTo>
                                                                                            <a:pt x="605761" y="617002"/>
                                                                                            <a:pt x="599916" y="623483"/>
                                                                                            <a:pt x="592164" y="626067"/>
                                                                                          </a:cubicBezTo>
                                                                                          <a:cubicBezTo>
                                                                                            <a:pt x="567893" y="634158"/>
                                                                                            <a:pt x="577732" y="628891"/>
                                                                                            <a:pt x="561571" y="639664"/>
                                                                                          </a:cubicBezTo>
                                                                                          <a:cubicBezTo>
                                                                                            <a:pt x="552506" y="638531"/>
                                                                                            <a:pt x="542980" y="639337"/>
                                                                                            <a:pt x="534377" y="636265"/>
                                                                                          </a:cubicBezTo>
                                                                                          <a:cubicBezTo>
                                                                                            <a:pt x="526682" y="633517"/>
                                                                                            <a:pt x="513981" y="622668"/>
                                                                                            <a:pt x="513981" y="622668"/>
                                                                                          </a:cubicBezTo>
                                                                                          <a:cubicBezTo>
                                                                                            <a:pt x="493586" y="623801"/>
                                                                                            <a:pt x="473064" y="623533"/>
                                                                                            <a:pt x="452795" y="626067"/>
                                                                                          </a:cubicBezTo>
                                                                                          <a:cubicBezTo>
                                                                                            <a:pt x="445684" y="626956"/>
                                                                                            <a:pt x="439198" y="630600"/>
                                                                                            <a:pt x="432399" y="632866"/>
                                                                                          </a:cubicBezTo>
                                                                                          <a:cubicBezTo>
                                                                                            <a:pt x="417772" y="637742"/>
                                                                                            <a:pt x="425675" y="635397"/>
                                                                                            <a:pt x="408605" y="639664"/>
                                                                                          </a:cubicBezTo>
                                                                                          <a:cubicBezTo>
                                                                                            <a:pt x="392742" y="638531"/>
                                                                                            <a:pt x="376677" y="639029"/>
                                                                                            <a:pt x="361015" y="636265"/>
                                                                                          </a:cubicBezTo>
                                                                                          <a:cubicBezTo>
                                                                                            <a:pt x="356992" y="635555"/>
                                                                                            <a:pt x="354550" y="631126"/>
                                                                                            <a:pt x="350817" y="629467"/>
                                                                                          </a:cubicBezTo>
                                                                                          <a:cubicBezTo>
                                                                                            <a:pt x="350803" y="629461"/>
                                                                                            <a:pt x="325330" y="620971"/>
                                                                                            <a:pt x="320224" y="619269"/>
                                                                                          </a:cubicBezTo>
                                                                                          <a:lnTo>
                                                                                            <a:pt x="310026" y="615870"/>
                                                                                          </a:lnTo>
                                                                                          <a:cubicBezTo>
                                                                                            <a:pt x="306627" y="617003"/>
                                                                                            <a:pt x="303033" y="617667"/>
                                                                                            <a:pt x="299828" y="619269"/>
                                                                                          </a:cubicBezTo>
                                                                                          <a:cubicBezTo>
                                                                                            <a:pt x="296174" y="621096"/>
                                                                                            <a:pt x="293364" y="624408"/>
                                                                                            <a:pt x="289631" y="626067"/>
                                                                                          </a:cubicBezTo>
                                                                                          <a:cubicBezTo>
                                                                                            <a:pt x="283082" y="628978"/>
                                                                                            <a:pt x="269235" y="632866"/>
                                                                                            <a:pt x="269235" y="632866"/>
                                                                                          </a:cubicBezTo>
                                                                                          <a:cubicBezTo>
                                                                                            <a:pt x="255638" y="631733"/>
                                                                                            <a:pt x="241823" y="632143"/>
                                                                                            <a:pt x="228444" y="629467"/>
                                                                                          </a:cubicBezTo>
                                                                                          <a:cubicBezTo>
                                                                                            <a:pt x="209580" y="625694"/>
                                                                                            <a:pt x="224524" y="622147"/>
                                                                                            <a:pt x="214847" y="612470"/>
                                                                                          </a:cubicBezTo>
                                                                                          <a:cubicBezTo>
                                                                                            <a:pt x="212313" y="609936"/>
                                                                                            <a:pt x="208048" y="610204"/>
                                                                                            <a:pt x="204649" y="609071"/>
                                                                                          </a:cubicBezTo>
                                                                                          <a:cubicBezTo>
                                                                                            <a:pt x="198881" y="591765"/>
                                                                                            <a:pt x="205885" y="603715"/>
                                                                                            <a:pt x="191052" y="595474"/>
                                                                                          </a:cubicBezTo>
                                                                                          <a:cubicBezTo>
                                                                                            <a:pt x="183910" y="591506"/>
                                                                                            <a:pt x="170657" y="581877"/>
                                                                                            <a:pt x="170657" y="581877"/>
                                                                                          </a:cubicBezTo>
                                                                                          <a:cubicBezTo>
                                                                                            <a:pt x="168391" y="578478"/>
                                                                                            <a:pt x="166747" y="574568"/>
                                                                                            <a:pt x="163858" y="571679"/>
                                                                                          </a:cubicBezTo>
                                                                                          <a:cubicBezTo>
                                                                                            <a:pt x="160969" y="568790"/>
                                                                                            <a:pt x="156350" y="567956"/>
                                                                                            <a:pt x="153660" y="564881"/>
                                                                                          </a:cubicBezTo>
                                                                                          <a:cubicBezTo>
                                                                                            <a:pt x="153652" y="564871"/>
                                                                                            <a:pt x="136668" y="539391"/>
                                                                                            <a:pt x="133265" y="534287"/>
                                                                                          </a:cubicBezTo>
                                                                                          <a:lnTo>
                                                                                            <a:pt x="126466" y="524090"/>
                                                                                          </a:lnTo>
                                                                                          <a:lnTo>
                                                                                            <a:pt x="119668" y="513892"/>
                                                                                          </a:lnTo>
                                                                                          <a:cubicBezTo>
                                                                                            <a:pt x="114530" y="493345"/>
                                                                                            <a:pt x="117744" y="504724"/>
                                                                                            <a:pt x="109470" y="479899"/>
                                                                                          </a:cubicBezTo>
                                                                                          <a:cubicBezTo>
                                                                                            <a:pt x="108337" y="476500"/>
                                                                                            <a:pt x="109052" y="471689"/>
                                                                                            <a:pt x="106071" y="469702"/>
                                                                                          </a:cubicBezTo>
                                                                                          <a:lnTo>
                                                                                            <a:pt x="95873" y="462903"/>
                                                                                          </a:lnTo>
                                                                                          <a:cubicBezTo>
                                                                                            <a:pt x="94740" y="459504"/>
                                                                                            <a:pt x="95008" y="455239"/>
                                                                                            <a:pt x="92474" y="452705"/>
                                                                                          </a:cubicBezTo>
                                                                                          <a:cubicBezTo>
                                                                                            <a:pt x="89940" y="450171"/>
                                                                                            <a:pt x="85481" y="450908"/>
                                                                                            <a:pt x="82276" y="449306"/>
                                                                                          </a:cubicBezTo>
                                                                                          <a:cubicBezTo>
                                                                                            <a:pt x="78622" y="447479"/>
                                                                                            <a:pt x="75477" y="444774"/>
                                                                                            <a:pt x="72078" y="442508"/>
                                                                                          </a:cubicBezTo>
                                                                                          <a:cubicBezTo>
                                                                                            <a:pt x="69812" y="439109"/>
                                                                                            <a:pt x="68355" y="435000"/>
                                                                                            <a:pt x="65280" y="432310"/>
                                                                                          </a:cubicBezTo>
                                                                                          <a:cubicBezTo>
                                                                                            <a:pt x="59131" y="426929"/>
                                                                                            <a:pt x="44884" y="418713"/>
                                                                                            <a:pt x="44884" y="418713"/>
                                                                                          </a:cubicBezTo>
                                                                                          <a:cubicBezTo>
                                                                                            <a:pt x="42618" y="415314"/>
                                                                                            <a:pt x="41550" y="410680"/>
                                                                                            <a:pt x="38086" y="408515"/>
                                                                                          </a:cubicBezTo>
                                                                                          <a:cubicBezTo>
                                                                                            <a:pt x="32009" y="404717"/>
                                                                                            <a:pt x="23653" y="405691"/>
                                                                                            <a:pt x="17690" y="401716"/>
                                                                                          </a:cubicBezTo>
                                                                                          <a:lnTo>
                                                                                            <a:pt x="7492" y="394918"/>
                                                                                          </a:lnTo>
                                                                                          <a:cubicBezTo>
                                                                                            <a:pt x="4228" y="390021"/>
                                                                                            <a:pt x="-5440" y="381331"/>
                                                                                            <a:pt x="4093" y="374522"/>
                                                                                          </a:cubicBezTo>
                                                                                          <a:cubicBezTo>
                                                                                            <a:pt x="9925" y="370357"/>
                                                                                            <a:pt x="24489" y="367724"/>
                                                                                            <a:pt x="24489" y="367724"/>
                                                                                          </a:cubicBezTo>
                                                                                          <a:cubicBezTo>
                                                                                            <a:pt x="50122" y="376268"/>
                                                                                            <a:pt x="18523" y="364742"/>
                                                                                            <a:pt x="44884" y="377922"/>
                                                                                          </a:cubicBezTo>
                                                                                          <a:cubicBezTo>
                                                                                            <a:pt x="48089" y="379524"/>
                                                                                            <a:pt x="51683" y="380188"/>
                                                                                            <a:pt x="55082" y="381321"/>
                                                                                          </a:cubicBezTo>
                                                                                          <a:cubicBezTo>
                                                                                            <a:pt x="61880" y="380188"/>
                                                                                            <a:pt x="68939" y="380102"/>
                                                                                            <a:pt x="75477" y="377922"/>
                                                                                          </a:cubicBezTo>
                                                                                          <a:cubicBezTo>
                                                                                            <a:pt x="92958" y="372095"/>
                                                                                            <a:pt x="79525" y="371284"/>
                                                                                            <a:pt x="92474" y="360925"/>
                                                                                          </a:cubicBezTo>
                                                                                          <a:cubicBezTo>
                                                                                            <a:pt x="95272" y="358687"/>
                                                                                            <a:pt x="99272" y="358659"/>
                                                                                            <a:pt x="102671" y="357526"/>
                                                                                          </a:cubicBezTo>
                                                                                          <a:cubicBezTo>
                                                                                            <a:pt x="104938" y="350726"/>
                                                                                            <a:pt x="109470" y="343930"/>
                                                                                            <a:pt x="102671" y="337131"/>
                                                                                          </a:cubicBezTo>
                                                                                          <a:cubicBezTo>
                                                                                            <a:pt x="100137" y="334597"/>
                                                                                            <a:pt x="95873" y="334864"/>
                                                                                            <a:pt x="92474" y="333731"/>
                                                                                          </a:cubicBezTo>
                                                                                          <a:cubicBezTo>
                                                                                            <a:pt x="91341" y="330332"/>
                                                                                            <a:pt x="87472" y="326739"/>
                                                                                            <a:pt x="89074" y="323534"/>
                                                                                          </a:cubicBezTo>
                                                                                          <a:cubicBezTo>
                                                                                            <a:pt x="92848" y="315984"/>
                                                                                            <a:pt x="114953" y="323175"/>
                                                                                            <a:pt x="116268" y="323534"/>
                                                                                          </a:cubicBezTo>
                                                                                          <a:cubicBezTo>
                                                                                            <a:pt x="123182" y="325420"/>
                                                                                            <a:pt x="136664" y="330332"/>
                                                                                            <a:pt x="136664" y="330332"/>
                                                                                          </a:cubicBezTo>
                                                                                          <a:cubicBezTo>
                                                                                            <a:pt x="142329" y="329199"/>
                                                                                            <a:pt x="150455" y="331740"/>
                                                                                            <a:pt x="153660" y="326933"/>
                                                                                          </a:cubicBezTo>
                                                                                          <a:cubicBezTo>
                                                                                            <a:pt x="156865" y="322126"/>
                                                                                            <a:pt x="153127" y="314953"/>
                                                                                            <a:pt x="150261" y="309937"/>
                                                                                          </a:cubicBezTo>
                                                                                          <a:cubicBezTo>
                                                                                            <a:pt x="148234" y="306390"/>
                                                                                            <a:pt x="143717" y="304965"/>
                                                                                            <a:pt x="140063" y="303138"/>
                                                                                          </a:cubicBezTo>
                                                                                          <a:cubicBezTo>
                                                                                            <a:pt x="131697" y="298955"/>
                                                                                            <a:pt x="117298" y="297644"/>
                                                                                            <a:pt x="109470" y="296339"/>
                                                                                          </a:cubicBezTo>
                                                                                          <a:cubicBezTo>
                                                                                            <a:pt x="111736" y="289541"/>
                                                                                            <a:pt x="120243" y="281907"/>
                                                                                            <a:pt x="116268" y="275944"/>
                                                                                          </a:cubicBezTo>
                                                                                          <a:cubicBezTo>
                                                                                            <a:pt x="100405" y="252149"/>
                                                                                            <a:pt x="109470" y="260080"/>
                                                                                            <a:pt x="92474" y="248750"/>
                                                                                          </a:cubicBezTo>
                                                                                          <a:cubicBezTo>
                                                                                            <a:pt x="90208" y="245351"/>
                                                                                            <a:pt x="87502" y="242206"/>
                                                                                            <a:pt x="85675" y="238552"/>
                                                                                          </a:cubicBezTo>
                                                                                          <a:cubicBezTo>
                                                                                            <a:pt x="80144" y="227490"/>
                                                                                            <a:pt x="85222" y="227902"/>
                                                                                            <a:pt x="75477" y="218157"/>
                                                                                          </a:cubicBezTo>
                                                                                          <a:cubicBezTo>
                                                                                            <a:pt x="72588" y="215268"/>
                                                                                            <a:pt x="69013" y="213017"/>
                                                                                            <a:pt x="65280" y="211358"/>
                                                                                          </a:cubicBezTo>
                                                                                          <a:cubicBezTo>
                                                                                            <a:pt x="54648" y="206633"/>
                                                                                            <a:pt x="42582" y="203984"/>
                                                                                            <a:pt x="31287" y="201160"/>
                                                                                          </a:cubicBezTo>
                                                                                          <a:cubicBezTo>
                                                                                            <a:pt x="32420" y="194362"/>
                                                                                            <a:pt x="31267" y="186749"/>
                                                                                            <a:pt x="34686" y="180765"/>
                                                                                          </a:cubicBezTo>
                                                                                          <a:cubicBezTo>
                                                                                            <a:pt x="36464" y="177654"/>
                                                                                            <a:pt x="41301" y="177365"/>
                                                                                            <a:pt x="44884" y="177365"/>
                                                                                          </a:cubicBezTo>
                                                                                          <a:cubicBezTo>
                                                                                            <a:pt x="52896" y="177365"/>
                                                                                            <a:pt x="60747" y="179632"/>
                                                                                            <a:pt x="68679" y="180765"/>
                                                                                          </a:cubicBezTo>
                                                                                          <a:cubicBezTo>
                                                                                            <a:pt x="75477" y="183031"/>
                                                                                            <a:pt x="83112" y="183588"/>
                                                                                            <a:pt x="89074" y="187563"/>
                                                                                          </a:cubicBezTo>
                                                                                          <a:cubicBezTo>
                                                                                            <a:pt x="92473" y="189829"/>
                                                                                            <a:pt x="95367" y="193161"/>
                                                                                            <a:pt x="99272" y="194362"/>
                                                                                          </a:cubicBezTo>
                                                                                          <a:cubicBezTo>
                                                                                            <a:pt x="110316" y="197760"/>
                                                                                            <a:pt x="122303" y="197506"/>
                                                                                            <a:pt x="133265" y="201160"/>
                                                                                          </a:cubicBezTo>
                                                                                          <a:lnTo>
                                                                                            <a:pt x="153660" y="207959"/>
                                                                                          </a:lnTo>
                                                                                          <a:cubicBezTo>
                                                                                            <a:pt x="158192" y="214757"/>
                                                                                            <a:pt x="161479" y="222576"/>
                                                                                            <a:pt x="167257" y="228354"/>
                                                                                          </a:cubicBezTo>
                                                                                          <a:cubicBezTo>
                                                                                            <a:pt x="170656" y="231753"/>
                                                                                            <a:pt x="174377" y="234859"/>
                                                                                            <a:pt x="177455" y="238552"/>
                                                                                          </a:cubicBezTo>
                                                                                          <a:cubicBezTo>
                                                                                            <a:pt x="180071" y="241691"/>
                                                                                            <a:pt x="181064" y="246198"/>
                                                                                            <a:pt x="184254" y="248750"/>
                                                                                          </a:cubicBezTo>
                                                                                          <a:cubicBezTo>
                                                                                            <a:pt x="187052" y="250988"/>
                                                                                            <a:pt x="191052" y="251016"/>
                                                                                            <a:pt x="194451" y="252149"/>
                                                                                          </a:cubicBezTo>
                                                                                          <a:cubicBezTo>
                                                                                            <a:pt x="197850" y="249883"/>
                                                                                            <a:pt x="203132" y="249144"/>
                                                                                            <a:pt x="204649" y="245351"/>
                                                                                          </a:cubicBezTo>
                                                                                          <a:cubicBezTo>
                                                                                            <a:pt x="208106" y="236709"/>
                                                                                            <a:pt x="194941" y="230947"/>
                                                                                            <a:pt x="191052" y="228354"/>
                                                                                          </a:cubicBezTo>
                                                                                          <a:cubicBezTo>
                                                                                            <a:pt x="189919" y="224955"/>
                                                                                            <a:pt x="189393" y="221289"/>
                                                                                            <a:pt x="187653" y="218157"/>
                                                                                          </a:cubicBezTo>
                                                                                          <a:cubicBezTo>
                                                                                            <a:pt x="183685" y="211014"/>
                                                                                            <a:pt x="174056" y="197761"/>
                                                                                            <a:pt x="174056" y="197761"/>
                                                                                          </a:cubicBezTo>
                                                                                          <a:cubicBezTo>
                                                                                            <a:pt x="177455" y="195495"/>
                                                                                            <a:pt x="180600" y="192790"/>
                                                                                            <a:pt x="184254" y="190963"/>
                                                                                          </a:cubicBezTo>
                                                                                          <a:cubicBezTo>
                                                                                            <a:pt x="212401" y="176889"/>
                                                                                            <a:pt x="175422" y="200248"/>
                                                                                            <a:pt x="204649" y="180765"/>
                                                                                          </a:cubicBezTo>
                                                                                          <a:cubicBezTo>
                                                                                            <a:pt x="192563" y="144503"/>
                                                                                            <a:pt x="205405" y="194364"/>
                                                                                            <a:pt x="211448" y="167168"/>
                                                                                          </a:cubicBezTo>
                                                                                          <a:cubicBezTo>
                                                                                            <a:pt x="217711" y="138984"/>
                                                                                            <a:pt x="206100" y="138675"/>
                                                                                            <a:pt x="187653" y="126377"/>
                                                                                          </a:cubicBezTo>
                                                                                          <a:cubicBezTo>
                                                                                            <a:pt x="184254" y="124111"/>
                                                                                            <a:pt x="181331" y="120870"/>
                                                                                            <a:pt x="177455" y="119578"/>
                                                                                          </a:cubicBezTo>
                                                                                          <a:lnTo>
                                                                                            <a:pt x="126466" y="102582"/>
                                                                                          </a:lnTo>
                                                                                          <a:lnTo>
                                                                                            <a:pt x="116268" y="99183"/>
                                                                                          </a:lnTo>
                                                                                          <a:lnTo>
                                                                                            <a:pt x="106071" y="95783"/>
                                                                                          </a:lnTo>
                                                                                          <a:cubicBezTo>
                                                                                            <a:pt x="104938" y="92384"/>
                                                                                            <a:pt x="104909" y="88384"/>
                                                                                            <a:pt x="102671" y="85586"/>
                                                                                          </a:cubicBezTo>
                                                                                          <a:cubicBezTo>
                                                                                            <a:pt x="100119" y="82396"/>
                                                                                            <a:pt x="95363" y="81676"/>
                                                                                            <a:pt x="92474" y="78787"/>
                                                                                          </a:cubicBezTo>
                                                                                          <a:cubicBezTo>
                                                                                            <a:pt x="89585" y="75898"/>
                                                                                            <a:pt x="87941" y="71988"/>
                                                                                            <a:pt x="85675" y="68589"/>
                                                                                          </a:cubicBezTo>
                                                                                          <a:cubicBezTo>
                                                                                            <a:pt x="86808" y="65190"/>
                                                                                            <a:pt x="86541" y="60925"/>
                                                                                            <a:pt x="89074" y="58392"/>
                                                                                          </a:cubicBezTo>
                                                                                          <a:cubicBezTo>
                                                                                            <a:pt x="100932" y="46534"/>
                                                                                            <a:pt x="99810" y="60181"/>
                                                                                            <a:pt x="106071" y="65190"/>
                                                                                          </a:cubicBezTo>
                                                                                          <a:cubicBezTo>
                                                                                            <a:pt x="108869" y="67428"/>
                                                                                            <a:pt x="112869" y="67456"/>
                                                                                            <a:pt x="116268" y="68589"/>
                                                                                          </a:cubicBezTo>
                                                                                          <a:cubicBezTo>
                                                                                            <a:pt x="117401" y="65190"/>
                                                                                            <a:pt x="118965" y="61905"/>
                                                                                            <a:pt x="119668" y="58392"/>
                                                                                          </a:cubicBezTo>
                                                                                          <a:cubicBezTo>
                                                                                            <a:pt x="121239" y="50535"/>
                                                                                            <a:pt x="118623" y="41264"/>
                                                                                            <a:pt x="123067" y="34597"/>
                                                                                          </a:cubicBezTo>
                                                                                          <a:cubicBezTo>
                                                                                            <a:pt x="125055" y="31616"/>
                                                                                            <a:pt x="129866" y="36863"/>
                                                                                            <a:pt x="133265" y="37996"/>
                                                                                          </a:cubicBezTo>
                                                                                          <a:cubicBezTo>
                                                                                            <a:pt x="134398" y="41395"/>
                                                                                            <a:pt x="134676" y="45213"/>
                                                                                            <a:pt x="136664" y="48194"/>
                                                                                          </a:cubicBezTo>
                                                                                          <a:cubicBezTo>
                                                                                            <a:pt x="139331" y="52194"/>
                                                                                            <a:pt x="143784" y="54699"/>
                                                                                            <a:pt x="146862" y="58392"/>
                                                                                          </a:cubicBezTo>
                                                                                          <a:cubicBezTo>
                                                                                            <a:pt x="149477" y="61530"/>
                                                                                            <a:pt x="151394" y="65190"/>
                                                                                            <a:pt x="153660" y="68589"/>
                                                                                          </a:cubicBezTo>
                                                                                          <a:cubicBezTo>
                                                                                            <a:pt x="157059" y="67456"/>
                                                                                            <a:pt x="161870" y="68171"/>
                                                                                            <a:pt x="163858" y="65190"/>
                                                                                          </a:cubicBezTo>
                                                                                          <a:cubicBezTo>
                                                                                            <a:pt x="167063" y="60383"/>
                                                                                            <a:pt x="165228" y="53604"/>
                                                                                            <a:pt x="167257" y="48194"/>
                                                                                          </a:cubicBezTo>
                                                                                          <a:cubicBezTo>
                                                                                            <a:pt x="168692" y="44369"/>
                                                                                            <a:pt x="171790" y="41395"/>
                                                                                            <a:pt x="174056" y="37996"/>
                                                                                          </a:cubicBezTo>
                                                                                          <a:cubicBezTo>
                                                                                            <a:pt x="175189" y="28931"/>
                                                                                            <a:pt x="173745" y="19150"/>
                                                                                            <a:pt x="177455" y="10802"/>
                                                                                          </a:cubicBezTo>
                                                                                          <a:cubicBezTo>
                                                                                            <a:pt x="178910" y="7528"/>
                                                                                            <a:pt x="184070" y="7403"/>
                                                                                            <a:pt x="187653" y="7403"/>
                                                                                          </a:cubicBezTo>
                                                                                          <a:cubicBezTo>
                                                                                            <a:pt x="197913" y="7403"/>
                                                                                            <a:pt x="208048" y="9669"/>
                                                                                            <a:pt x="218246" y="10802"/>
                                                                                          </a:cubicBezTo>
                                                                                          <a:cubicBezTo>
                                                                                            <a:pt x="225917" y="33813"/>
                                                                                            <a:pt x="227178" y="25429"/>
                                                                                            <a:pt x="221645" y="44794"/>
                                                                                          </a:cubicBezTo>
                                                                                          <a:cubicBezTo>
                                                                                            <a:pt x="220661" y="48239"/>
                                                                                            <a:pt x="219379" y="51593"/>
                                                                                            <a:pt x="218246" y="54992"/>
                                                                                          </a:cubicBezTo>
                                                                                          <a:cubicBezTo>
                                                                                            <a:pt x="223911" y="56125"/>
                                                                                            <a:pt x="231775" y="53770"/>
                                                                                            <a:pt x="235242" y="58392"/>
                                                                                          </a:cubicBezTo>
                                                                                          <a:cubicBezTo>
                                                                                            <a:pt x="237693" y="61660"/>
                                                                                            <a:pt x="229116" y="64559"/>
                                                                                            <a:pt x="228444" y="68589"/>
                                                                                          </a:cubicBezTo>
                                                                                          <a:cubicBezTo>
                                                                                            <a:pt x="227855" y="72123"/>
                                                                                            <a:pt x="229605" y="75989"/>
                                                                                            <a:pt x="231843" y="78787"/>
                                                                                          </a:cubicBezTo>
                                                                                          <a:cubicBezTo>
                                                                                            <a:pt x="236636" y="84778"/>
                                                                                            <a:pt x="245520" y="86746"/>
                                                                                            <a:pt x="252239" y="88985"/>
                                                                                          </a:cubicBezTo>
                                                                                          <a:cubicBezTo>
                                                                                            <a:pt x="253842" y="84176"/>
                                                                                            <a:pt x="259037" y="69458"/>
                                                                                            <a:pt x="259037" y="65190"/>
                                                                                          </a:cubicBezTo>
                                                                                          <a:cubicBezTo>
                                                                                            <a:pt x="259037" y="57387"/>
                                                                                            <a:pt x="254391" y="46947"/>
                                                                                            <a:pt x="248839" y="41395"/>
                                                                                          </a:cubicBezTo>
                                                                                          <a:cubicBezTo>
                                                                                            <a:pt x="245950" y="38506"/>
                                                                                            <a:pt x="242041" y="36863"/>
                                                                                            <a:pt x="238642" y="34597"/>
                                                                                          </a:cubicBezTo>
                                                                                          <a:cubicBezTo>
                                                                                            <a:pt x="245596" y="6781"/>
                                                                                            <a:pt x="234655" y="31345"/>
                                                                                            <a:pt x="262436" y="24399"/>
                                                                                          </a:cubicBezTo>
                                                                                          <a:cubicBezTo>
                                                                                            <a:pt x="266400" y="23408"/>
                                                                                            <a:pt x="266969" y="17600"/>
                                                                                            <a:pt x="269235" y="14201"/>
                                                                                          </a:cubicBezTo>
                                                                                          <a:cubicBezTo>
                                                                                            <a:pt x="270368" y="10802"/>
                                                                                            <a:pt x="270100" y="6537"/>
                                                                                            <a:pt x="272634" y="4003"/>
                                                                                          </a:cubicBezTo>
                                                                                          <a:cubicBezTo>
                                                                                            <a:pt x="281737" y="-5100"/>
                                                                                            <a:pt x="285518" y="3647"/>
                                                                                            <a:pt x="293030" y="7403"/>
                                                                                          </a:cubicBezTo>
                                                                                          <a:cubicBezTo>
                                                                                            <a:pt x="296235" y="9005"/>
                                                                                            <a:pt x="299829" y="9669"/>
                                                                                            <a:pt x="303228" y="10802"/>
                                                                                          </a:cubicBezTo>
                                                                                          <a:cubicBezTo>
                                                                                            <a:pt x="312717" y="39272"/>
                                                                                            <a:pt x="298853" y="-4919"/>
                                                                                            <a:pt x="310026" y="58392"/>
                                                                                          </a:cubicBezTo>
                                                                                          <a:cubicBezTo>
                                                                                            <a:pt x="311271" y="65449"/>
                                                                                            <a:pt x="314559" y="71989"/>
                                                                                            <a:pt x="316825" y="78787"/>
                                                                                          </a:cubicBezTo>
                                                                                          <a:lnTo>
                                                                                            <a:pt x="320224" y="88985"/>
                                                                                          </a:lnTo>
                                                                                          <a:cubicBezTo>
                                                                                            <a:pt x="319091" y="100316"/>
                                                                                            <a:pt x="321918" y="112792"/>
                                                                                            <a:pt x="316825" y="122977"/>
                                                                                          </a:cubicBezTo>
                                                                                          <a:cubicBezTo>
                                                                                            <a:pt x="313171" y="130285"/>
                                                                                            <a:pt x="303228" y="132042"/>
                                                                                            <a:pt x="296429" y="136574"/>
                                                                                          </a:cubicBezTo>
                                                                                          <a:lnTo>
                                                                                            <a:pt x="286231" y="143373"/>
                                                                                          </a:lnTo>
                                                                                          <a:lnTo>
                                                                                            <a:pt x="276034" y="150171"/>
                                                                                          </a:lnTo>
                                                                                          <a:cubicBezTo>
                                                                                            <a:pt x="271559" y="163594"/>
                                                                                            <a:pt x="273201" y="150171"/>
                                                                                            <a:pt x="272634" y="15017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03" name="Group 302"/>
                                                                                    <p:cNvGrpSpPr/>
                                                                                    <p:nvPr/>
                                                                                  </p:nvGrpSpPr>
                                                                                  <p:grpSpPr>
                                                                                    <a:xfrm>
                                                                                      <a:off x="1335697" y="1906983"/>
                                                                                      <a:ext cx="1414302" cy="1784610"/>
                                                                                      <a:chOff x="1335697" y="1906983"/>
                                                                                      <a:chExt cx="1414302" cy="1784610"/>
                                                                                    </a:xfrm>
                                                                                    <a:grpFill/>
                                                                                  </p:grpSpPr>
                                                                                  <p:grpSp>
                                                                                    <p:nvGrpSpPr>
                                                                                      <p:cNvPr id="304" name="Group 303"/>
                                                                                      <p:cNvGrpSpPr/>
                                                                                      <p:nvPr/>
                                                                                    </p:nvGrpSpPr>
                                                                                    <p:grpSpPr>
                                                                                      <a:xfrm>
                                                                                        <a:off x="1335697" y="2627625"/>
                                                                                        <a:ext cx="656267" cy="581273"/>
                                                                                        <a:chOff x="1335697" y="2627625"/>
                                                                                        <a:chExt cx="656267" cy="581273"/>
                                                                                      </a:xfrm>
                                                                                      <a:grpFill/>
                                                                                    </p:grpSpPr>
                                                                                    <p:sp>
                                                                                      <p:nvSpPr>
                                                                                        <p:cNvPr id="328" name="Freeform 327"/>
                                                                                        <p:cNvSpPr/>
                                                                                        <p:nvPr/>
                                                                                      </p:nvSpPr>
                                                                                      <p:spPr>
                                                                                        <a:xfrm>
                                                                                          <a:off x="1335697" y="2627625"/>
                                                                                          <a:ext cx="551798" cy="581273"/>
                                                                                        </a:xfrm>
                                                                                        <a:custGeom>
                                                                                          <a:avLst/>
                                                                                          <a:gdLst>
                                                                                            <a:gd name="connsiteX0" fmla="*/ 503301 w 551798"/>
                                                                                            <a:gd name="connsiteY0" fmla="*/ 166564 h 581273"/>
                                                                                            <a:gd name="connsiteX1" fmla="*/ 503301 w 551798"/>
                                                                                            <a:gd name="connsiteY1" fmla="*/ 166564 h 581273"/>
                                                                                            <a:gd name="connsiteX2" fmla="*/ 506700 w 551798"/>
                                                                                            <a:gd name="connsiteY2" fmla="*/ 210754 h 581273"/>
                                                                                            <a:gd name="connsiteX3" fmla="*/ 513499 w 551798"/>
                                                                                            <a:gd name="connsiteY3" fmla="*/ 231150 h 581273"/>
                                                                                            <a:gd name="connsiteX4" fmla="*/ 516898 w 551798"/>
                                                                                            <a:gd name="connsiteY4" fmla="*/ 251545 h 581273"/>
                                                                                            <a:gd name="connsiteX5" fmla="*/ 550890 w 551798"/>
                                                                                            <a:gd name="connsiteY5" fmla="*/ 268542 h 581273"/>
                                                                                            <a:gd name="connsiteX6" fmla="*/ 540693 w 551798"/>
                                                                                            <a:gd name="connsiteY6" fmla="*/ 288937 h 581273"/>
                                                                                            <a:gd name="connsiteX7" fmla="*/ 533894 w 551798"/>
                                                                                            <a:gd name="connsiteY7" fmla="*/ 353523 h 581273"/>
                                                                                            <a:gd name="connsiteX8" fmla="*/ 527096 w 551798"/>
                                                                                            <a:gd name="connsiteY8" fmla="*/ 363721 h 581273"/>
                                                                                            <a:gd name="connsiteX9" fmla="*/ 516898 w 551798"/>
                                                                                            <a:gd name="connsiteY9" fmla="*/ 397713 h 581273"/>
                                                                                            <a:gd name="connsiteX10" fmla="*/ 506700 w 551798"/>
                                                                                            <a:gd name="connsiteY10" fmla="*/ 469098 h 581273"/>
                                                                                            <a:gd name="connsiteX11" fmla="*/ 496502 w 551798"/>
                                                                                            <a:gd name="connsiteY11" fmla="*/ 475896 h 581273"/>
                                                                                            <a:gd name="connsiteX12" fmla="*/ 489704 w 551798"/>
                                                                                            <a:gd name="connsiteY12" fmla="*/ 486094 h 581273"/>
                                                                                            <a:gd name="connsiteX13" fmla="*/ 469308 w 551798"/>
                                                                                            <a:gd name="connsiteY13" fmla="*/ 499691 h 581273"/>
                                                                                            <a:gd name="connsiteX14" fmla="*/ 465909 w 551798"/>
                                                                                            <a:gd name="connsiteY14" fmla="*/ 509889 h 581273"/>
                                                                                            <a:gd name="connsiteX15" fmla="*/ 455711 w 551798"/>
                                                                                            <a:gd name="connsiteY15" fmla="*/ 516687 h 581273"/>
                                                                                            <a:gd name="connsiteX16" fmla="*/ 445513 w 551798"/>
                                                                                            <a:gd name="connsiteY16" fmla="*/ 526885 h 581273"/>
                                                                                            <a:gd name="connsiteX17" fmla="*/ 428517 w 551798"/>
                                                                                            <a:gd name="connsiteY17" fmla="*/ 543881 h 581273"/>
                                                                                            <a:gd name="connsiteX18" fmla="*/ 421719 w 551798"/>
                                                                                            <a:gd name="connsiteY18" fmla="*/ 564277 h 581273"/>
                                                                                            <a:gd name="connsiteX19" fmla="*/ 418319 w 551798"/>
                                                                                            <a:gd name="connsiteY19" fmla="*/ 574475 h 581273"/>
                                                                                            <a:gd name="connsiteX20" fmla="*/ 408122 w 551798"/>
                                                                                            <a:gd name="connsiteY20" fmla="*/ 581273 h 581273"/>
                                                                                            <a:gd name="connsiteX21" fmla="*/ 387726 w 551798"/>
                                                                                            <a:gd name="connsiteY21" fmla="*/ 567676 h 581273"/>
                                                                                            <a:gd name="connsiteX22" fmla="*/ 377528 w 551798"/>
                                                                                            <a:gd name="connsiteY22" fmla="*/ 564277 h 581273"/>
                                                                                            <a:gd name="connsiteX23" fmla="*/ 340136 w 551798"/>
                                                                                            <a:gd name="connsiteY23" fmla="*/ 560878 h 581273"/>
                                                                                            <a:gd name="connsiteX24" fmla="*/ 323140 w 551798"/>
                                                                                            <a:gd name="connsiteY24" fmla="*/ 557478 h 581273"/>
                                                                                            <a:gd name="connsiteX25" fmla="*/ 312942 w 551798"/>
                                                                                            <a:gd name="connsiteY25" fmla="*/ 550680 h 581273"/>
                                                                                            <a:gd name="connsiteX26" fmla="*/ 299345 w 551798"/>
                                                                                            <a:gd name="connsiteY26" fmla="*/ 547281 h 581273"/>
                                                                                            <a:gd name="connsiteX27" fmla="*/ 275551 w 551798"/>
                                                                                            <a:gd name="connsiteY27" fmla="*/ 550680 h 581273"/>
                                                                                            <a:gd name="connsiteX28" fmla="*/ 251756 w 551798"/>
                                                                                            <a:gd name="connsiteY28" fmla="*/ 560878 h 581273"/>
                                                                                            <a:gd name="connsiteX29" fmla="*/ 197368 w 551798"/>
                                                                                            <a:gd name="connsiteY29" fmla="*/ 564277 h 581273"/>
                                                                                            <a:gd name="connsiteX30" fmla="*/ 187170 w 551798"/>
                                                                                            <a:gd name="connsiteY30" fmla="*/ 571075 h 581273"/>
                                                                                            <a:gd name="connsiteX31" fmla="*/ 166774 w 551798"/>
                                                                                            <a:gd name="connsiteY31" fmla="*/ 577874 h 581273"/>
                                                                                            <a:gd name="connsiteX32" fmla="*/ 108987 w 551798"/>
                                                                                            <a:gd name="connsiteY32" fmla="*/ 574475 h 581273"/>
                                                                                            <a:gd name="connsiteX33" fmla="*/ 88591 w 551798"/>
                                                                                            <a:gd name="connsiteY33" fmla="*/ 567676 h 581273"/>
                                                                                            <a:gd name="connsiteX34" fmla="*/ 78394 w 551798"/>
                                                                                            <a:gd name="connsiteY34" fmla="*/ 564277 h 581273"/>
                                                                                            <a:gd name="connsiteX35" fmla="*/ 68196 w 551798"/>
                                                                                            <a:gd name="connsiteY35" fmla="*/ 557478 h 581273"/>
                                                                                            <a:gd name="connsiteX36" fmla="*/ 41002 w 551798"/>
                                                                                            <a:gd name="connsiteY36" fmla="*/ 554079 h 581273"/>
                                                                                            <a:gd name="connsiteX37" fmla="*/ 27405 w 551798"/>
                                                                                            <a:gd name="connsiteY37" fmla="*/ 550680 h 581273"/>
                                                                                            <a:gd name="connsiteX38" fmla="*/ 47800 w 551798"/>
                                                                                            <a:gd name="connsiteY38" fmla="*/ 547281 h 581273"/>
                                                                                            <a:gd name="connsiteX39" fmla="*/ 57998 w 551798"/>
                                                                                            <a:gd name="connsiteY39" fmla="*/ 543881 h 581273"/>
                                                                                            <a:gd name="connsiteX40" fmla="*/ 54599 w 551798"/>
                                                                                            <a:gd name="connsiteY40" fmla="*/ 523486 h 581273"/>
                                                                                            <a:gd name="connsiteX41" fmla="*/ 51200 w 551798"/>
                                                                                            <a:gd name="connsiteY41" fmla="*/ 513288 h 581273"/>
                                                                                            <a:gd name="connsiteX42" fmla="*/ 10409 w 551798"/>
                                                                                            <a:gd name="connsiteY42" fmla="*/ 503090 h 581273"/>
                                                                                            <a:gd name="connsiteX43" fmla="*/ 20606 w 551798"/>
                                                                                            <a:gd name="connsiteY43" fmla="*/ 499691 h 581273"/>
                                                                                            <a:gd name="connsiteX44" fmla="*/ 7009 w 551798"/>
                                                                                            <a:gd name="connsiteY44" fmla="*/ 482695 h 581273"/>
                                                                                            <a:gd name="connsiteX45" fmla="*/ 211 w 551798"/>
                                                                                            <a:gd name="connsiteY45" fmla="*/ 472497 h 581273"/>
                                                                                            <a:gd name="connsiteX46" fmla="*/ 41002 w 551798"/>
                                                                                            <a:gd name="connsiteY46" fmla="*/ 458900 h 581273"/>
                                                                                            <a:gd name="connsiteX47" fmla="*/ 41002 w 551798"/>
                                                                                            <a:gd name="connsiteY47" fmla="*/ 435105 h 581273"/>
                                                                                            <a:gd name="connsiteX48" fmla="*/ 30804 w 551798"/>
                                                                                            <a:gd name="connsiteY48" fmla="*/ 428307 h 581273"/>
                                                                                            <a:gd name="connsiteX49" fmla="*/ 10409 w 551798"/>
                                                                                            <a:gd name="connsiteY49" fmla="*/ 421508 h 581273"/>
                                                                                            <a:gd name="connsiteX50" fmla="*/ 20606 w 551798"/>
                                                                                            <a:gd name="connsiteY50" fmla="*/ 414710 h 581273"/>
                                                                                            <a:gd name="connsiteX51" fmla="*/ 47800 w 551798"/>
                                                                                            <a:gd name="connsiteY51" fmla="*/ 421508 h 581273"/>
                                                                                            <a:gd name="connsiteX52" fmla="*/ 61397 w 551798"/>
                                                                                            <a:gd name="connsiteY52" fmla="*/ 418109 h 581273"/>
                                                                                            <a:gd name="connsiteX53" fmla="*/ 81793 w 551798"/>
                                                                                            <a:gd name="connsiteY53" fmla="*/ 411310 h 581273"/>
                                                                                            <a:gd name="connsiteX54" fmla="*/ 108987 w 551798"/>
                                                                                            <a:gd name="connsiteY54" fmla="*/ 387516 h 581273"/>
                                                                                            <a:gd name="connsiteX55" fmla="*/ 119185 w 551798"/>
                                                                                            <a:gd name="connsiteY55" fmla="*/ 380717 h 581273"/>
                                                                                            <a:gd name="connsiteX56" fmla="*/ 129383 w 551798"/>
                                                                                            <a:gd name="connsiteY56" fmla="*/ 384116 h 581273"/>
                                                                                            <a:gd name="connsiteX57" fmla="*/ 139580 w 551798"/>
                                                                                            <a:gd name="connsiteY57" fmla="*/ 390915 h 581273"/>
                                                                                            <a:gd name="connsiteX58" fmla="*/ 159976 w 551798"/>
                                                                                            <a:gd name="connsiteY58" fmla="*/ 397713 h 581273"/>
                                                                                            <a:gd name="connsiteX59" fmla="*/ 197368 w 551798"/>
                                                                                            <a:gd name="connsiteY59" fmla="*/ 390915 h 581273"/>
                                                                                            <a:gd name="connsiteX60" fmla="*/ 207565 w 551798"/>
                                                                                            <a:gd name="connsiteY60" fmla="*/ 380717 h 581273"/>
                                                                                            <a:gd name="connsiteX61" fmla="*/ 146379 w 551798"/>
                                                                                            <a:gd name="connsiteY61" fmla="*/ 370519 h 581273"/>
                                                                                            <a:gd name="connsiteX62" fmla="*/ 125983 w 551798"/>
                                                                                            <a:gd name="connsiteY62" fmla="*/ 363721 h 581273"/>
                                                                                            <a:gd name="connsiteX63" fmla="*/ 136181 w 551798"/>
                                                                                            <a:gd name="connsiteY63" fmla="*/ 356922 h 581273"/>
                                                                                            <a:gd name="connsiteX64" fmla="*/ 163375 w 551798"/>
                                                                                            <a:gd name="connsiteY64" fmla="*/ 346724 h 581273"/>
                                                                                            <a:gd name="connsiteX65" fmla="*/ 166774 w 551798"/>
                                                                                            <a:gd name="connsiteY65" fmla="*/ 336527 h 581273"/>
                                                                                            <a:gd name="connsiteX66" fmla="*/ 197368 w 551798"/>
                                                                                            <a:gd name="connsiteY66" fmla="*/ 319530 h 581273"/>
                                                                                            <a:gd name="connsiteX67" fmla="*/ 217763 w 551798"/>
                                                                                            <a:gd name="connsiteY67" fmla="*/ 309333 h 581273"/>
                                                                                            <a:gd name="connsiteX68" fmla="*/ 224562 w 551798"/>
                                                                                            <a:gd name="connsiteY68" fmla="*/ 299135 h 581273"/>
                                                                                            <a:gd name="connsiteX69" fmla="*/ 207565 w 551798"/>
                                                                                            <a:gd name="connsiteY69" fmla="*/ 285538 h 581273"/>
                                                                                            <a:gd name="connsiteX70" fmla="*/ 197368 w 551798"/>
                                                                                            <a:gd name="connsiteY70" fmla="*/ 278739 h 581273"/>
                                                                                            <a:gd name="connsiteX71" fmla="*/ 190569 w 551798"/>
                                                                                            <a:gd name="connsiteY71" fmla="*/ 268542 h 581273"/>
                                                                                            <a:gd name="connsiteX72" fmla="*/ 183771 w 551798"/>
                                                                                            <a:gd name="connsiteY72" fmla="*/ 261743 h 581273"/>
                                                                                            <a:gd name="connsiteX73" fmla="*/ 176972 w 551798"/>
                                                                                            <a:gd name="connsiteY73" fmla="*/ 244747 h 581273"/>
                                                                                            <a:gd name="connsiteX74" fmla="*/ 132782 w 551798"/>
                                                                                            <a:gd name="connsiteY74" fmla="*/ 241347 h 581273"/>
                                                                                            <a:gd name="connsiteX75" fmla="*/ 139580 w 551798"/>
                                                                                            <a:gd name="connsiteY75" fmla="*/ 220952 h 581273"/>
                                                                                            <a:gd name="connsiteX76" fmla="*/ 136181 w 551798"/>
                                                                                            <a:gd name="connsiteY76" fmla="*/ 210754 h 581273"/>
                                                                                            <a:gd name="connsiteX77" fmla="*/ 139580 w 551798"/>
                                                                                            <a:gd name="connsiteY77" fmla="*/ 197157 h 581273"/>
                                                                                            <a:gd name="connsiteX78" fmla="*/ 149778 w 551798"/>
                                                                                            <a:gd name="connsiteY78" fmla="*/ 193758 h 581273"/>
                                                                                            <a:gd name="connsiteX79" fmla="*/ 163375 w 551798"/>
                                                                                            <a:gd name="connsiteY79" fmla="*/ 190359 h 581273"/>
                                                                                            <a:gd name="connsiteX80" fmla="*/ 170174 w 551798"/>
                                                                                            <a:gd name="connsiteY80" fmla="*/ 180161 h 581273"/>
                                                                                            <a:gd name="connsiteX81" fmla="*/ 180371 w 551798"/>
                                                                                            <a:gd name="connsiteY81" fmla="*/ 176762 h 581273"/>
                                                                                            <a:gd name="connsiteX82" fmla="*/ 210965 w 551798"/>
                                                                                            <a:gd name="connsiteY82" fmla="*/ 173362 h 581273"/>
                                                                                            <a:gd name="connsiteX83" fmla="*/ 221162 w 551798"/>
                                                                                            <a:gd name="connsiteY83" fmla="*/ 169963 h 581273"/>
                                                                                            <a:gd name="connsiteX84" fmla="*/ 207565 w 551798"/>
                                                                                            <a:gd name="connsiteY84" fmla="*/ 149568 h 581273"/>
                                                                                            <a:gd name="connsiteX85" fmla="*/ 197368 w 551798"/>
                                                                                            <a:gd name="connsiteY85" fmla="*/ 129172 h 581273"/>
                                                                                            <a:gd name="connsiteX86" fmla="*/ 187170 w 551798"/>
                                                                                            <a:gd name="connsiteY86" fmla="*/ 88381 h 581273"/>
                                                                                            <a:gd name="connsiteX87" fmla="*/ 197368 w 551798"/>
                                                                                            <a:gd name="connsiteY87" fmla="*/ 81582 h 581273"/>
                                                                                            <a:gd name="connsiteX88" fmla="*/ 238159 w 551798"/>
                                                                                            <a:gd name="connsiteY88" fmla="*/ 81582 h 581273"/>
                                                                                            <a:gd name="connsiteX89" fmla="*/ 244957 w 551798"/>
                                                                                            <a:gd name="connsiteY89" fmla="*/ 91780 h 581273"/>
                                                                                            <a:gd name="connsiteX90" fmla="*/ 265353 w 551798"/>
                                                                                            <a:gd name="connsiteY90" fmla="*/ 101978 h 581273"/>
                                                                                            <a:gd name="connsiteX91" fmla="*/ 275551 w 551798"/>
                                                                                            <a:gd name="connsiteY91" fmla="*/ 108776 h 581273"/>
                                                                                            <a:gd name="connsiteX92" fmla="*/ 285748 w 551798"/>
                                                                                            <a:gd name="connsiteY92" fmla="*/ 112176 h 581273"/>
                                                                                            <a:gd name="connsiteX93" fmla="*/ 306144 w 551798"/>
                                                                                            <a:gd name="connsiteY93" fmla="*/ 122374 h 581273"/>
                                                                                            <a:gd name="connsiteX94" fmla="*/ 346935 w 551798"/>
                                                                                            <a:gd name="connsiteY94" fmla="*/ 125773 h 581273"/>
                                                                                            <a:gd name="connsiteX95" fmla="*/ 391125 w 551798"/>
                                                                                            <a:gd name="connsiteY95" fmla="*/ 101978 h 581273"/>
                                                                                            <a:gd name="connsiteX96" fmla="*/ 387726 w 551798"/>
                                                                                            <a:gd name="connsiteY96" fmla="*/ 81582 h 581273"/>
                                                                                            <a:gd name="connsiteX97" fmla="*/ 367331 w 551798"/>
                                                                                            <a:gd name="connsiteY97" fmla="*/ 67985 h 581273"/>
                                                                                            <a:gd name="connsiteX98" fmla="*/ 363931 w 551798"/>
                                                                                            <a:gd name="connsiteY98" fmla="*/ 57788 h 581273"/>
                                                                                            <a:gd name="connsiteX99" fmla="*/ 387726 w 551798"/>
                                                                                            <a:gd name="connsiteY99" fmla="*/ 44191 h 581273"/>
                                                                                            <a:gd name="connsiteX100" fmla="*/ 397924 w 551798"/>
                                                                                            <a:gd name="connsiteY100" fmla="*/ 37392 h 581273"/>
                                                                                            <a:gd name="connsiteX101" fmla="*/ 404722 w 551798"/>
                                                                                            <a:gd name="connsiteY101" fmla="*/ 16997 h 581273"/>
                                                                                            <a:gd name="connsiteX102" fmla="*/ 435316 w 551798"/>
                                                                                            <a:gd name="connsiteY102" fmla="*/ 6799 h 581273"/>
                                                                                            <a:gd name="connsiteX103" fmla="*/ 445513 w 551798"/>
                                                                                            <a:gd name="connsiteY103" fmla="*/ 3400 h 581273"/>
                                                                                            <a:gd name="connsiteX104" fmla="*/ 455711 w 551798"/>
                                                                                            <a:gd name="connsiteY104" fmla="*/ 0 h 581273"/>
                                                                                            <a:gd name="connsiteX105" fmla="*/ 476107 w 551798"/>
                                                                                            <a:gd name="connsiteY105" fmla="*/ 3400 h 581273"/>
                                                                                            <a:gd name="connsiteX106" fmla="*/ 482905 w 551798"/>
                                                                                            <a:gd name="connsiteY106" fmla="*/ 13597 h 581273"/>
                                                                                            <a:gd name="connsiteX107" fmla="*/ 489704 w 551798"/>
                                                                                            <a:gd name="connsiteY107" fmla="*/ 37392 h 581273"/>
                                                                                            <a:gd name="connsiteX108" fmla="*/ 506700 w 551798"/>
                                                                                            <a:gd name="connsiteY108" fmla="*/ 16997 h 581273"/>
                                                                                            <a:gd name="connsiteX109" fmla="*/ 527096 w 551798"/>
                                                                                            <a:gd name="connsiteY109" fmla="*/ 10198 h 581273"/>
                                                                                            <a:gd name="connsiteX110" fmla="*/ 537293 w 551798"/>
                                                                                            <a:gd name="connsiteY110" fmla="*/ 6799 h 581273"/>
                                                                                            <a:gd name="connsiteX111" fmla="*/ 540693 w 551798"/>
                                                                                            <a:gd name="connsiteY111" fmla="*/ 30594 h 581273"/>
                                                                                            <a:gd name="connsiteX112" fmla="*/ 530495 w 551798"/>
                                                                                            <a:gd name="connsiteY112" fmla="*/ 40791 h 581273"/>
                                                                                            <a:gd name="connsiteX113" fmla="*/ 510099 w 551798"/>
                                                                                            <a:gd name="connsiteY113" fmla="*/ 54388 h 581273"/>
                                                                                            <a:gd name="connsiteX114" fmla="*/ 503301 w 551798"/>
                                                                                            <a:gd name="connsiteY114" fmla="*/ 64586 h 581273"/>
                                                                                            <a:gd name="connsiteX115" fmla="*/ 493103 w 551798"/>
                                                                                            <a:gd name="connsiteY115" fmla="*/ 67985 h 581273"/>
                                                                                            <a:gd name="connsiteX116" fmla="*/ 482905 w 551798"/>
                                                                                            <a:gd name="connsiteY116" fmla="*/ 74784 h 581273"/>
                                                                                            <a:gd name="connsiteX117" fmla="*/ 462510 w 551798"/>
                                                                                            <a:gd name="connsiteY117" fmla="*/ 81582 h 581273"/>
                                                                                            <a:gd name="connsiteX118" fmla="*/ 452312 w 551798"/>
                                                                                            <a:gd name="connsiteY118" fmla="*/ 84982 h 581273"/>
                                                                                            <a:gd name="connsiteX119" fmla="*/ 442114 w 551798"/>
                                                                                            <a:gd name="connsiteY119" fmla="*/ 88381 h 581273"/>
                                                                                            <a:gd name="connsiteX120" fmla="*/ 445513 w 551798"/>
                                                                                            <a:gd name="connsiteY120" fmla="*/ 101978 h 581273"/>
                                                                                            <a:gd name="connsiteX121" fmla="*/ 452312 w 551798"/>
                                                                                            <a:gd name="connsiteY121" fmla="*/ 112176 h 581273"/>
                                                                                            <a:gd name="connsiteX122" fmla="*/ 411521 w 551798"/>
                                                                                            <a:gd name="connsiteY122" fmla="*/ 118974 h 581273"/>
                                                                                            <a:gd name="connsiteX123" fmla="*/ 401323 w 551798"/>
                                                                                            <a:gd name="connsiteY123" fmla="*/ 122374 h 581273"/>
                                                                                            <a:gd name="connsiteX124" fmla="*/ 397924 w 551798"/>
                                                                                            <a:gd name="connsiteY124" fmla="*/ 142769 h 581273"/>
                                                                                            <a:gd name="connsiteX125" fmla="*/ 408122 w 551798"/>
                                                                                            <a:gd name="connsiteY125" fmla="*/ 149568 h 581273"/>
                                                                                            <a:gd name="connsiteX126" fmla="*/ 414920 w 551798"/>
                                                                                            <a:gd name="connsiteY126" fmla="*/ 159765 h 581273"/>
                                                                                            <a:gd name="connsiteX127" fmla="*/ 421719 w 551798"/>
                                                                                            <a:gd name="connsiteY127" fmla="*/ 180161 h 581273"/>
                                                                                            <a:gd name="connsiteX128" fmla="*/ 431916 w 551798"/>
                                                                                            <a:gd name="connsiteY128" fmla="*/ 183560 h 581273"/>
                                                                                            <a:gd name="connsiteX129" fmla="*/ 445513 w 551798"/>
                                                                                            <a:gd name="connsiteY129" fmla="*/ 203956 h 581273"/>
                                                                                            <a:gd name="connsiteX130" fmla="*/ 455711 w 551798"/>
                                                                                            <a:gd name="connsiteY130" fmla="*/ 207355 h 581273"/>
                                                                                            <a:gd name="connsiteX131" fmla="*/ 465909 w 551798"/>
                                                                                            <a:gd name="connsiteY131" fmla="*/ 203956 h 581273"/>
                                                                                            <a:gd name="connsiteX132" fmla="*/ 482905 w 551798"/>
                                                                                            <a:gd name="connsiteY132" fmla="*/ 190359 h 581273"/>
                                                                                            <a:gd name="connsiteX133" fmla="*/ 503301 w 551798"/>
                                                                                            <a:gd name="connsiteY133" fmla="*/ 166564 h 58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51798" h="581273">
                                                                                              <a:moveTo>
                                                                                                <a:pt x="503301" y="166564"/>
                                                                                              </a:moveTo>
                                                                                              <a:lnTo>
                                                                                                <a:pt x="503301" y="166564"/>
                                                                                              </a:lnTo>
                                                                                              <a:cubicBezTo>
                                                                                                <a:pt x="504434" y="181294"/>
                                                                                                <a:pt x="504396" y="196161"/>
                                                                                                <a:pt x="506700" y="210754"/>
                                                                                              </a:cubicBezTo>
                                                                                              <a:cubicBezTo>
                                                                                                <a:pt x="507818" y="217833"/>
                                                                                                <a:pt x="513499" y="231150"/>
                                                                                                <a:pt x="513499" y="231150"/>
                                                                                              </a:cubicBezTo>
                                                                                              <a:cubicBezTo>
                                                                                                <a:pt x="514632" y="237948"/>
                                                                                                <a:pt x="512946" y="245899"/>
                                                                                                <a:pt x="516898" y="251545"/>
                                                                                              </a:cubicBezTo>
                                                                                              <a:cubicBezTo>
                                                                                                <a:pt x="525482" y="263808"/>
                                                                                                <a:pt x="538342" y="265404"/>
                                                                                                <a:pt x="550890" y="268542"/>
                                                                                              </a:cubicBezTo>
                                                                                              <a:cubicBezTo>
                                                                                                <a:pt x="546115" y="275705"/>
                                                                                                <a:pt x="541866" y="280140"/>
                                                                                                <a:pt x="540693" y="288937"/>
                                                                                              </a:cubicBezTo>
                                                                                              <a:cubicBezTo>
                                                                                                <a:pt x="540225" y="292446"/>
                                                                                                <a:pt x="537110" y="342803"/>
                                                                                                <a:pt x="533894" y="353523"/>
                                                                                              </a:cubicBezTo>
                                                                                              <a:cubicBezTo>
                                                                                                <a:pt x="532720" y="357436"/>
                                                                                                <a:pt x="528755" y="359988"/>
                                                                                                <a:pt x="527096" y="363721"/>
                                                                                              </a:cubicBezTo>
                                                                                              <a:cubicBezTo>
                                                                                                <a:pt x="522365" y="374366"/>
                                                                                                <a:pt x="519724" y="386409"/>
                                                                                                <a:pt x="516898" y="397713"/>
                                                                                              </a:cubicBezTo>
                                                                                              <a:cubicBezTo>
                                                                                                <a:pt x="515938" y="414991"/>
                                                                                                <a:pt x="524297" y="451502"/>
                                                                                                <a:pt x="506700" y="469098"/>
                                                                                              </a:cubicBezTo>
                                                                                              <a:cubicBezTo>
                                                                                                <a:pt x="503811" y="471987"/>
                                                                                                <a:pt x="499901" y="473630"/>
                                                                                                <a:pt x="496502" y="475896"/>
                                                                                              </a:cubicBezTo>
                                                                                              <a:cubicBezTo>
                                                                                                <a:pt x="494236" y="479295"/>
                                                                                                <a:pt x="492779" y="483404"/>
                                                                                                <a:pt x="489704" y="486094"/>
                                                                                              </a:cubicBezTo>
                                                                                              <a:cubicBezTo>
                                                                                                <a:pt x="483555" y="491475"/>
                                                                                                <a:pt x="469308" y="499691"/>
                                                                                                <a:pt x="469308" y="499691"/>
                                                                                              </a:cubicBezTo>
                                                                                              <a:cubicBezTo>
                                                                                                <a:pt x="468175" y="503090"/>
                                                                                                <a:pt x="468147" y="507091"/>
                                                                                                <a:pt x="465909" y="509889"/>
                                                                                              </a:cubicBezTo>
                                                                                              <a:cubicBezTo>
                                                                                                <a:pt x="463357" y="513079"/>
                                                                                                <a:pt x="458850" y="514072"/>
                                                                                                <a:pt x="455711" y="516687"/>
                                                                                              </a:cubicBezTo>
                                                                                              <a:cubicBezTo>
                                                                                                <a:pt x="452018" y="519765"/>
                                                                                                <a:pt x="448591" y="523192"/>
                                                                                                <a:pt x="445513" y="526885"/>
                                                                                              </a:cubicBezTo>
                                                                                              <a:cubicBezTo>
                                                                                                <a:pt x="431350" y="543881"/>
                                                                                                <a:pt x="447213" y="531418"/>
                                                                                                <a:pt x="428517" y="543881"/>
                                                                                              </a:cubicBezTo>
                                                                                              <a:lnTo>
                                                                                                <a:pt x="421719" y="564277"/>
                                                                                              </a:lnTo>
                                                                                              <a:cubicBezTo>
                                                                                                <a:pt x="420586" y="567676"/>
                                                                                                <a:pt x="421300" y="572487"/>
                                                                                                <a:pt x="418319" y="574475"/>
                                                                                              </a:cubicBezTo>
                                                                                              <a:lnTo>
                                                                                                <a:pt x="408122" y="581273"/>
                                                                                              </a:lnTo>
                                                                                              <a:cubicBezTo>
                                                                                                <a:pt x="376895" y="573467"/>
                                                                                                <a:pt x="409068" y="584749"/>
                                                                                                <a:pt x="387726" y="567676"/>
                                                                                              </a:cubicBezTo>
                                                                                              <a:cubicBezTo>
                                                                                                <a:pt x="384928" y="565438"/>
                                                                                                <a:pt x="381075" y="564784"/>
                                                                                                <a:pt x="377528" y="564277"/>
                                                                                              </a:cubicBezTo>
                                                                                              <a:cubicBezTo>
                                                                                                <a:pt x="365138" y="562507"/>
                                                                                                <a:pt x="352600" y="562011"/>
                                                                                                <a:pt x="340136" y="560878"/>
                                                                                              </a:cubicBezTo>
                                                                                              <a:cubicBezTo>
                                                                                                <a:pt x="334471" y="559745"/>
                                                                                                <a:pt x="328550" y="559507"/>
                                                                                                <a:pt x="323140" y="557478"/>
                                                                                              </a:cubicBezTo>
                                                                                              <a:cubicBezTo>
                                                                                                <a:pt x="319315" y="556044"/>
                                                                                                <a:pt x="316697" y="552289"/>
                                                                                                <a:pt x="312942" y="550680"/>
                                                                                              </a:cubicBezTo>
                                                                                              <a:cubicBezTo>
                                                                                                <a:pt x="308648" y="548840"/>
                                                                                                <a:pt x="303877" y="548414"/>
                                                                                                <a:pt x="299345" y="547281"/>
                                                                                              </a:cubicBezTo>
                                                                                              <a:cubicBezTo>
                                                                                                <a:pt x="291414" y="548414"/>
                                                                                                <a:pt x="283225" y="548378"/>
                                                                                                <a:pt x="275551" y="550680"/>
                                                                                              </a:cubicBezTo>
                                                                                              <a:cubicBezTo>
                                                                                                <a:pt x="247165" y="559195"/>
                                                                                                <a:pt x="285671" y="557486"/>
                                                                                                <a:pt x="251756" y="560878"/>
                                                                                              </a:cubicBezTo>
                                                                                              <a:cubicBezTo>
                                                                                                <a:pt x="233681" y="562686"/>
                                                                                                <a:pt x="215497" y="563144"/>
                                                                                                <a:pt x="197368" y="564277"/>
                                                                                              </a:cubicBezTo>
                                                                                              <a:cubicBezTo>
                                                                                                <a:pt x="193969" y="566543"/>
                                                                                                <a:pt x="190903" y="569416"/>
                                                                                                <a:pt x="187170" y="571075"/>
                                                                                              </a:cubicBezTo>
                                                                                              <a:cubicBezTo>
                                                                                                <a:pt x="180621" y="573986"/>
                                                                                                <a:pt x="166774" y="577874"/>
                                                                                                <a:pt x="166774" y="577874"/>
                                                                                              </a:cubicBezTo>
                                                                                              <a:cubicBezTo>
                                                                                                <a:pt x="147512" y="576741"/>
                                                                                                <a:pt x="128121" y="576971"/>
                                                                                                <a:pt x="108987" y="574475"/>
                                                                                              </a:cubicBezTo>
                                                                                              <a:cubicBezTo>
                                                                                                <a:pt x="101881" y="573548"/>
                                                                                                <a:pt x="95390" y="569942"/>
                                                                                                <a:pt x="88591" y="567676"/>
                                                                                              </a:cubicBezTo>
                                                                                              <a:lnTo>
                                                                                                <a:pt x="78394" y="564277"/>
                                                                                              </a:lnTo>
                                                                                              <a:cubicBezTo>
                                                                                                <a:pt x="74995" y="562011"/>
                                                                                                <a:pt x="72138" y="558553"/>
                                                                                                <a:pt x="68196" y="557478"/>
                                                                                              </a:cubicBezTo>
                                                                                              <a:cubicBezTo>
                                                                                                <a:pt x="59383" y="555074"/>
                                                                                                <a:pt x="50013" y="555581"/>
                                                                                                <a:pt x="41002" y="554079"/>
                                                                                              </a:cubicBezTo>
                                                                                              <a:cubicBezTo>
                                                                                                <a:pt x="36394" y="553311"/>
                                                                                                <a:pt x="31937" y="551813"/>
                                                                                                <a:pt x="27405" y="550680"/>
                                                                                              </a:cubicBezTo>
                                                                                              <a:cubicBezTo>
                                                                                                <a:pt x="34203" y="549547"/>
                                                                                                <a:pt x="41072" y="548776"/>
                                                                                                <a:pt x="47800" y="547281"/>
                                                                                              </a:cubicBezTo>
                                                                                              <a:cubicBezTo>
                                                                                                <a:pt x="51298" y="546504"/>
                                                                                                <a:pt x="57014" y="547326"/>
                                                                                                <a:pt x="57998" y="543881"/>
                                                                                              </a:cubicBezTo>
                                                                                              <a:cubicBezTo>
                                                                                                <a:pt x="59892" y="537254"/>
                                                                                                <a:pt x="56094" y="530214"/>
                                                                                                <a:pt x="54599" y="523486"/>
                                                                                              </a:cubicBezTo>
                                                                                              <a:cubicBezTo>
                                                                                                <a:pt x="53822" y="519988"/>
                                                                                                <a:pt x="54116" y="515371"/>
                                                                                                <a:pt x="51200" y="513288"/>
                                                                                              </a:cubicBezTo>
                                                                                              <a:cubicBezTo>
                                                                                                <a:pt x="43002" y="507432"/>
                                                                                                <a:pt x="19854" y="504664"/>
                                                                                                <a:pt x="10409" y="503090"/>
                                                                                              </a:cubicBezTo>
                                                                                              <a:cubicBezTo>
                                                                                                <a:pt x="13808" y="501957"/>
                                                                                                <a:pt x="19004" y="502896"/>
                                                                                                <a:pt x="20606" y="499691"/>
                                                                                              </a:cubicBezTo>
                                                                                              <a:cubicBezTo>
                                                                                                <a:pt x="24711" y="491480"/>
                                                                                                <a:pt x="10160" y="484795"/>
                                                                                                <a:pt x="7009" y="482695"/>
                                                                                              </a:cubicBezTo>
                                                                                              <a:cubicBezTo>
                                                                                                <a:pt x="4743" y="479296"/>
                                                                                                <a:pt x="883" y="476527"/>
                                                                                                <a:pt x="211" y="472497"/>
                                                                                              </a:cubicBezTo>
                                                                                              <a:cubicBezTo>
                                                                                                <a:pt x="-3303" y="451414"/>
                                                                                                <a:pt x="38008" y="459172"/>
                                                                                                <a:pt x="41002" y="458900"/>
                                                                                              </a:cubicBezTo>
                                                                                              <a:cubicBezTo>
                                                                                                <a:pt x="44059" y="449727"/>
                                                                                                <a:pt x="47641" y="445064"/>
                                                                                                <a:pt x="41002" y="435105"/>
                                                                                              </a:cubicBezTo>
                                                                                              <a:cubicBezTo>
                                                                                                <a:pt x="38736" y="431706"/>
                                                                                                <a:pt x="34537" y="429966"/>
                                                                                                <a:pt x="30804" y="428307"/>
                                                                                              </a:cubicBezTo>
                                                                                              <a:cubicBezTo>
                                                                                                <a:pt x="24256" y="425397"/>
                                                                                                <a:pt x="10409" y="421508"/>
                                                                                                <a:pt x="10409" y="421508"/>
                                                                                              </a:cubicBezTo>
                                                                                              <a:cubicBezTo>
                                                                                                <a:pt x="13808" y="419242"/>
                                                                                                <a:pt x="16521" y="414710"/>
                                                                                                <a:pt x="20606" y="414710"/>
                                                                                              </a:cubicBezTo>
                                                                                              <a:cubicBezTo>
                                                                                                <a:pt x="29950" y="414710"/>
                                                                                                <a:pt x="47800" y="421508"/>
                                                                                                <a:pt x="47800" y="421508"/>
                                                                                              </a:cubicBezTo>
                                                                                              <a:cubicBezTo>
                                                                                                <a:pt x="52332" y="420375"/>
                                                                                                <a:pt x="56922" y="419451"/>
                                                                                                <a:pt x="61397" y="418109"/>
                                                                                              </a:cubicBezTo>
                                                                                              <a:cubicBezTo>
                                                                                                <a:pt x="68261" y="416050"/>
                                                                                                <a:pt x="81793" y="411310"/>
                                                                                                <a:pt x="81793" y="411310"/>
                                                                                              </a:cubicBezTo>
                                                                                              <a:cubicBezTo>
                                                                                                <a:pt x="93124" y="394314"/>
                                                                                                <a:pt x="85192" y="403380"/>
                                                                                                <a:pt x="108987" y="387516"/>
                                                                                              </a:cubicBezTo>
                                                                                              <a:lnTo>
                                                                                                <a:pt x="119185" y="380717"/>
                                                                                              </a:lnTo>
                                                                                              <a:cubicBezTo>
                                                                                                <a:pt x="122584" y="381850"/>
                                                                                                <a:pt x="126178" y="382513"/>
                                                                                                <a:pt x="129383" y="384116"/>
                                                                                              </a:cubicBezTo>
                                                                                              <a:cubicBezTo>
                                                                                                <a:pt x="133037" y="385943"/>
                                                                                                <a:pt x="135847" y="389256"/>
                                                                                                <a:pt x="139580" y="390915"/>
                                                                                              </a:cubicBezTo>
                                                                                              <a:cubicBezTo>
                                                                                                <a:pt x="146129" y="393826"/>
                                                                                                <a:pt x="159976" y="397713"/>
                                                                                                <a:pt x="159976" y="397713"/>
                                                                                              </a:cubicBezTo>
                                                                                              <a:cubicBezTo>
                                                                                                <a:pt x="161126" y="397569"/>
                                                                                                <a:pt x="190114" y="395751"/>
                                                                                                <a:pt x="197368" y="390915"/>
                                                                                              </a:cubicBezTo>
                                                                                              <a:cubicBezTo>
                                                                                                <a:pt x="201368" y="388248"/>
                                                                                                <a:pt x="204166" y="384116"/>
                                                                                                <a:pt x="207565" y="380717"/>
                                                                                              </a:cubicBezTo>
                                                                                              <a:cubicBezTo>
                                                                                                <a:pt x="181275" y="363188"/>
                                                                                                <a:pt x="209451" y="379529"/>
                                                                                                <a:pt x="146379" y="370519"/>
                                                                                              </a:cubicBezTo>
                                                                                              <a:cubicBezTo>
                                                                                                <a:pt x="139285" y="369506"/>
                                                                                                <a:pt x="125983" y="363721"/>
                                                                                                <a:pt x="125983" y="363721"/>
                                                                                              </a:cubicBezTo>
                                                                                              <a:cubicBezTo>
                                                                                                <a:pt x="129382" y="361455"/>
                                                                                                <a:pt x="132356" y="358357"/>
                                                                                                <a:pt x="136181" y="356922"/>
                                                                                              </a:cubicBezTo>
                                                                                              <a:cubicBezTo>
                                                                                                <a:pt x="169785" y="344320"/>
                                                                                                <a:pt x="139459" y="362669"/>
                                                                                                <a:pt x="163375" y="346724"/>
                                                                                              </a:cubicBezTo>
                                                                                              <a:cubicBezTo>
                                                                                                <a:pt x="164508" y="343325"/>
                                                                                                <a:pt x="164240" y="339060"/>
                                                                                                <a:pt x="166774" y="336527"/>
                                                                                              </a:cubicBezTo>
                                                                                              <a:cubicBezTo>
                                                                                                <a:pt x="188207" y="315094"/>
                                                                                                <a:pt x="180271" y="328079"/>
                                                                                                <a:pt x="197368" y="319530"/>
                                                                                              </a:cubicBezTo>
                                                                                              <a:cubicBezTo>
                                                                                                <a:pt x="223718" y="306354"/>
                                                                                                <a:pt x="192136" y="317875"/>
                                                                                                <a:pt x="217763" y="309333"/>
                                                                                              </a:cubicBezTo>
                                                                                              <a:cubicBezTo>
                                                                                                <a:pt x="220029" y="305934"/>
                                                                                                <a:pt x="224562" y="303221"/>
                                                                                                <a:pt x="224562" y="299135"/>
                                                                                              </a:cubicBezTo>
                                                                                              <a:cubicBezTo>
                                                                                                <a:pt x="224562" y="288884"/>
                                                                                                <a:pt x="213933" y="287660"/>
                                                                                                <a:pt x="207565" y="285538"/>
                                                                                              </a:cubicBezTo>
                                                                                              <a:cubicBezTo>
                                                                                                <a:pt x="204166" y="283272"/>
                                                                                                <a:pt x="200257" y="281628"/>
                                                                                                <a:pt x="197368" y="278739"/>
                                                                                              </a:cubicBezTo>
                                                                                              <a:cubicBezTo>
                                                                                                <a:pt x="194479" y="275850"/>
                                                                                                <a:pt x="193121" y="271732"/>
                                                                                                <a:pt x="190569" y="268542"/>
                                                                                              </a:cubicBezTo>
                                                                                              <a:cubicBezTo>
                                                                                                <a:pt x="188567" y="266039"/>
                                                                                                <a:pt x="186037" y="264009"/>
                                                                                                <a:pt x="183771" y="261743"/>
                                                                                              </a:cubicBezTo>
                                                                                              <a:lnTo>
                                                                                                <a:pt x="176972" y="244747"/>
                                                                                              </a:lnTo>
                                                                                              <a:cubicBezTo>
                                                                                                <a:pt x="162242" y="243614"/>
                                                                                                <a:pt x="145246" y="249279"/>
                                                                                                <a:pt x="132782" y="241347"/>
                                                                                              </a:cubicBezTo>
                                                                                              <a:cubicBezTo>
                                                                                                <a:pt x="126736" y="237500"/>
                                                                                                <a:pt x="139580" y="220952"/>
                                                                                                <a:pt x="139580" y="220952"/>
                                                                                              </a:cubicBezTo>
                                                                                              <a:cubicBezTo>
                                                                                                <a:pt x="138447" y="217553"/>
                                                                                                <a:pt x="136181" y="214337"/>
                                                                                                <a:pt x="136181" y="210754"/>
                                                                                              </a:cubicBezTo>
                                                                                              <a:cubicBezTo>
                                                                                                <a:pt x="136181" y="206082"/>
                                                                                                <a:pt x="136662" y="200805"/>
                                                                                                <a:pt x="139580" y="197157"/>
                                                                                              </a:cubicBezTo>
                                                                                              <a:cubicBezTo>
                                                                                                <a:pt x="141818" y="194359"/>
                                                                                                <a:pt x="146333" y="194742"/>
                                                                                                <a:pt x="149778" y="193758"/>
                                                                                              </a:cubicBezTo>
                                                                                              <a:cubicBezTo>
                                                                                                <a:pt x="154270" y="192475"/>
                                                                                                <a:pt x="158843" y="191492"/>
                                                                                                <a:pt x="163375" y="190359"/>
                                                                                              </a:cubicBezTo>
                                                                                              <a:cubicBezTo>
                                                                                                <a:pt x="165641" y="186960"/>
                                                                                                <a:pt x="166984" y="182713"/>
                                                                                                <a:pt x="170174" y="180161"/>
                                                                                              </a:cubicBezTo>
                                                                                              <a:cubicBezTo>
                                                                                                <a:pt x="172972" y="177923"/>
                                                                                                <a:pt x="176837" y="177351"/>
                                                                                                <a:pt x="180371" y="176762"/>
                                                                                              </a:cubicBezTo>
                                                                                              <a:cubicBezTo>
                                                                                                <a:pt x="190492" y="175075"/>
                                                                                                <a:pt x="200767" y="174495"/>
                                                                                                <a:pt x="210965" y="173362"/>
                                                                                              </a:cubicBezTo>
                                                                                              <a:cubicBezTo>
                                                                                                <a:pt x="214364" y="172229"/>
                                                                                                <a:pt x="220029" y="173362"/>
                                                                                                <a:pt x="221162" y="169963"/>
                                                                                              </a:cubicBezTo>
                                                                                              <a:cubicBezTo>
                                                                                                <a:pt x="226905" y="152734"/>
                                                                                                <a:pt x="217139" y="152759"/>
                                                                                                <a:pt x="207565" y="149568"/>
                                                                                              </a:cubicBezTo>
                                                                                              <a:cubicBezTo>
                                                                                                <a:pt x="202345" y="141737"/>
                                                                                                <a:pt x="198932" y="138555"/>
                                                                                                <a:pt x="197368" y="129172"/>
                                                                                              </a:cubicBezTo>
                                                                                              <a:cubicBezTo>
                                                                                                <a:pt x="190950" y="90669"/>
                                                                                                <a:pt x="200681" y="108649"/>
                                                                                                <a:pt x="187170" y="88381"/>
                                                                                              </a:cubicBezTo>
                                                                                              <a:cubicBezTo>
                                                                                                <a:pt x="190569" y="86115"/>
                                                                                                <a:pt x="193714" y="83409"/>
                                                                                                <a:pt x="197368" y="81582"/>
                                                                                              </a:cubicBezTo>
                                                                                              <a:cubicBezTo>
                                                                                                <a:pt x="211863" y="74334"/>
                                                                                                <a:pt x="219573" y="79517"/>
                                                                                                <a:pt x="238159" y="81582"/>
                                                                                              </a:cubicBezTo>
                                                                                              <a:cubicBezTo>
                                                                                                <a:pt x="240425" y="84981"/>
                                                                                                <a:pt x="242068" y="88891"/>
                                                                                                <a:pt x="244957" y="91780"/>
                                                                                              </a:cubicBezTo>
                                                                                              <a:cubicBezTo>
                                                                                                <a:pt x="254699" y="101522"/>
                                                                                                <a:pt x="254294" y="96449"/>
                                                                                                <a:pt x="265353" y="101978"/>
                                                                                              </a:cubicBezTo>
                                                                                              <a:cubicBezTo>
                                                                                                <a:pt x="269007" y="103805"/>
                                                                                                <a:pt x="271897" y="106949"/>
                                                                                                <a:pt x="275551" y="108776"/>
                                                                                              </a:cubicBezTo>
                                                                                              <a:cubicBezTo>
                                                                                                <a:pt x="278756" y="110378"/>
                                                                                                <a:pt x="282543" y="110574"/>
                                                                                                <a:pt x="285748" y="112176"/>
                                                                                              </a:cubicBezTo>
                                                                                              <a:cubicBezTo>
                                                                                                <a:pt x="296161" y="117383"/>
                                                                                                <a:pt x="294497" y="120821"/>
                                                                                                <a:pt x="306144" y="122374"/>
                                                                                              </a:cubicBezTo>
                                                                                              <a:cubicBezTo>
                                                                                                <a:pt x="319668" y="124177"/>
                                                                                                <a:pt x="333338" y="124640"/>
                                                                                                <a:pt x="346935" y="125773"/>
                                                                                              </a:cubicBezTo>
                                                                                              <a:cubicBezTo>
                                                                                                <a:pt x="357690" y="93504"/>
                                                                                                <a:pt x="346596" y="106026"/>
                                                                                                <a:pt x="391125" y="101978"/>
                                                                                              </a:cubicBezTo>
                                                                                              <a:cubicBezTo>
                                                                                                <a:pt x="389992" y="95179"/>
                                                                                                <a:pt x="391678" y="87229"/>
                                                                                                <a:pt x="387726" y="81582"/>
                                                                                              </a:cubicBezTo>
                                                                                              <a:cubicBezTo>
                                                                                                <a:pt x="383041" y="74888"/>
                                                                                                <a:pt x="367331" y="67985"/>
                                                                                                <a:pt x="367331" y="67985"/>
                                                                                              </a:cubicBezTo>
                                                                                              <a:cubicBezTo>
                                                                                                <a:pt x="366198" y="64586"/>
                                                                                                <a:pt x="363342" y="61322"/>
                                                                                                <a:pt x="363931" y="57788"/>
                                                                                              </a:cubicBezTo>
                                                                                              <a:cubicBezTo>
                                                                                                <a:pt x="366173" y="44335"/>
                                                                                                <a:pt x="377700" y="46196"/>
                                                                                                <a:pt x="387726" y="44191"/>
                                                                                              </a:cubicBezTo>
                                                                                              <a:cubicBezTo>
                                                                                                <a:pt x="391125" y="41925"/>
                                                                                                <a:pt x="395759" y="40857"/>
                                                                                                <a:pt x="397924" y="37392"/>
                                                                                              </a:cubicBezTo>
                                                                                              <a:cubicBezTo>
                                                                                                <a:pt x="401722" y="31315"/>
                                                                                                <a:pt x="397924" y="19263"/>
                                                                                                <a:pt x="404722" y="16997"/>
                                                                                              </a:cubicBezTo>
                                                                                              <a:lnTo>
                                                                                                <a:pt x="435316" y="6799"/>
                                                                                              </a:lnTo>
                                                                                              <a:lnTo>
                                                                                                <a:pt x="445513" y="3400"/>
                                                                                              </a:lnTo>
                                                                                              <a:lnTo>
                                                                                                <a:pt x="455711" y="0"/>
                                                                                              </a:lnTo>
                                                                                              <a:cubicBezTo>
                                                                                                <a:pt x="462510" y="1133"/>
                                                                                                <a:pt x="469942" y="318"/>
                                                                                                <a:pt x="476107" y="3400"/>
                                                                                              </a:cubicBezTo>
                                                                                              <a:cubicBezTo>
                                                                                                <a:pt x="479761" y="5227"/>
                                                                                                <a:pt x="481078" y="9943"/>
                                                                                                <a:pt x="482905" y="13597"/>
                                                                                              </a:cubicBezTo>
                                                                                              <a:cubicBezTo>
                                                                                                <a:pt x="485341" y="18470"/>
                                                                                                <a:pt x="488616" y="33040"/>
                                                                                                <a:pt x="489704" y="37392"/>
                                                                                              </a:cubicBezTo>
                                                                                              <a:cubicBezTo>
                                                                                                <a:pt x="493936" y="31043"/>
                                                                                                <a:pt x="499769" y="20847"/>
                                                                                                <a:pt x="506700" y="16997"/>
                                                                                              </a:cubicBezTo>
                                                                                              <a:cubicBezTo>
                                                                                                <a:pt x="512965" y="13517"/>
                                                                                                <a:pt x="520297" y="12464"/>
                                                                                                <a:pt x="527096" y="10198"/>
                                                                                              </a:cubicBezTo>
                                                                                              <a:lnTo>
                                                                                                <a:pt x="537293" y="6799"/>
                                                                                              </a:lnTo>
                                                                                              <a:cubicBezTo>
                                                                                                <a:pt x="552878" y="30175"/>
                                                                                                <a:pt x="558641" y="24610"/>
                                                                                                <a:pt x="540693" y="30594"/>
                                                                                              </a:cubicBezTo>
                                                                                              <a:cubicBezTo>
                                                                                                <a:pt x="537294" y="33993"/>
                                                                                                <a:pt x="534290" y="37840"/>
                                                                                                <a:pt x="530495" y="40791"/>
                                                                                              </a:cubicBezTo>
                                                                                              <a:cubicBezTo>
                                                                                                <a:pt x="524045" y="45807"/>
                                                                                                <a:pt x="510099" y="54388"/>
                                                                                                <a:pt x="510099" y="54388"/>
                                                                                              </a:cubicBezTo>
                                                                                              <a:cubicBezTo>
                                                                                                <a:pt x="507833" y="57787"/>
                                                                                                <a:pt x="506491" y="62034"/>
                                                                                                <a:pt x="503301" y="64586"/>
                                                                                              </a:cubicBezTo>
                                                                                              <a:cubicBezTo>
                                                                                                <a:pt x="500503" y="66824"/>
                                                                                                <a:pt x="496308" y="66383"/>
                                                                                                <a:pt x="493103" y="67985"/>
                                                                                              </a:cubicBezTo>
                                                                                              <a:cubicBezTo>
                                                                                                <a:pt x="489449" y="69812"/>
                                                                                                <a:pt x="486638" y="73125"/>
                                                                                                <a:pt x="482905" y="74784"/>
                                                                                              </a:cubicBezTo>
                                                                                              <a:cubicBezTo>
                                                                                                <a:pt x="476357" y="77694"/>
                                                                                                <a:pt x="469308" y="79316"/>
                                                                                                <a:pt x="462510" y="81582"/>
                                                                                              </a:cubicBezTo>
                                                                                              <a:lnTo>
                                                                                                <a:pt x="452312" y="84982"/>
                                                                                              </a:lnTo>
                                                                                              <a:lnTo>
                                                                                                <a:pt x="442114" y="88381"/>
                                                                                              </a:lnTo>
                                                                                              <a:cubicBezTo>
                                                                                                <a:pt x="443247" y="92913"/>
                                                                                                <a:pt x="443673" y="97684"/>
                                                                                                <a:pt x="445513" y="101978"/>
                                                                                              </a:cubicBezTo>
                                                                                              <a:cubicBezTo>
                                                                                                <a:pt x="447122" y="105733"/>
                                                                                                <a:pt x="455966" y="110349"/>
                                                                                                <a:pt x="452312" y="112176"/>
                                                                                              </a:cubicBezTo>
                                                                                              <a:cubicBezTo>
                                                                                                <a:pt x="439983" y="118341"/>
                                                                                                <a:pt x="411521" y="118974"/>
                                                                                                <a:pt x="411521" y="118974"/>
                                                                                              </a:cubicBezTo>
                                                                                              <a:cubicBezTo>
                                                                                                <a:pt x="408122" y="120107"/>
                                                                                                <a:pt x="404121" y="120136"/>
                                                                                                <a:pt x="401323" y="122374"/>
                                                                                              </a:cubicBezTo>
                                                                                              <a:cubicBezTo>
                                                                                                <a:pt x="394103" y="128150"/>
                                                                                                <a:pt x="391860" y="135188"/>
                                                                                                <a:pt x="397924" y="142769"/>
                                                                                              </a:cubicBezTo>
                                                                                              <a:cubicBezTo>
                                                                                                <a:pt x="400476" y="145959"/>
                                                                                                <a:pt x="404723" y="147302"/>
                                                                                                <a:pt x="408122" y="149568"/>
                                                                                              </a:cubicBezTo>
                                                                                              <a:cubicBezTo>
                                                                                                <a:pt x="410388" y="152967"/>
                                                                                                <a:pt x="413261" y="156032"/>
                                                                                                <a:pt x="414920" y="159765"/>
                                                                                              </a:cubicBezTo>
                                                                                              <a:cubicBezTo>
                                                                                                <a:pt x="417831" y="166314"/>
                                                                                                <a:pt x="414920" y="177895"/>
                                                                                                <a:pt x="421719" y="180161"/>
                                                                                              </a:cubicBezTo>
                                                                                              <a:lnTo>
                                                                                                <a:pt x="431916" y="183560"/>
                                                                                              </a:lnTo>
                                                                                              <a:cubicBezTo>
                                                                                                <a:pt x="435480" y="194250"/>
                                                                                                <a:pt x="434602" y="196682"/>
                                                                                                <a:pt x="445513" y="203956"/>
                                                                                              </a:cubicBezTo>
                                                                                              <a:cubicBezTo>
                                                                                                <a:pt x="448494" y="205944"/>
                                                                                                <a:pt x="452312" y="206222"/>
                                                                                                <a:pt x="455711" y="207355"/>
                                                                                              </a:cubicBezTo>
                                                                                              <a:cubicBezTo>
                                                                                                <a:pt x="459110" y="206222"/>
                                                                                                <a:pt x="463111" y="206194"/>
                                                                                                <a:pt x="465909" y="203956"/>
                                                                                              </a:cubicBezTo>
                                                                                              <a:cubicBezTo>
                                                                                                <a:pt x="482256" y="190878"/>
                                                                                                <a:pt x="462199" y="194960"/>
                                                                                                <a:pt x="482905" y="190359"/>
                                                                                              </a:cubicBezTo>
                                                                                              <a:cubicBezTo>
                                                                                                <a:pt x="489633" y="188864"/>
                                                                                                <a:pt x="499902" y="170530"/>
                                                                                                <a:pt x="503301" y="166564"/>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9" name="Freeform 328"/>
                                                                                        <p:cNvSpPr/>
                                                                                        <p:nvPr/>
                                                                                      </p:nvSpPr>
                                                                                      <p:spPr>
                                                                                        <a:xfrm>
                                                                                          <a:off x="1740046" y="2678548"/>
                                                                                          <a:ext cx="251918" cy="224531"/>
                                                                                        </a:xfrm>
                                                                                        <a:custGeom>
                                                                                          <a:avLst/>
                                                                                          <a:gdLst>
                                                                                            <a:gd name="connsiteX0" fmla="*/ 129545 w 251918"/>
                                                                                            <a:gd name="connsiteY0" fmla="*/ 3465 h 224531"/>
                                                                                            <a:gd name="connsiteX1" fmla="*/ 129545 w 251918"/>
                                                                                            <a:gd name="connsiteY1" fmla="*/ 3465 h 224531"/>
                                                                                            <a:gd name="connsiteX2" fmla="*/ 200929 w 251918"/>
                                                                                            <a:gd name="connsiteY2" fmla="*/ 66 h 224531"/>
                                                                                            <a:gd name="connsiteX3" fmla="*/ 224724 w 251918"/>
                                                                                            <a:gd name="connsiteY3" fmla="*/ 6865 h 224531"/>
                                                                                            <a:gd name="connsiteX4" fmla="*/ 234922 w 251918"/>
                                                                                            <a:gd name="connsiteY4" fmla="*/ 27260 h 224531"/>
                                                                                            <a:gd name="connsiteX5" fmla="*/ 228124 w 251918"/>
                                                                                            <a:gd name="connsiteY5" fmla="*/ 47656 h 224531"/>
                                                                                            <a:gd name="connsiteX6" fmla="*/ 224724 w 251918"/>
                                                                                            <a:gd name="connsiteY6" fmla="*/ 57853 h 224531"/>
                                                                                            <a:gd name="connsiteX7" fmla="*/ 228124 w 251918"/>
                                                                                            <a:gd name="connsiteY7" fmla="*/ 68051 h 224531"/>
                                                                                            <a:gd name="connsiteX8" fmla="*/ 234922 w 251918"/>
                                                                                            <a:gd name="connsiteY8" fmla="*/ 78249 h 224531"/>
                                                                                            <a:gd name="connsiteX9" fmla="*/ 241721 w 251918"/>
                                                                                            <a:gd name="connsiteY9" fmla="*/ 98645 h 224531"/>
                                                                                            <a:gd name="connsiteX10" fmla="*/ 238321 w 251918"/>
                                                                                            <a:gd name="connsiteY10" fmla="*/ 112242 h 224531"/>
                                                                                            <a:gd name="connsiteX11" fmla="*/ 228124 w 251918"/>
                                                                                            <a:gd name="connsiteY11" fmla="*/ 115641 h 224531"/>
                                                                                            <a:gd name="connsiteX12" fmla="*/ 224724 w 251918"/>
                                                                                            <a:gd name="connsiteY12" fmla="*/ 125839 h 224531"/>
                                                                                            <a:gd name="connsiteX13" fmla="*/ 245120 w 251918"/>
                                                                                            <a:gd name="connsiteY13" fmla="*/ 136036 h 224531"/>
                                                                                            <a:gd name="connsiteX14" fmla="*/ 251918 w 251918"/>
                                                                                            <a:gd name="connsiteY14" fmla="*/ 156432 h 224531"/>
                                                                                            <a:gd name="connsiteX15" fmla="*/ 248519 w 251918"/>
                                                                                            <a:gd name="connsiteY15" fmla="*/ 170029 h 224531"/>
                                                                                            <a:gd name="connsiteX16" fmla="*/ 228124 w 251918"/>
                                                                                            <a:gd name="connsiteY16" fmla="*/ 166630 h 224531"/>
                                                                                            <a:gd name="connsiteX17" fmla="*/ 217926 w 251918"/>
                                                                                            <a:gd name="connsiteY17" fmla="*/ 204022 h 224531"/>
                                                                                            <a:gd name="connsiteX18" fmla="*/ 197530 w 251918"/>
                                                                                            <a:gd name="connsiteY18" fmla="*/ 210820 h 224531"/>
                                                                                            <a:gd name="connsiteX19" fmla="*/ 166937 w 251918"/>
                                                                                            <a:gd name="connsiteY19" fmla="*/ 221018 h 224531"/>
                                                                                            <a:gd name="connsiteX20" fmla="*/ 146541 w 251918"/>
                                                                                            <a:gd name="connsiteY20" fmla="*/ 210820 h 224531"/>
                                                                                            <a:gd name="connsiteX21" fmla="*/ 136344 w 251918"/>
                                                                                            <a:gd name="connsiteY21" fmla="*/ 214219 h 224531"/>
                                                                                            <a:gd name="connsiteX22" fmla="*/ 122747 w 251918"/>
                                                                                            <a:gd name="connsiteY22" fmla="*/ 210820 h 224531"/>
                                                                                            <a:gd name="connsiteX23" fmla="*/ 119347 w 251918"/>
                                                                                            <a:gd name="connsiteY23" fmla="*/ 200622 h 224531"/>
                                                                                            <a:gd name="connsiteX24" fmla="*/ 115948 w 251918"/>
                                                                                            <a:gd name="connsiteY24" fmla="*/ 180227 h 224531"/>
                                                                                            <a:gd name="connsiteX25" fmla="*/ 105750 w 251918"/>
                                                                                            <a:gd name="connsiteY25" fmla="*/ 142835 h 224531"/>
                                                                                            <a:gd name="connsiteX26" fmla="*/ 102351 w 251918"/>
                                                                                            <a:gd name="connsiteY26" fmla="*/ 129238 h 224531"/>
                                                                                            <a:gd name="connsiteX27" fmla="*/ 92153 w 251918"/>
                                                                                            <a:gd name="connsiteY27" fmla="*/ 125839 h 224531"/>
                                                                                            <a:gd name="connsiteX28" fmla="*/ 85355 w 251918"/>
                                                                                            <a:gd name="connsiteY28" fmla="*/ 136036 h 224531"/>
                                                                                            <a:gd name="connsiteX29" fmla="*/ 54761 w 251918"/>
                                                                                            <a:gd name="connsiteY29" fmla="*/ 153033 h 224531"/>
                                                                                            <a:gd name="connsiteX30" fmla="*/ 44564 w 251918"/>
                                                                                            <a:gd name="connsiteY30" fmla="*/ 159831 h 224531"/>
                                                                                            <a:gd name="connsiteX31" fmla="*/ 27567 w 251918"/>
                                                                                            <a:gd name="connsiteY31" fmla="*/ 132637 h 224531"/>
                                                                                            <a:gd name="connsiteX32" fmla="*/ 10571 w 251918"/>
                                                                                            <a:gd name="connsiteY32" fmla="*/ 115641 h 224531"/>
                                                                                            <a:gd name="connsiteX33" fmla="*/ 7172 w 251918"/>
                                                                                            <a:gd name="connsiteY33" fmla="*/ 105443 h 224531"/>
                                                                                            <a:gd name="connsiteX34" fmla="*/ 373 w 251918"/>
                                                                                            <a:gd name="connsiteY34" fmla="*/ 95245 h 224531"/>
                                                                                            <a:gd name="connsiteX35" fmla="*/ 3773 w 251918"/>
                                                                                            <a:gd name="connsiteY35" fmla="*/ 81648 h 224531"/>
                                                                                            <a:gd name="connsiteX36" fmla="*/ 41164 w 251918"/>
                                                                                            <a:gd name="connsiteY36" fmla="*/ 78249 h 224531"/>
                                                                                            <a:gd name="connsiteX37" fmla="*/ 47963 w 251918"/>
                                                                                            <a:gd name="connsiteY37" fmla="*/ 68051 h 224531"/>
                                                                                            <a:gd name="connsiteX38" fmla="*/ 34366 w 251918"/>
                                                                                            <a:gd name="connsiteY38" fmla="*/ 51055 h 224531"/>
                                                                                            <a:gd name="connsiteX39" fmla="*/ 30967 w 251918"/>
                                                                                            <a:gd name="connsiteY39" fmla="*/ 40857 h 224531"/>
                                                                                            <a:gd name="connsiteX40" fmla="*/ 41164 w 251918"/>
                                                                                            <a:gd name="connsiteY40" fmla="*/ 34059 h 224531"/>
                                                                                            <a:gd name="connsiteX41" fmla="*/ 54761 w 251918"/>
                                                                                            <a:gd name="connsiteY41" fmla="*/ 30659 h 224531"/>
                                                                                            <a:gd name="connsiteX42" fmla="*/ 81955 w 251918"/>
                                                                                            <a:gd name="connsiteY42" fmla="*/ 23861 h 224531"/>
                                                                                            <a:gd name="connsiteX43" fmla="*/ 112549 w 251918"/>
                                                                                            <a:gd name="connsiteY43" fmla="*/ 6865 h 224531"/>
                                                                                            <a:gd name="connsiteX44" fmla="*/ 132944 w 251918"/>
                                                                                            <a:gd name="connsiteY44" fmla="*/ 6865 h 224531"/>
                                                                                            <a:gd name="connsiteX45" fmla="*/ 129545 w 251918"/>
                                                                                            <a:gd name="connsiteY45" fmla="*/ 3465 h 22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1918" h="224531">
                                                                                              <a:moveTo>
                                                                                                <a:pt x="129545" y="3465"/>
                                                                                              </a:moveTo>
                                                                                              <a:lnTo>
                                                                                                <a:pt x="129545" y="3465"/>
                                                                                              </a:lnTo>
                                                                                              <a:cubicBezTo>
                                                                                                <a:pt x="153340" y="2332"/>
                                                                                                <a:pt x="177107" y="66"/>
                                                                                                <a:pt x="200929" y="66"/>
                                                                                              </a:cubicBezTo>
                                                                                              <a:cubicBezTo>
                                                                                                <a:pt x="205201" y="66"/>
                                                                                                <a:pt x="219913" y="5261"/>
                                                                                                <a:pt x="224724" y="6865"/>
                                                                                              </a:cubicBezTo>
                                                                                              <a:cubicBezTo>
                                                                                                <a:pt x="227399" y="10876"/>
                                                                                                <a:pt x="235592" y="21227"/>
                                                                                                <a:pt x="234922" y="27260"/>
                                                                                              </a:cubicBezTo>
                                                                                              <a:cubicBezTo>
                                                                                                <a:pt x="234131" y="34383"/>
                                                                                                <a:pt x="230390" y="40857"/>
                                                                                                <a:pt x="228124" y="47656"/>
                                                                                              </a:cubicBezTo>
                                                                                              <a:lnTo>
                                                                                                <a:pt x="224724" y="57853"/>
                                                                                              </a:lnTo>
                                                                                              <a:cubicBezTo>
                                                                                                <a:pt x="225857" y="61252"/>
                                                                                                <a:pt x="226522" y="64846"/>
                                                                                                <a:pt x="228124" y="68051"/>
                                                                                              </a:cubicBezTo>
                                                                                              <a:cubicBezTo>
                                                                                                <a:pt x="229951" y="71705"/>
                                                                                                <a:pt x="233263" y="74516"/>
                                                                                                <a:pt x="234922" y="78249"/>
                                                                                              </a:cubicBezTo>
                                                                                              <a:cubicBezTo>
                                                                                                <a:pt x="237833" y="84798"/>
                                                                                                <a:pt x="241721" y="98645"/>
                                                                                                <a:pt x="241721" y="98645"/>
                                                                                              </a:cubicBezTo>
                                                                                              <a:cubicBezTo>
                                                                                                <a:pt x="240588" y="103177"/>
                                                                                                <a:pt x="241240" y="108594"/>
                                                                                                <a:pt x="238321" y="112242"/>
                                                                                              </a:cubicBezTo>
                                                                                              <a:cubicBezTo>
                                                                                                <a:pt x="236083" y="115040"/>
                                                                                                <a:pt x="230657" y="113108"/>
                                                                                                <a:pt x="228124" y="115641"/>
                                                                                              </a:cubicBezTo>
                                                                                              <a:cubicBezTo>
                                                                                                <a:pt x="225590" y="118175"/>
                                                                                                <a:pt x="225857" y="122440"/>
                                                                                                <a:pt x="224724" y="125839"/>
                                                                                              </a:cubicBezTo>
                                                                                              <a:cubicBezTo>
                                                                                                <a:pt x="230280" y="127691"/>
                                                                                                <a:pt x="241652" y="130487"/>
                                                                                                <a:pt x="245120" y="136036"/>
                                                                                              </a:cubicBezTo>
                                                                                              <a:cubicBezTo>
                                                                                                <a:pt x="248918" y="142113"/>
                                                                                                <a:pt x="251918" y="156432"/>
                                                                                                <a:pt x="251918" y="156432"/>
                                                                                              </a:cubicBezTo>
                                                                                              <a:cubicBezTo>
                                                                                                <a:pt x="250785" y="160964"/>
                                                                                                <a:pt x="251437" y="166381"/>
                                                                                                <a:pt x="248519" y="170029"/>
                                                                                              </a:cubicBezTo>
                                                                                              <a:cubicBezTo>
                                                                                                <a:pt x="241176" y="179207"/>
                                                                                                <a:pt x="233629" y="170300"/>
                                                                                                <a:pt x="228124" y="166630"/>
                                                                                              </a:cubicBezTo>
                                                                                              <a:cubicBezTo>
                                                                                                <a:pt x="227366" y="172691"/>
                                                                                                <a:pt x="228383" y="197487"/>
                                                                                                <a:pt x="217926" y="204022"/>
                                                                                              </a:cubicBezTo>
                                                                                              <a:cubicBezTo>
                                                                                                <a:pt x="211849" y="207820"/>
                                                                                                <a:pt x="197530" y="210820"/>
                                                                                                <a:pt x="197530" y="210820"/>
                                                                                              </a:cubicBezTo>
                                                                                              <a:cubicBezTo>
                                                                                                <a:pt x="174154" y="226405"/>
                                                                                                <a:pt x="184886" y="227001"/>
                                                                                                <a:pt x="166937" y="221018"/>
                                                                                              </a:cubicBezTo>
                                                                                              <a:cubicBezTo>
                                                                                                <a:pt x="161780" y="217580"/>
                                                                                                <a:pt x="153579" y="210820"/>
                                                                                                <a:pt x="146541" y="210820"/>
                                                                                              </a:cubicBezTo>
                                                                                              <a:cubicBezTo>
                                                                                                <a:pt x="142958" y="210820"/>
                                                                                                <a:pt x="139743" y="213086"/>
                                                                                                <a:pt x="136344" y="214219"/>
                                                                                              </a:cubicBezTo>
                                                                                              <a:cubicBezTo>
                                                                                                <a:pt x="131812" y="213086"/>
                                                                                                <a:pt x="126395" y="213738"/>
                                                                                                <a:pt x="122747" y="210820"/>
                                                                                              </a:cubicBezTo>
                                                                                              <a:cubicBezTo>
                                                                                                <a:pt x="119949" y="208582"/>
                                                                                                <a:pt x="120124" y="204120"/>
                                                                                                <a:pt x="119347" y="200622"/>
                                                                                              </a:cubicBezTo>
                                                                                              <a:cubicBezTo>
                                                                                                <a:pt x="117852" y="193894"/>
                                                                                                <a:pt x="117181" y="187008"/>
                                                                                                <a:pt x="115948" y="180227"/>
                                                                                              </a:cubicBezTo>
                                                                                              <a:cubicBezTo>
                                                                                                <a:pt x="108106" y="137090"/>
                                                                                                <a:pt x="118145" y="192417"/>
                                                                                                <a:pt x="105750" y="142835"/>
                                                                                              </a:cubicBezTo>
                                                                                              <a:cubicBezTo>
                                                                                                <a:pt x="104617" y="138303"/>
                                                                                                <a:pt x="105269" y="132886"/>
                                                                                                <a:pt x="102351" y="129238"/>
                                                                                              </a:cubicBezTo>
                                                                                              <a:cubicBezTo>
                                                                                                <a:pt x="100113" y="126440"/>
                                                                                                <a:pt x="95552" y="126972"/>
                                                                                                <a:pt x="92153" y="125839"/>
                                                                                              </a:cubicBezTo>
                                                                                              <a:cubicBezTo>
                                                                                                <a:pt x="89887" y="129238"/>
                                                                                                <a:pt x="88429" y="133346"/>
                                                                                                <a:pt x="85355" y="136036"/>
                                                                                              </a:cubicBezTo>
                                                                                              <a:cubicBezTo>
                                                                                                <a:pt x="56777" y="161041"/>
                                                                                                <a:pt x="74991" y="142917"/>
                                                                                                <a:pt x="54761" y="153033"/>
                                                                                              </a:cubicBezTo>
                                                                                              <a:cubicBezTo>
                                                                                                <a:pt x="51107" y="154860"/>
                                                                                                <a:pt x="47963" y="157565"/>
                                                                                                <a:pt x="44564" y="159831"/>
                                                                                              </a:cubicBezTo>
                                                                                              <a:cubicBezTo>
                                                                                                <a:pt x="20104" y="143526"/>
                                                                                                <a:pt x="50215" y="166613"/>
                                                                                                <a:pt x="27567" y="132637"/>
                                                                                              </a:cubicBezTo>
                                                                                              <a:cubicBezTo>
                                                                                                <a:pt x="18503" y="119040"/>
                                                                                                <a:pt x="24168" y="124705"/>
                                                                                                <a:pt x="10571" y="115641"/>
                                                                                              </a:cubicBezTo>
                                                                                              <a:cubicBezTo>
                                                                                                <a:pt x="9438" y="112242"/>
                                                                                                <a:pt x="8774" y="108648"/>
                                                                                                <a:pt x="7172" y="105443"/>
                                                                                              </a:cubicBezTo>
                                                                                              <a:cubicBezTo>
                                                                                                <a:pt x="5345" y="101789"/>
                                                                                                <a:pt x="951" y="99289"/>
                                                                                                <a:pt x="373" y="95245"/>
                                                                                              </a:cubicBezTo>
                                                                                              <a:cubicBezTo>
                                                                                                <a:pt x="-288" y="90620"/>
                                                                                                <a:pt x="-540" y="83445"/>
                                                                                                <a:pt x="3773" y="81648"/>
                                                                                              </a:cubicBezTo>
                                                                                              <a:cubicBezTo>
                                                                                                <a:pt x="15325" y="76835"/>
                                                                                                <a:pt x="28700" y="79382"/>
                                                                                                <a:pt x="41164" y="78249"/>
                                                                                              </a:cubicBezTo>
                                                                                              <a:cubicBezTo>
                                                                                                <a:pt x="43430" y="74850"/>
                                                                                                <a:pt x="47291" y="72081"/>
                                                                                                <a:pt x="47963" y="68051"/>
                                                                                              </a:cubicBezTo>
                                                                                              <a:cubicBezTo>
                                                                                                <a:pt x="49605" y="58199"/>
                                                                                                <a:pt x="40325" y="55027"/>
                                                                                                <a:pt x="34366" y="51055"/>
                                                                                              </a:cubicBezTo>
                                                                                              <a:cubicBezTo>
                                                                                                <a:pt x="33233" y="47656"/>
                                                                                                <a:pt x="29636" y="44184"/>
                                                                                                <a:pt x="30967" y="40857"/>
                                                                                              </a:cubicBezTo>
                                                                                              <a:cubicBezTo>
                                                                                                <a:pt x="32484" y="37064"/>
                                                                                                <a:pt x="37409" y="35668"/>
                                                                                                <a:pt x="41164" y="34059"/>
                                                                                              </a:cubicBezTo>
                                                                                              <a:cubicBezTo>
                                                                                                <a:pt x="45458" y="32219"/>
                                                                                                <a:pt x="50200" y="31673"/>
                                                                                                <a:pt x="54761" y="30659"/>
                                                                                              </a:cubicBezTo>
                                                                                              <a:cubicBezTo>
                                                                                                <a:pt x="79380" y="25188"/>
                                                                                                <a:pt x="63729" y="29936"/>
                                                                                                <a:pt x="81955" y="23861"/>
                                                                                              </a:cubicBezTo>
                                                                                              <a:cubicBezTo>
                                                                                                <a:pt x="105332" y="8276"/>
                                                                                                <a:pt x="94599" y="12848"/>
                                                                                                <a:pt x="112549" y="6865"/>
                                                                                              </a:cubicBezTo>
                                                                                              <a:cubicBezTo>
                                                                                                <a:pt x="123427" y="-387"/>
                                                                                                <a:pt x="122067" y="-4013"/>
                                                                                                <a:pt x="132944" y="6865"/>
                                                                                              </a:cubicBezTo>
                                                                                              <a:lnTo>
                                                                                                <a:pt x="129545" y="3465"/>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305" name="Group 304"/>
                                                                                      <p:cNvGrpSpPr/>
                                                                                      <p:nvPr/>
                                                                                    </p:nvGrpSpPr>
                                                                                    <p:grpSpPr>
                                                                                      <a:xfrm>
                                                                                        <a:off x="1699337" y="1906983"/>
                                                                                        <a:ext cx="1050662" cy="1784610"/>
                                                                                        <a:chOff x="1699337" y="1906983"/>
                                                                                        <a:chExt cx="1050662" cy="1784610"/>
                                                                                      </a:xfrm>
                                                                                      <a:grpFill/>
                                                                                    </p:grpSpPr>
                                                                                    <p:grpSp>
                                                                                      <p:nvGrpSpPr>
                                                                                        <p:cNvPr id="306" name="Group 305"/>
                                                                                        <p:cNvGrpSpPr/>
                                                                                        <p:nvPr/>
                                                                                      </p:nvGrpSpPr>
                                                                                      <p:grpSpPr>
                                                                                        <a:xfrm>
                                                                                          <a:off x="1699337" y="1906983"/>
                                                                                          <a:ext cx="1050662" cy="1784610"/>
                                                                                          <a:chOff x="1699337" y="1906983"/>
                                                                                          <a:chExt cx="1050662" cy="1784610"/>
                                                                                        </a:xfrm>
                                                                                        <a:grpFill/>
                                                                                      </p:grpSpPr>
                                                                                      <p:grpSp>
                                                                                        <p:nvGrpSpPr>
                                                                                          <p:cNvPr id="308" name="Group 307"/>
                                                                                          <p:cNvGrpSpPr/>
                                                                                          <p:nvPr/>
                                                                                        </p:nvGrpSpPr>
                                                                                        <p:grpSpPr>
                                                                                          <a:xfrm>
                                                                                            <a:off x="1699337" y="1906983"/>
                                                                                            <a:ext cx="1050662" cy="1784610"/>
                                                                                            <a:chOff x="1699337" y="1906983"/>
                                                                                            <a:chExt cx="1050662" cy="1784610"/>
                                                                                          </a:xfrm>
                                                                                          <a:grpFill/>
                                                                                        </p:grpSpPr>
                                                                                        <p:grpSp>
                                                                                          <p:nvGrpSpPr>
                                                                                            <p:cNvPr id="310" name="Group 309"/>
                                                                                            <p:cNvGrpSpPr/>
                                                                                            <p:nvPr/>
                                                                                          </p:nvGrpSpPr>
                                                                                          <p:grpSpPr>
                                                                                            <a:xfrm>
                                                                                              <a:off x="1699337" y="1906983"/>
                                                                                              <a:ext cx="1050662" cy="1784610"/>
                                                                                              <a:chOff x="1699337" y="1906983"/>
                                                                                              <a:chExt cx="1050662" cy="1784610"/>
                                                                                            </a:xfrm>
                                                                                            <a:grpFill/>
                                                                                          </p:grpSpPr>
                                                                                          <p:grpSp>
                                                                                            <p:nvGrpSpPr>
                                                                                              <p:cNvPr id="312" name="Group 311"/>
                                                                                              <p:cNvGrpSpPr/>
                                                                                              <p:nvPr/>
                                                                                            </p:nvGrpSpPr>
                                                                                            <p:grpSpPr>
                                                                                              <a:xfrm>
                                                                                                <a:off x="1699337" y="1906983"/>
                                                                                                <a:ext cx="1050662" cy="1784610"/>
                                                                                                <a:chOff x="1699337" y="1906983"/>
                                                                                                <a:chExt cx="1050662" cy="1784610"/>
                                                                                              </a:xfrm>
                                                                                              <a:grpFill/>
                                                                                            </p:grpSpPr>
                                                                                            <p:grpSp>
                                                                                              <p:nvGrpSpPr>
                                                                                                <p:cNvPr id="314" name="Group 313"/>
                                                                                                <p:cNvGrpSpPr/>
                                                                                                <p:nvPr/>
                                                                                              </p:nvGrpSpPr>
                                                                                              <p:grpSpPr>
                                                                                                <a:xfrm>
                                                                                                  <a:off x="1699337" y="1906983"/>
                                                                                                  <a:ext cx="1050662" cy="1784610"/>
                                                                                                  <a:chOff x="1699337" y="1906983"/>
                                                                                                  <a:chExt cx="1050662" cy="1784610"/>
                                                                                                </a:xfrm>
                                                                                                <a:grpFill/>
                                                                                              </p:grpSpPr>
                                                                                              <p:grpSp>
                                                                                                <p:nvGrpSpPr>
                                                                                                  <p:cNvPr id="316" name="Group 315"/>
                                                                                                  <p:cNvGrpSpPr/>
                                                                                                  <p:nvPr/>
                                                                                                </p:nvGrpSpPr>
                                                                                                <p:grpSpPr>
                                                                                                  <a:xfrm>
                                                                                                    <a:off x="1699337" y="1906983"/>
                                                                                                    <a:ext cx="1050662" cy="1784610"/>
                                                                                                    <a:chOff x="1699337" y="1906983"/>
                                                                                                    <a:chExt cx="1050662" cy="1784610"/>
                                                                                                  </a:xfrm>
                                                                                                  <a:grpFill/>
                                                                                                </p:grpSpPr>
                                                                                                <p:grpSp>
                                                                                                  <p:nvGrpSpPr>
                                                                                                    <p:cNvPr id="318" name="Group 317"/>
                                                                                                    <p:cNvGrpSpPr/>
                                                                                                    <p:nvPr/>
                                                                                                  </p:nvGrpSpPr>
                                                                                                  <p:grpSpPr>
                                                                                                    <a:xfrm>
                                                                                                      <a:off x="1699337" y="1906983"/>
                                                                                                      <a:ext cx="1050662" cy="1784610"/>
                                                                                                      <a:chOff x="1699337" y="1906983"/>
                                                                                                      <a:chExt cx="1050662" cy="1784610"/>
                                                                                                    </a:xfrm>
                                                                                                    <a:grpFill/>
                                                                                                  </p:grpSpPr>
                                                                                                  <p:grpSp>
                                                                                                    <p:nvGrpSpPr>
                                                                                                      <p:cNvPr id="320" name="Group 319"/>
                                                                                                      <p:cNvGrpSpPr/>
                                                                                                      <p:nvPr/>
                                                                                                    </p:nvGrpSpPr>
                                                                                                    <p:grpSpPr>
                                                                                                      <a:xfrm>
                                                                                                        <a:off x="1699337" y="1906983"/>
                                                                                                        <a:ext cx="1050662" cy="1784610"/>
                                                                                                        <a:chOff x="1699337" y="1906983"/>
                                                                                                        <a:chExt cx="1050662" cy="1784610"/>
                                                                                                      </a:xfrm>
                                                                                                      <a:grpFill/>
                                                                                                    </p:grpSpPr>
                                                                                                    <p:grpSp>
                                                                                                      <p:nvGrpSpPr>
                                                                                                        <p:cNvPr id="322" name="Group 321"/>
                                                                                                        <p:cNvGrpSpPr/>
                                                                                                        <p:nvPr/>
                                                                                                      </p:nvGrpSpPr>
                                                                                                      <p:grpSpPr>
                                                                                                        <a:xfrm>
                                                                                                          <a:off x="1699337" y="2120647"/>
                                                                                                          <a:ext cx="924889" cy="1570946"/>
                                                                                                          <a:chOff x="1699337" y="2120647"/>
                                                                                                          <a:chExt cx="924889" cy="1570946"/>
                                                                                                        </a:xfrm>
                                                                                                        <a:grpFill/>
                                                                                                      </p:grpSpPr>
                                                                                                      <p:grpSp>
                                                                                                        <p:nvGrpSpPr>
                                                                                                          <p:cNvPr id="324" name="Group 323"/>
                                                                                                          <p:cNvGrpSpPr/>
                                                                                                          <p:nvPr/>
                                                                                                        </p:nvGrpSpPr>
                                                                                                        <p:grpSpPr>
                                                                                                          <a:xfrm>
                                                                                                            <a:off x="1699337" y="2120647"/>
                                                                                                            <a:ext cx="924889" cy="1570946"/>
                                                                                                            <a:chOff x="1699337" y="2120647"/>
                                                                                                            <a:chExt cx="924889" cy="1570946"/>
                                                                                                          </a:xfrm>
                                                                                                          <a:grpFill/>
                                                                                                        </p:grpSpPr>
                                                                                                        <p:sp>
                                                                                                          <p:nvSpPr>
                                                                                                            <p:cNvPr id="326" name="Freeform 325"/>
                                                                                                            <p:cNvSpPr/>
                                                                                                            <p:nvPr/>
                                                                                                          </p:nvSpPr>
                                                                                                          <p:spPr>
                                                                                                            <a:xfrm>
                                                                                                              <a:off x="1699337" y="2148330"/>
                                                                                                              <a:ext cx="924889" cy="1543263"/>
                                                                                                            </a:xfrm>
                                                                                                            <a:custGeom>
                                                                                                              <a:avLst/>
                                                                                                              <a:gdLst>
                                                                                                                <a:gd name="connsiteX0" fmla="*/ 615557 w 924889"/>
                                                                                                                <a:gd name="connsiteY0" fmla="*/ 0 h 1543263"/>
                                                                                                                <a:gd name="connsiteX1" fmla="*/ 615557 w 924889"/>
                                                                                                                <a:gd name="connsiteY1" fmla="*/ 0 h 1543263"/>
                                                                                                                <a:gd name="connsiteX2" fmla="*/ 625754 w 924889"/>
                                                                                                                <a:gd name="connsiteY2" fmla="*/ 27194 h 1543263"/>
                                                                                                                <a:gd name="connsiteX3" fmla="*/ 635952 w 924889"/>
                                                                                                                <a:gd name="connsiteY3" fmla="*/ 33993 h 1543263"/>
                                                                                                                <a:gd name="connsiteX4" fmla="*/ 642751 w 924889"/>
                                                                                                                <a:gd name="connsiteY4" fmla="*/ 54388 h 1543263"/>
                                                                                                                <a:gd name="connsiteX5" fmla="*/ 676743 w 924889"/>
                                                                                                                <a:gd name="connsiteY5" fmla="*/ 50989 h 1543263"/>
                                                                                                                <a:gd name="connsiteX6" fmla="*/ 666546 w 924889"/>
                                                                                                                <a:gd name="connsiteY6" fmla="*/ 44190 h 1543263"/>
                                                                                                                <a:gd name="connsiteX7" fmla="*/ 744728 w 924889"/>
                                                                                                                <a:gd name="connsiteY7" fmla="*/ 50989 h 1543263"/>
                                                                                                                <a:gd name="connsiteX8" fmla="*/ 768523 w 924889"/>
                                                                                                                <a:gd name="connsiteY8" fmla="*/ 50989 h 1543263"/>
                                                                                                                <a:gd name="connsiteX9" fmla="*/ 751527 w 924889"/>
                                                                                                                <a:gd name="connsiteY9" fmla="*/ 88381 h 1543263"/>
                                                                                                                <a:gd name="connsiteX10" fmla="*/ 741329 w 924889"/>
                                                                                                                <a:gd name="connsiteY10" fmla="*/ 91780 h 1543263"/>
                                                                                                                <a:gd name="connsiteX11" fmla="*/ 700538 w 924889"/>
                                                                                                                <a:gd name="connsiteY11" fmla="*/ 118974 h 1543263"/>
                                                                                                                <a:gd name="connsiteX12" fmla="*/ 680143 w 924889"/>
                                                                                                                <a:gd name="connsiteY12" fmla="*/ 132571 h 1543263"/>
                                                                                                                <a:gd name="connsiteX13" fmla="*/ 669945 w 924889"/>
                                                                                                                <a:gd name="connsiteY13" fmla="*/ 135970 h 1543263"/>
                                                                                                                <a:gd name="connsiteX14" fmla="*/ 659747 w 924889"/>
                                                                                                                <a:gd name="connsiteY14" fmla="*/ 142769 h 1543263"/>
                                                                                                                <a:gd name="connsiteX15" fmla="*/ 625754 w 924889"/>
                                                                                                                <a:gd name="connsiteY15" fmla="*/ 149567 h 1543263"/>
                                                                                                                <a:gd name="connsiteX16" fmla="*/ 632553 w 924889"/>
                                                                                                                <a:gd name="connsiteY16" fmla="*/ 159765 h 1543263"/>
                                                                                                                <a:gd name="connsiteX17" fmla="*/ 642751 w 924889"/>
                                                                                                                <a:gd name="connsiteY17" fmla="*/ 163164 h 1543263"/>
                                                                                                                <a:gd name="connsiteX18" fmla="*/ 649549 w 924889"/>
                                                                                                                <a:gd name="connsiteY18" fmla="*/ 183560 h 1543263"/>
                                                                                                                <a:gd name="connsiteX19" fmla="*/ 639351 w 924889"/>
                                                                                                                <a:gd name="connsiteY19" fmla="*/ 190358 h 1543263"/>
                                                                                                                <a:gd name="connsiteX20" fmla="*/ 605359 w 924889"/>
                                                                                                                <a:gd name="connsiteY20" fmla="*/ 197157 h 1543263"/>
                                                                                                                <a:gd name="connsiteX21" fmla="*/ 608758 w 924889"/>
                                                                                                                <a:gd name="connsiteY21" fmla="*/ 217553 h 1543263"/>
                                                                                                                <a:gd name="connsiteX22" fmla="*/ 632553 w 924889"/>
                                                                                                                <a:gd name="connsiteY22" fmla="*/ 210754 h 1543263"/>
                                                                                                                <a:gd name="connsiteX23" fmla="*/ 656348 w 924889"/>
                                                                                                                <a:gd name="connsiteY23" fmla="*/ 214153 h 1543263"/>
                                                                                                                <a:gd name="connsiteX24" fmla="*/ 680143 w 924889"/>
                                                                                                                <a:gd name="connsiteY24" fmla="*/ 210754 h 1543263"/>
                                                                                                                <a:gd name="connsiteX25" fmla="*/ 703937 w 924889"/>
                                                                                                                <a:gd name="connsiteY25" fmla="*/ 203956 h 1543263"/>
                                                                                                                <a:gd name="connsiteX26" fmla="*/ 714135 w 924889"/>
                                                                                                                <a:gd name="connsiteY26" fmla="*/ 214153 h 1543263"/>
                                                                                                                <a:gd name="connsiteX27" fmla="*/ 741329 w 924889"/>
                                                                                                                <a:gd name="connsiteY27" fmla="*/ 224351 h 1543263"/>
                                                                                                                <a:gd name="connsiteX28" fmla="*/ 761725 w 924889"/>
                                                                                                                <a:gd name="connsiteY28" fmla="*/ 237948 h 1543263"/>
                                                                                                                <a:gd name="connsiteX29" fmla="*/ 805915 w 924889"/>
                                                                                                                <a:gd name="connsiteY29" fmla="*/ 248146 h 1543263"/>
                                                                                                                <a:gd name="connsiteX30" fmla="*/ 826311 w 924889"/>
                                                                                                                <a:gd name="connsiteY30" fmla="*/ 258344 h 1543263"/>
                                                                                                                <a:gd name="connsiteX31" fmla="*/ 822911 w 924889"/>
                                                                                                                <a:gd name="connsiteY31" fmla="*/ 278739 h 1543263"/>
                                                                                                                <a:gd name="connsiteX32" fmla="*/ 809314 w 924889"/>
                                                                                                                <a:gd name="connsiteY32" fmla="*/ 309332 h 1543263"/>
                                                                                                                <a:gd name="connsiteX33" fmla="*/ 799117 w 924889"/>
                                                                                                                <a:gd name="connsiteY33" fmla="*/ 329728 h 1543263"/>
                                                                                                                <a:gd name="connsiteX34" fmla="*/ 795717 w 924889"/>
                                                                                                                <a:gd name="connsiteY34" fmla="*/ 339926 h 1543263"/>
                                                                                                                <a:gd name="connsiteX35" fmla="*/ 775322 w 924889"/>
                                                                                                                <a:gd name="connsiteY35" fmla="*/ 363721 h 1543263"/>
                                                                                                                <a:gd name="connsiteX36" fmla="*/ 741329 w 924889"/>
                                                                                                                <a:gd name="connsiteY36" fmla="*/ 401112 h 1543263"/>
                                                                                                                <a:gd name="connsiteX37" fmla="*/ 714135 w 924889"/>
                                                                                                                <a:gd name="connsiteY37" fmla="*/ 411310 h 1543263"/>
                                                                                                                <a:gd name="connsiteX38" fmla="*/ 707337 w 924889"/>
                                                                                                                <a:gd name="connsiteY38" fmla="*/ 421508 h 1543263"/>
                                                                                                                <a:gd name="connsiteX39" fmla="*/ 686941 w 924889"/>
                                                                                                                <a:gd name="connsiteY39" fmla="*/ 428306 h 1543263"/>
                                                                                                                <a:gd name="connsiteX40" fmla="*/ 666546 w 924889"/>
                                                                                                                <a:gd name="connsiteY40" fmla="*/ 435105 h 1543263"/>
                                                                                                                <a:gd name="connsiteX41" fmla="*/ 656348 w 924889"/>
                                                                                                                <a:gd name="connsiteY41" fmla="*/ 438504 h 1543263"/>
                                                                                                                <a:gd name="connsiteX42" fmla="*/ 639351 w 924889"/>
                                                                                                                <a:gd name="connsiteY42" fmla="*/ 441903 h 1543263"/>
                                                                                                                <a:gd name="connsiteX43" fmla="*/ 666546 w 924889"/>
                                                                                                                <a:gd name="connsiteY43" fmla="*/ 465698 h 1543263"/>
                                                                                                                <a:gd name="connsiteX44" fmla="*/ 669945 w 924889"/>
                                                                                                                <a:gd name="connsiteY44" fmla="*/ 475896 h 1543263"/>
                                                                                                                <a:gd name="connsiteX45" fmla="*/ 659747 w 924889"/>
                                                                                                                <a:gd name="connsiteY45" fmla="*/ 479295 h 1543263"/>
                                                                                                                <a:gd name="connsiteX46" fmla="*/ 622355 w 924889"/>
                                                                                                                <a:gd name="connsiteY46" fmla="*/ 482695 h 1543263"/>
                                                                                                                <a:gd name="connsiteX47" fmla="*/ 612157 w 924889"/>
                                                                                                                <a:gd name="connsiteY47" fmla="*/ 489493 h 1543263"/>
                                                                                                                <a:gd name="connsiteX48" fmla="*/ 574766 w 924889"/>
                                                                                                                <a:gd name="connsiteY48" fmla="*/ 482695 h 1543263"/>
                                                                                                                <a:gd name="connsiteX49" fmla="*/ 588363 w 924889"/>
                                                                                                                <a:gd name="connsiteY49" fmla="*/ 503090 h 1543263"/>
                                                                                                                <a:gd name="connsiteX50" fmla="*/ 598560 w 924889"/>
                                                                                                                <a:gd name="connsiteY50" fmla="*/ 506489 h 1543263"/>
                                                                                                                <a:gd name="connsiteX51" fmla="*/ 629154 w 924889"/>
                                                                                                                <a:gd name="connsiteY51" fmla="*/ 523486 h 1543263"/>
                                                                                                                <a:gd name="connsiteX52" fmla="*/ 656348 w 924889"/>
                                                                                                                <a:gd name="connsiteY52" fmla="*/ 520086 h 1543263"/>
                                                                                                                <a:gd name="connsiteX53" fmla="*/ 666546 w 924889"/>
                                                                                                                <a:gd name="connsiteY53" fmla="*/ 526885 h 1543263"/>
                                                                                                                <a:gd name="connsiteX54" fmla="*/ 700538 w 924889"/>
                                                                                                                <a:gd name="connsiteY54" fmla="*/ 560877 h 1543263"/>
                                                                                                                <a:gd name="connsiteX55" fmla="*/ 710736 w 924889"/>
                                                                                                                <a:gd name="connsiteY55" fmla="*/ 567676 h 1543263"/>
                                                                                                                <a:gd name="connsiteX56" fmla="*/ 717534 w 924889"/>
                                                                                                                <a:gd name="connsiteY56" fmla="*/ 588071 h 1543263"/>
                                                                                                                <a:gd name="connsiteX57" fmla="*/ 724333 w 924889"/>
                                                                                                                <a:gd name="connsiteY57" fmla="*/ 622064 h 1543263"/>
                                                                                                                <a:gd name="connsiteX58" fmla="*/ 731131 w 924889"/>
                                                                                                                <a:gd name="connsiteY58" fmla="*/ 642460 h 1543263"/>
                                                                                                                <a:gd name="connsiteX59" fmla="*/ 727732 w 924889"/>
                                                                                                                <a:gd name="connsiteY59" fmla="*/ 730840 h 1543263"/>
                                                                                                                <a:gd name="connsiteX60" fmla="*/ 734531 w 924889"/>
                                                                                                                <a:gd name="connsiteY60" fmla="*/ 795426 h 1543263"/>
                                                                                                                <a:gd name="connsiteX61" fmla="*/ 741329 w 924889"/>
                                                                                                                <a:gd name="connsiteY61" fmla="*/ 805624 h 1543263"/>
                                                                                                                <a:gd name="connsiteX62" fmla="*/ 751527 w 924889"/>
                                                                                                                <a:gd name="connsiteY62" fmla="*/ 809023 h 1543263"/>
                                                                                                                <a:gd name="connsiteX63" fmla="*/ 765124 w 924889"/>
                                                                                                                <a:gd name="connsiteY63" fmla="*/ 829419 h 1543263"/>
                                                                                                                <a:gd name="connsiteX64" fmla="*/ 771922 w 924889"/>
                                                                                                                <a:gd name="connsiteY64" fmla="*/ 839616 h 1543263"/>
                                                                                                                <a:gd name="connsiteX65" fmla="*/ 785520 w 924889"/>
                                                                                                                <a:gd name="connsiteY65" fmla="*/ 870210 h 1543263"/>
                                                                                                                <a:gd name="connsiteX66" fmla="*/ 795717 w 924889"/>
                                                                                                                <a:gd name="connsiteY66" fmla="*/ 921199 h 1543263"/>
                                                                                                                <a:gd name="connsiteX67" fmla="*/ 802516 w 924889"/>
                                                                                                                <a:gd name="connsiteY67" fmla="*/ 931396 h 1543263"/>
                                                                                                                <a:gd name="connsiteX68" fmla="*/ 805915 w 924889"/>
                                                                                                                <a:gd name="connsiteY68" fmla="*/ 1002781 h 1543263"/>
                                                                                                                <a:gd name="connsiteX69" fmla="*/ 805915 w 924889"/>
                                                                                                                <a:gd name="connsiteY69" fmla="*/ 1036773 h 1543263"/>
                                                                                                                <a:gd name="connsiteX70" fmla="*/ 795717 w 924889"/>
                                                                                                                <a:gd name="connsiteY70" fmla="*/ 1043572 h 1543263"/>
                                                                                                                <a:gd name="connsiteX71" fmla="*/ 792318 w 924889"/>
                                                                                                                <a:gd name="connsiteY71" fmla="*/ 1026576 h 1543263"/>
                                                                                                                <a:gd name="connsiteX72" fmla="*/ 782120 w 924889"/>
                                                                                                                <a:gd name="connsiteY72" fmla="*/ 1023176 h 1543263"/>
                                                                                                                <a:gd name="connsiteX73" fmla="*/ 761725 w 924889"/>
                                                                                                                <a:gd name="connsiteY73" fmla="*/ 1006180 h 1543263"/>
                                                                                                                <a:gd name="connsiteX74" fmla="*/ 744728 w 924889"/>
                                                                                                                <a:gd name="connsiteY74" fmla="*/ 1002781 h 1543263"/>
                                                                                                                <a:gd name="connsiteX75" fmla="*/ 734531 w 924889"/>
                                                                                                                <a:gd name="connsiteY75" fmla="*/ 999382 h 1543263"/>
                                                                                                                <a:gd name="connsiteX76" fmla="*/ 744728 w 924889"/>
                                                                                                                <a:gd name="connsiteY76" fmla="*/ 995982 h 1543263"/>
                                                                                                                <a:gd name="connsiteX77" fmla="*/ 761725 w 924889"/>
                                                                                                                <a:gd name="connsiteY77" fmla="*/ 1009579 h 1543263"/>
                                                                                                                <a:gd name="connsiteX78" fmla="*/ 771922 w 924889"/>
                                                                                                                <a:gd name="connsiteY78" fmla="*/ 1012979 h 1543263"/>
                                                                                                                <a:gd name="connsiteX79" fmla="*/ 778721 w 924889"/>
                                                                                                                <a:gd name="connsiteY79" fmla="*/ 1033374 h 1543263"/>
                                                                                                                <a:gd name="connsiteX80" fmla="*/ 799117 w 924889"/>
                                                                                                                <a:gd name="connsiteY80" fmla="*/ 1046971 h 1543263"/>
                                                                                                                <a:gd name="connsiteX81" fmla="*/ 802516 w 924889"/>
                                                                                                                <a:gd name="connsiteY81" fmla="*/ 1057169 h 1543263"/>
                                                                                                                <a:gd name="connsiteX82" fmla="*/ 809314 w 924889"/>
                                                                                                                <a:gd name="connsiteY82" fmla="*/ 1067367 h 1543263"/>
                                                                                                                <a:gd name="connsiteX83" fmla="*/ 799117 w 924889"/>
                                                                                                                <a:gd name="connsiteY83" fmla="*/ 1114956 h 1543263"/>
                                                                                                                <a:gd name="connsiteX84" fmla="*/ 788919 w 924889"/>
                                                                                                                <a:gd name="connsiteY84" fmla="*/ 1121755 h 1543263"/>
                                                                                                                <a:gd name="connsiteX85" fmla="*/ 771922 w 924889"/>
                                                                                                                <a:gd name="connsiteY85" fmla="*/ 1138751 h 1543263"/>
                                                                                                                <a:gd name="connsiteX86" fmla="*/ 765124 w 924889"/>
                                                                                                                <a:gd name="connsiteY86" fmla="*/ 1148949 h 1543263"/>
                                                                                                                <a:gd name="connsiteX87" fmla="*/ 775322 w 924889"/>
                                                                                                                <a:gd name="connsiteY87" fmla="*/ 1179542 h 1543263"/>
                                                                                                                <a:gd name="connsiteX88" fmla="*/ 785520 w 924889"/>
                                                                                                                <a:gd name="connsiteY88" fmla="*/ 1182941 h 1543263"/>
                                                                                                                <a:gd name="connsiteX89" fmla="*/ 795717 w 924889"/>
                                                                                                                <a:gd name="connsiteY89" fmla="*/ 1179542 h 1543263"/>
                                                                                                                <a:gd name="connsiteX90" fmla="*/ 819512 w 924889"/>
                                                                                                                <a:gd name="connsiteY90" fmla="*/ 1152348 h 1543263"/>
                                                                                                                <a:gd name="connsiteX91" fmla="*/ 833109 w 924889"/>
                                                                                                                <a:gd name="connsiteY91" fmla="*/ 1162546 h 1543263"/>
                                                                                                                <a:gd name="connsiteX92" fmla="*/ 843307 w 924889"/>
                                                                                                                <a:gd name="connsiteY92" fmla="*/ 1165945 h 1543263"/>
                                                                                                                <a:gd name="connsiteX93" fmla="*/ 850105 w 924889"/>
                                                                                                                <a:gd name="connsiteY93" fmla="*/ 1176143 h 1543263"/>
                                                                                                                <a:gd name="connsiteX94" fmla="*/ 870501 w 924889"/>
                                                                                                                <a:gd name="connsiteY94" fmla="*/ 1182941 h 1543263"/>
                                                                                                                <a:gd name="connsiteX95" fmla="*/ 880699 w 924889"/>
                                                                                                                <a:gd name="connsiteY95" fmla="*/ 1186341 h 1543263"/>
                                                                                                                <a:gd name="connsiteX96" fmla="*/ 890896 w 924889"/>
                                                                                                                <a:gd name="connsiteY96" fmla="*/ 1189740 h 1543263"/>
                                                                                                                <a:gd name="connsiteX97" fmla="*/ 914691 w 924889"/>
                                                                                                                <a:gd name="connsiteY97" fmla="*/ 1213535 h 1543263"/>
                                                                                                                <a:gd name="connsiteX98" fmla="*/ 921490 w 924889"/>
                                                                                                                <a:gd name="connsiteY98" fmla="*/ 1233930 h 1543263"/>
                                                                                                                <a:gd name="connsiteX99" fmla="*/ 924889 w 924889"/>
                                                                                                                <a:gd name="connsiteY99" fmla="*/ 1244128 h 1543263"/>
                                                                                                                <a:gd name="connsiteX100" fmla="*/ 921490 w 924889"/>
                                                                                                                <a:gd name="connsiteY100" fmla="*/ 1271322 h 1543263"/>
                                                                                                                <a:gd name="connsiteX101" fmla="*/ 911292 w 924889"/>
                                                                                                                <a:gd name="connsiteY101" fmla="*/ 1278121 h 1543263"/>
                                                                                                                <a:gd name="connsiteX102" fmla="*/ 894296 w 924889"/>
                                                                                                                <a:gd name="connsiteY102" fmla="*/ 1298516 h 1543263"/>
                                                                                                                <a:gd name="connsiteX103" fmla="*/ 887497 w 924889"/>
                                                                                                                <a:gd name="connsiteY103" fmla="*/ 1318912 h 1543263"/>
                                                                                                                <a:gd name="connsiteX104" fmla="*/ 870501 w 924889"/>
                                                                                                                <a:gd name="connsiteY104" fmla="*/ 1349505 h 1543263"/>
                                                                                                                <a:gd name="connsiteX105" fmla="*/ 860303 w 924889"/>
                                                                                                                <a:gd name="connsiteY105" fmla="*/ 1352904 h 1543263"/>
                                                                                                                <a:gd name="connsiteX106" fmla="*/ 846706 w 924889"/>
                                                                                                                <a:gd name="connsiteY106" fmla="*/ 1363102 h 1543263"/>
                                                                                                                <a:gd name="connsiteX107" fmla="*/ 839908 w 924889"/>
                                                                                                                <a:gd name="connsiteY107" fmla="*/ 1363102 h 1543263"/>
                                                                                                                <a:gd name="connsiteX108" fmla="*/ 812714 w 924889"/>
                                                                                                                <a:gd name="connsiteY108" fmla="*/ 1373300 h 1543263"/>
                                                                                                                <a:gd name="connsiteX109" fmla="*/ 792318 w 924889"/>
                                                                                                                <a:gd name="connsiteY109" fmla="*/ 1376699 h 1543263"/>
                                                                                                                <a:gd name="connsiteX110" fmla="*/ 799117 w 924889"/>
                                                                                                                <a:gd name="connsiteY110" fmla="*/ 1386897 h 1543263"/>
                                                                                                                <a:gd name="connsiteX111" fmla="*/ 802516 w 924889"/>
                                                                                                                <a:gd name="connsiteY111" fmla="*/ 1397095 h 1543263"/>
                                                                                                                <a:gd name="connsiteX112" fmla="*/ 792318 w 924889"/>
                                                                                                                <a:gd name="connsiteY112" fmla="*/ 1403893 h 1543263"/>
                                                                                                                <a:gd name="connsiteX113" fmla="*/ 751527 w 924889"/>
                                                                                                                <a:gd name="connsiteY113" fmla="*/ 1410692 h 1543263"/>
                                                                                                                <a:gd name="connsiteX114" fmla="*/ 741329 w 924889"/>
                                                                                                                <a:gd name="connsiteY114" fmla="*/ 1417490 h 1543263"/>
                                                                                                                <a:gd name="connsiteX115" fmla="*/ 761725 w 924889"/>
                                                                                                                <a:gd name="connsiteY115" fmla="*/ 1431087 h 1543263"/>
                                                                                                                <a:gd name="connsiteX116" fmla="*/ 785520 w 924889"/>
                                                                                                                <a:gd name="connsiteY116" fmla="*/ 1441285 h 1543263"/>
                                                                                                                <a:gd name="connsiteX117" fmla="*/ 795717 w 924889"/>
                                                                                                                <a:gd name="connsiteY117" fmla="*/ 1448083 h 1543263"/>
                                                                                                                <a:gd name="connsiteX118" fmla="*/ 799117 w 924889"/>
                                                                                                                <a:gd name="connsiteY118" fmla="*/ 1458281 h 1543263"/>
                                                                                                                <a:gd name="connsiteX119" fmla="*/ 819512 w 924889"/>
                                                                                                                <a:gd name="connsiteY119" fmla="*/ 1461680 h 1543263"/>
                                                                                                                <a:gd name="connsiteX120" fmla="*/ 829710 w 924889"/>
                                                                                                                <a:gd name="connsiteY120" fmla="*/ 1482076 h 1543263"/>
                                                                                                                <a:gd name="connsiteX121" fmla="*/ 822911 w 924889"/>
                                                                                                                <a:gd name="connsiteY121" fmla="*/ 1492274 h 1543263"/>
                                                                                                                <a:gd name="connsiteX122" fmla="*/ 785520 w 924889"/>
                                                                                                                <a:gd name="connsiteY122" fmla="*/ 1502471 h 1543263"/>
                                                                                                                <a:gd name="connsiteX123" fmla="*/ 775322 w 924889"/>
                                                                                                                <a:gd name="connsiteY123" fmla="*/ 1505871 h 1543263"/>
                                                                                                                <a:gd name="connsiteX124" fmla="*/ 765124 w 924889"/>
                                                                                                                <a:gd name="connsiteY124" fmla="*/ 1526266 h 1543263"/>
                                                                                                                <a:gd name="connsiteX125" fmla="*/ 754926 w 924889"/>
                                                                                                                <a:gd name="connsiteY125" fmla="*/ 1533065 h 1543263"/>
                                                                                                                <a:gd name="connsiteX126" fmla="*/ 748128 w 924889"/>
                                                                                                                <a:gd name="connsiteY126" fmla="*/ 1522867 h 1543263"/>
                                                                                                                <a:gd name="connsiteX127" fmla="*/ 707337 w 924889"/>
                                                                                                                <a:gd name="connsiteY127" fmla="*/ 1539863 h 1543263"/>
                                                                                                                <a:gd name="connsiteX128" fmla="*/ 697139 w 924889"/>
                                                                                                                <a:gd name="connsiteY128" fmla="*/ 1543263 h 1543263"/>
                                                                                                                <a:gd name="connsiteX129" fmla="*/ 676743 w 924889"/>
                                                                                                                <a:gd name="connsiteY129" fmla="*/ 1539863 h 1543263"/>
                                                                                                                <a:gd name="connsiteX130" fmla="*/ 659747 w 924889"/>
                                                                                                                <a:gd name="connsiteY130" fmla="*/ 1522867 h 1543263"/>
                                                                                                                <a:gd name="connsiteX131" fmla="*/ 649549 w 924889"/>
                                                                                                                <a:gd name="connsiteY131" fmla="*/ 1519468 h 1543263"/>
                                                                                                                <a:gd name="connsiteX132" fmla="*/ 639351 w 924889"/>
                                                                                                                <a:gd name="connsiteY132" fmla="*/ 1512669 h 1543263"/>
                                                                                                                <a:gd name="connsiteX133" fmla="*/ 598560 w 924889"/>
                                                                                                                <a:gd name="connsiteY133" fmla="*/ 1502471 h 1543263"/>
                                                                                                                <a:gd name="connsiteX134" fmla="*/ 574766 w 924889"/>
                                                                                                                <a:gd name="connsiteY134" fmla="*/ 1495673 h 1543263"/>
                                                                                                                <a:gd name="connsiteX135" fmla="*/ 540773 w 924889"/>
                                                                                                                <a:gd name="connsiteY135" fmla="*/ 1492274 h 1543263"/>
                                                                                                                <a:gd name="connsiteX136" fmla="*/ 510180 w 924889"/>
                                                                                                                <a:gd name="connsiteY136" fmla="*/ 1485475 h 1543263"/>
                                                                                                                <a:gd name="connsiteX137" fmla="*/ 516978 w 924889"/>
                                                                                                                <a:gd name="connsiteY137" fmla="*/ 1495673 h 1543263"/>
                                                                                                                <a:gd name="connsiteX138" fmla="*/ 520377 w 924889"/>
                                                                                                                <a:gd name="connsiteY138" fmla="*/ 1505871 h 1543263"/>
                                                                                                                <a:gd name="connsiteX139" fmla="*/ 499982 w 924889"/>
                                                                                                                <a:gd name="connsiteY139" fmla="*/ 1509270 h 1543263"/>
                                                                                                                <a:gd name="connsiteX140" fmla="*/ 496583 w 924889"/>
                                                                                                                <a:gd name="connsiteY140" fmla="*/ 1499072 h 1543263"/>
                                                                                                                <a:gd name="connsiteX141" fmla="*/ 476187 w 924889"/>
                                                                                                                <a:gd name="connsiteY141" fmla="*/ 1492274 h 1543263"/>
                                                                                                                <a:gd name="connsiteX142" fmla="*/ 445594 w 924889"/>
                                                                                                                <a:gd name="connsiteY142" fmla="*/ 1478677 h 1543263"/>
                                                                                                                <a:gd name="connsiteX143" fmla="*/ 435396 w 924889"/>
                                                                                                                <a:gd name="connsiteY143" fmla="*/ 1475277 h 1543263"/>
                                                                                                                <a:gd name="connsiteX144" fmla="*/ 428598 w 924889"/>
                                                                                                                <a:gd name="connsiteY144" fmla="*/ 1485475 h 1543263"/>
                                                                                                                <a:gd name="connsiteX145" fmla="*/ 391206 w 924889"/>
                                                                                                                <a:gd name="connsiteY145" fmla="*/ 1475277 h 1543263"/>
                                                                                                                <a:gd name="connsiteX146" fmla="*/ 381008 w 924889"/>
                                                                                                                <a:gd name="connsiteY146" fmla="*/ 1471878 h 1543263"/>
                                                                                                                <a:gd name="connsiteX147" fmla="*/ 370810 w 924889"/>
                                                                                                                <a:gd name="connsiteY147" fmla="*/ 1468479 h 1543263"/>
                                                                                                                <a:gd name="connsiteX148" fmla="*/ 364012 w 924889"/>
                                                                                                                <a:gd name="connsiteY148" fmla="*/ 1458281 h 1543263"/>
                                                                                                                <a:gd name="connsiteX149" fmla="*/ 343616 w 924889"/>
                                                                                                                <a:gd name="connsiteY149" fmla="*/ 1448083 h 1543263"/>
                                                                                                                <a:gd name="connsiteX150" fmla="*/ 333418 w 924889"/>
                                                                                                                <a:gd name="connsiteY150" fmla="*/ 1441285 h 1543263"/>
                                                                                                                <a:gd name="connsiteX151" fmla="*/ 309624 w 924889"/>
                                                                                                                <a:gd name="connsiteY151" fmla="*/ 1434486 h 1543263"/>
                                                                                                                <a:gd name="connsiteX152" fmla="*/ 289228 w 924889"/>
                                                                                                                <a:gd name="connsiteY152" fmla="*/ 1424289 h 1543263"/>
                                                                                                                <a:gd name="connsiteX153" fmla="*/ 268833 w 924889"/>
                                                                                                                <a:gd name="connsiteY153" fmla="*/ 1427688 h 1543263"/>
                                                                                                                <a:gd name="connsiteX154" fmla="*/ 265433 w 924889"/>
                                                                                                                <a:gd name="connsiteY154" fmla="*/ 1437886 h 1543263"/>
                                                                                                                <a:gd name="connsiteX155" fmla="*/ 251836 w 924889"/>
                                                                                                                <a:gd name="connsiteY155" fmla="*/ 1458281 h 1543263"/>
                                                                                                                <a:gd name="connsiteX156" fmla="*/ 234840 w 924889"/>
                                                                                                                <a:gd name="connsiteY156" fmla="*/ 1488874 h 1543263"/>
                                                                                                                <a:gd name="connsiteX157" fmla="*/ 224642 w 924889"/>
                                                                                                                <a:gd name="connsiteY157" fmla="*/ 1495673 h 1543263"/>
                                                                                                                <a:gd name="connsiteX158" fmla="*/ 197448 w 924889"/>
                                                                                                                <a:gd name="connsiteY158" fmla="*/ 1485475 h 1543263"/>
                                                                                                                <a:gd name="connsiteX159" fmla="*/ 187250 w 924889"/>
                                                                                                                <a:gd name="connsiteY159" fmla="*/ 1465080 h 1543263"/>
                                                                                                                <a:gd name="connsiteX160" fmla="*/ 180452 w 924889"/>
                                                                                                                <a:gd name="connsiteY160" fmla="*/ 1454882 h 1543263"/>
                                                                                                                <a:gd name="connsiteX161" fmla="*/ 177053 w 924889"/>
                                                                                                                <a:gd name="connsiteY161" fmla="*/ 1444684 h 1543263"/>
                                                                                                                <a:gd name="connsiteX162" fmla="*/ 166855 w 924889"/>
                                                                                                                <a:gd name="connsiteY162" fmla="*/ 1441285 h 1543263"/>
                                                                                                                <a:gd name="connsiteX163" fmla="*/ 136262 w 924889"/>
                                                                                                                <a:gd name="connsiteY163" fmla="*/ 1441285 h 1543263"/>
                                                                                                                <a:gd name="connsiteX164" fmla="*/ 115866 w 924889"/>
                                                                                                                <a:gd name="connsiteY164" fmla="*/ 1444684 h 1543263"/>
                                                                                                                <a:gd name="connsiteX165" fmla="*/ 95470 w 924889"/>
                                                                                                                <a:gd name="connsiteY165" fmla="*/ 1451483 h 1543263"/>
                                                                                                                <a:gd name="connsiteX166" fmla="*/ 85273 w 924889"/>
                                                                                                                <a:gd name="connsiteY166" fmla="*/ 1454882 h 1543263"/>
                                                                                                                <a:gd name="connsiteX167" fmla="*/ 75075 w 924889"/>
                                                                                                                <a:gd name="connsiteY167" fmla="*/ 1458281 h 1543263"/>
                                                                                                                <a:gd name="connsiteX168" fmla="*/ 64877 w 924889"/>
                                                                                                                <a:gd name="connsiteY168" fmla="*/ 1478677 h 1543263"/>
                                                                                                                <a:gd name="connsiteX169" fmla="*/ 54679 w 924889"/>
                                                                                                                <a:gd name="connsiteY169" fmla="*/ 1485475 h 1543263"/>
                                                                                                                <a:gd name="connsiteX170" fmla="*/ 30885 w 924889"/>
                                                                                                                <a:gd name="connsiteY170" fmla="*/ 1482076 h 1543263"/>
                                                                                                                <a:gd name="connsiteX171" fmla="*/ 27485 w 924889"/>
                                                                                                                <a:gd name="connsiteY171" fmla="*/ 1461680 h 1543263"/>
                                                                                                                <a:gd name="connsiteX172" fmla="*/ 17288 w 924889"/>
                                                                                                                <a:gd name="connsiteY172" fmla="*/ 1458281 h 1543263"/>
                                                                                                                <a:gd name="connsiteX173" fmla="*/ 3691 w 924889"/>
                                                                                                                <a:gd name="connsiteY173" fmla="*/ 1454882 h 1543263"/>
                                                                                                                <a:gd name="connsiteX174" fmla="*/ 291 w 924889"/>
                                                                                                                <a:gd name="connsiteY174" fmla="*/ 1444684 h 1543263"/>
                                                                                                                <a:gd name="connsiteX175" fmla="*/ 24086 w 924889"/>
                                                                                                                <a:gd name="connsiteY175" fmla="*/ 1434486 h 1543263"/>
                                                                                                                <a:gd name="connsiteX176" fmla="*/ 41082 w 924889"/>
                                                                                                                <a:gd name="connsiteY176" fmla="*/ 1437886 h 1543263"/>
                                                                                                                <a:gd name="connsiteX177" fmla="*/ 61478 w 924889"/>
                                                                                                                <a:gd name="connsiteY177" fmla="*/ 1427688 h 1543263"/>
                                                                                                                <a:gd name="connsiteX178" fmla="*/ 68276 w 924889"/>
                                                                                                                <a:gd name="connsiteY178" fmla="*/ 1417490 h 1543263"/>
                                                                                                                <a:gd name="connsiteX179" fmla="*/ 88672 w 924889"/>
                                                                                                                <a:gd name="connsiteY179" fmla="*/ 1410692 h 1543263"/>
                                                                                                                <a:gd name="connsiteX180" fmla="*/ 98870 w 924889"/>
                                                                                                                <a:gd name="connsiteY180" fmla="*/ 1403893 h 1543263"/>
                                                                                                                <a:gd name="connsiteX181" fmla="*/ 126064 w 924889"/>
                                                                                                                <a:gd name="connsiteY181" fmla="*/ 1380098 h 1543263"/>
                                                                                                                <a:gd name="connsiteX182" fmla="*/ 146459 w 924889"/>
                                                                                                                <a:gd name="connsiteY182" fmla="*/ 1373300 h 1543263"/>
                                                                                                                <a:gd name="connsiteX183" fmla="*/ 153258 w 924889"/>
                                                                                                                <a:gd name="connsiteY183" fmla="*/ 1363102 h 1543263"/>
                                                                                                                <a:gd name="connsiteX184" fmla="*/ 156657 w 924889"/>
                                                                                                                <a:gd name="connsiteY184" fmla="*/ 1352904 h 1543263"/>
                                                                                                                <a:gd name="connsiteX185" fmla="*/ 166855 w 924889"/>
                                                                                                                <a:gd name="connsiteY185" fmla="*/ 1349505 h 1543263"/>
                                                                                                                <a:gd name="connsiteX186" fmla="*/ 177053 w 924889"/>
                                                                                                                <a:gd name="connsiteY186" fmla="*/ 1342706 h 1543263"/>
                                                                                                                <a:gd name="connsiteX187" fmla="*/ 211045 w 924889"/>
                                                                                                                <a:gd name="connsiteY187" fmla="*/ 1349505 h 1543263"/>
                                                                                                                <a:gd name="connsiteX188" fmla="*/ 217844 w 924889"/>
                                                                                                                <a:gd name="connsiteY188" fmla="*/ 1339307 h 1543263"/>
                                                                                                                <a:gd name="connsiteX189" fmla="*/ 221243 w 924889"/>
                                                                                                                <a:gd name="connsiteY189" fmla="*/ 1315512 h 1543263"/>
                                                                                                                <a:gd name="connsiteX190" fmla="*/ 238239 w 924889"/>
                                                                                                                <a:gd name="connsiteY190" fmla="*/ 1308714 h 1543263"/>
                                                                                                                <a:gd name="connsiteX191" fmla="*/ 272232 w 924889"/>
                                                                                                                <a:gd name="connsiteY191" fmla="*/ 1318912 h 1543263"/>
                                                                                                                <a:gd name="connsiteX192" fmla="*/ 292627 w 924889"/>
                                                                                                                <a:gd name="connsiteY192" fmla="*/ 1332509 h 1543263"/>
                                                                                                                <a:gd name="connsiteX193" fmla="*/ 313023 w 924889"/>
                                                                                                                <a:gd name="connsiteY193" fmla="*/ 1339307 h 1543263"/>
                                                                                                                <a:gd name="connsiteX194" fmla="*/ 323221 w 924889"/>
                                                                                                                <a:gd name="connsiteY194" fmla="*/ 1346106 h 1543263"/>
                                                                                                                <a:gd name="connsiteX195" fmla="*/ 367411 w 924889"/>
                                                                                                                <a:gd name="connsiteY195" fmla="*/ 1346106 h 1543263"/>
                                                                                                                <a:gd name="connsiteX196" fmla="*/ 370810 w 924889"/>
                                                                                                                <a:gd name="connsiteY196" fmla="*/ 1335908 h 1543263"/>
                                                                                                                <a:gd name="connsiteX197" fmla="*/ 401404 w 924889"/>
                                                                                                                <a:gd name="connsiteY197" fmla="*/ 1318912 h 1543263"/>
                                                                                                                <a:gd name="connsiteX198" fmla="*/ 411601 w 924889"/>
                                                                                                                <a:gd name="connsiteY198" fmla="*/ 1312113 h 1543263"/>
                                                                                                                <a:gd name="connsiteX199" fmla="*/ 421799 w 924889"/>
                                                                                                                <a:gd name="connsiteY199" fmla="*/ 1308714 h 1543263"/>
                                                                                                                <a:gd name="connsiteX200" fmla="*/ 442195 w 924889"/>
                                                                                                                <a:gd name="connsiteY200" fmla="*/ 1295117 h 1543263"/>
                                                                                                                <a:gd name="connsiteX201" fmla="*/ 445594 w 924889"/>
                                                                                                                <a:gd name="connsiteY201" fmla="*/ 1284919 h 1543263"/>
                                                                                                                <a:gd name="connsiteX202" fmla="*/ 431997 w 924889"/>
                                                                                                                <a:gd name="connsiteY202" fmla="*/ 1288318 h 1543263"/>
                                                                                                                <a:gd name="connsiteX203" fmla="*/ 411601 w 924889"/>
                                                                                                                <a:gd name="connsiteY203" fmla="*/ 1295117 h 1543263"/>
                                                                                                                <a:gd name="connsiteX204" fmla="*/ 401404 w 924889"/>
                                                                                                                <a:gd name="connsiteY204" fmla="*/ 1298516 h 1543263"/>
                                                                                                                <a:gd name="connsiteX205" fmla="*/ 360612 w 924889"/>
                                                                                                                <a:gd name="connsiteY205" fmla="*/ 1298516 h 1543263"/>
                                                                                                                <a:gd name="connsiteX206" fmla="*/ 347015 w 924889"/>
                                                                                                                <a:gd name="connsiteY206" fmla="*/ 1318912 h 1543263"/>
                                                                                                                <a:gd name="connsiteX207" fmla="*/ 336818 w 924889"/>
                                                                                                                <a:gd name="connsiteY207" fmla="*/ 1322311 h 1543263"/>
                                                                                                                <a:gd name="connsiteX208" fmla="*/ 313023 w 924889"/>
                                                                                                                <a:gd name="connsiteY208" fmla="*/ 1312113 h 1543263"/>
                                                                                                                <a:gd name="connsiteX209" fmla="*/ 309624 w 924889"/>
                                                                                                                <a:gd name="connsiteY209" fmla="*/ 1301915 h 1543263"/>
                                                                                                                <a:gd name="connsiteX210" fmla="*/ 302825 w 924889"/>
                                                                                                                <a:gd name="connsiteY210" fmla="*/ 1291718 h 1543263"/>
                                                                                                                <a:gd name="connsiteX211" fmla="*/ 299426 w 924889"/>
                                                                                                                <a:gd name="connsiteY211" fmla="*/ 1281520 h 1543263"/>
                                                                                                                <a:gd name="connsiteX212" fmla="*/ 282430 w 924889"/>
                                                                                                                <a:gd name="connsiteY212" fmla="*/ 1261124 h 1543263"/>
                                                                                                                <a:gd name="connsiteX213" fmla="*/ 279030 w 924889"/>
                                                                                                                <a:gd name="connsiteY213" fmla="*/ 1250927 h 1543263"/>
                                                                                                                <a:gd name="connsiteX214" fmla="*/ 258635 w 924889"/>
                                                                                                                <a:gd name="connsiteY214" fmla="*/ 1250927 h 1543263"/>
                                                                                                                <a:gd name="connsiteX215" fmla="*/ 248437 w 924889"/>
                                                                                                                <a:gd name="connsiteY215" fmla="*/ 1254326 h 1543263"/>
                                                                                                                <a:gd name="connsiteX216" fmla="*/ 251836 w 924889"/>
                                                                                                                <a:gd name="connsiteY216" fmla="*/ 1233930 h 1543263"/>
                                                                                                                <a:gd name="connsiteX217" fmla="*/ 245038 w 924889"/>
                                                                                                                <a:gd name="connsiteY217" fmla="*/ 1223732 h 1543263"/>
                                                                                                                <a:gd name="connsiteX218" fmla="*/ 221243 w 924889"/>
                                                                                                                <a:gd name="connsiteY218" fmla="*/ 1213535 h 1543263"/>
                                                                                                                <a:gd name="connsiteX219" fmla="*/ 204247 w 924889"/>
                                                                                                                <a:gd name="connsiteY219" fmla="*/ 1227132 h 1543263"/>
                                                                                                                <a:gd name="connsiteX220" fmla="*/ 183851 w 924889"/>
                                                                                                                <a:gd name="connsiteY220" fmla="*/ 1220333 h 1543263"/>
                                                                                                                <a:gd name="connsiteX221" fmla="*/ 177053 w 924889"/>
                                                                                                                <a:gd name="connsiteY221" fmla="*/ 1210135 h 1543263"/>
                                                                                                                <a:gd name="connsiteX222" fmla="*/ 173653 w 924889"/>
                                                                                                                <a:gd name="connsiteY222" fmla="*/ 1193139 h 1543263"/>
                                                                                                                <a:gd name="connsiteX223" fmla="*/ 160056 w 924889"/>
                                                                                                                <a:gd name="connsiteY223" fmla="*/ 1189740 h 1543263"/>
                                                                                                                <a:gd name="connsiteX224" fmla="*/ 160056 w 924889"/>
                                                                                                                <a:gd name="connsiteY224" fmla="*/ 1159147 h 1543263"/>
                                                                                                                <a:gd name="connsiteX225" fmla="*/ 163456 w 924889"/>
                                                                                                                <a:gd name="connsiteY225" fmla="*/ 1148949 h 1543263"/>
                                                                                                                <a:gd name="connsiteX226" fmla="*/ 211045 w 924889"/>
                                                                                                                <a:gd name="connsiteY226" fmla="*/ 1145550 h 1543263"/>
                                                                                                                <a:gd name="connsiteX227" fmla="*/ 221243 w 924889"/>
                                                                                                                <a:gd name="connsiteY227" fmla="*/ 1142150 h 1543263"/>
                                                                                                                <a:gd name="connsiteX228" fmla="*/ 231441 w 924889"/>
                                                                                                                <a:gd name="connsiteY228" fmla="*/ 1135352 h 1543263"/>
                                                                                                                <a:gd name="connsiteX229" fmla="*/ 248437 w 924889"/>
                                                                                                                <a:gd name="connsiteY229" fmla="*/ 1131953 h 1543263"/>
                                                                                                                <a:gd name="connsiteX230" fmla="*/ 262034 w 924889"/>
                                                                                                                <a:gd name="connsiteY230" fmla="*/ 1128553 h 1543263"/>
                                                                                                                <a:gd name="connsiteX231" fmla="*/ 282430 w 924889"/>
                                                                                                                <a:gd name="connsiteY231" fmla="*/ 1121755 h 1543263"/>
                                                                                                                <a:gd name="connsiteX232" fmla="*/ 302825 w 924889"/>
                                                                                                                <a:gd name="connsiteY232" fmla="*/ 1108158 h 1543263"/>
                                                                                                                <a:gd name="connsiteX233" fmla="*/ 319821 w 924889"/>
                                                                                                                <a:gd name="connsiteY233" fmla="*/ 1094561 h 1543263"/>
                                                                                                                <a:gd name="connsiteX234" fmla="*/ 330019 w 924889"/>
                                                                                                                <a:gd name="connsiteY234" fmla="*/ 1050370 h 1543263"/>
                                                                                                                <a:gd name="connsiteX235" fmla="*/ 336818 w 924889"/>
                                                                                                                <a:gd name="connsiteY235" fmla="*/ 1029975 h 1543263"/>
                                                                                                                <a:gd name="connsiteX236" fmla="*/ 343616 w 924889"/>
                                                                                                                <a:gd name="connsiteY236" fmla="*/ 1019777 h 1543263"/>
                                                                                                                <a:gd name="connsiteX237" fmla="*/ 340217 w 924889"/>
                                                                                                                <a:gd name="connsiteY237" fmla="*/ 1006180 h 1543263"/>
                                                                                                                <a:gd name="connsiteX238" fmla="*/ 285829 w 924889"/>
                                                                                                                <a:gd name="connsiteY238" fmla="*/ 1012979 h 1543263"/>
                                                                                                                <a:gd name="connsiteX239" fmla="*/ 275631 w 924889"/>
                                                                                                                <a:gd name="connsiteY239" fmla="*/ 1009579 h 1543263"/>
                                                                                                                <a:gd name="connsiteX240" fmla="*/ 285829 w 924889"/>
                                                                                                                <a:gd name="connsiteY240" fmla="*/ 1006180 h 1543263"/>
                                                                                                                <a:gd name="connsiteX241" fmla="*/ 309624 w 924889"/>
                                                                                                                <a:gd name="connsiteY241" fmla="*/ 999382 h 1543263"/>
                                                                                                                <a:gd name="connsiteX242" fmla="*/ 330019 w 924889"/>
                                                                                                                <a:gd name="connsiteY242" fmla="*/ 985784 h 1543263"/>
                                                                                                                <a:gd name="connsiteX243" fmla="*/ 336818 w 924889"/>
                                                                                                                <a:gd name="connsiteY243" fmla="*/ 975587 h 1543263"/>
                                                                                                                <a:gd name="connsiteX244" fmla="*/ 347015 w 924889"/>
                                                                                                                <a:gd name="connsiteY244" fmla="*/ 972187 h 1543263"/>
                                                                                                                <a:gd name="connsiteX245" fmla="*/ 367411 w 924889"/>
                                                                                                                <a:gd name="connsiteY245" fmla="*/ 961990 h 1543263"/>
                                                                                                                <a:gd name="connsiteX246" fmla="*/ 445594 w 924889"/>
                                                                                                                <a:gd name="connsiteY246" fmla="*/ 965389 h 1543263"/>
                                                                                                                <a:gd name="connsiteX247" fmla="*/ 465989 w 924889"/>
                                                                                                                <a:gd name="connsiteY247" fmla="*/ 975587 h 1543263"/>
                                                                                                                <a:gd name="connsiteX248" fmla="*/ 486385 w 924889"/>
                                                                                                                <a:gd name="connsiteY248" fmla="*/ 982385 h 1543263"/>
                                                                                                                <a:gd name="connsiteX249" fmla="*/ 472788 w 924889"/>
                                                                                                                <a:gd name="connsiteY249" fmla="*/ 961990 h 1543263"/>
                                                                                                                <a:gd name="connsiteX250" fmla="*/ 496583 w 924889"/>
                                                                                                                <a:gd name="connsiteY250" fmla="*/ 927997 h 1543263"/>
                                                                                                                <a:gd name="connsiteX251" fmla="*/ 503381 w 924889"/>
                                                                                                                <a:gd name="connsiteY251" fmla="*/ 917799 h 1543263"/>
                                                                                                                <a:gd name="connsiteX252" fmla="*/ 496583 w 924889"/>
                                                                                                                <a:gd name="connsiteY252" fmla="*/ 907602 h 1543263"/>
                                                                                                                <a:gd name="connsiteX253" fmla="*/ 513579 w 924889"/>
                                                                                                                <a:gd name="connsiteY253" fmla="*/ 890605 h 1543263"/>
                                                                                                                <a:gd name="connsiteX254" fmla="*/ 520377 w 924889"/>
                                                                                                                <a:gd name="connsiteY254" fmla="*/ 880408 h 1543263"/>
                                                                                                                <a:gd name="connsiteX255" fmla="*/ 530575 w 924889"/>
                                                                                                                <a:gd name="connsiteY255" fmla="*/ 873609 h 1543263"/>
                                                                                                                <a:gd name="connsiteX256" fmla="*/ 533975 w 924889"/>
                                                                                                                <a:gd name="connsiteY256" fmla="*/ 863411 h 1543263"/>
                                                                                                                <a:gd name="connsiteX257" fmla="*/ 540773 w 924889"/>
                                                                                                                <a:gd name="connsiteY257" fmla="*/ 853213 h 1543263"/>
                                                                                                                <a:gd name="connsiteX258" fmla="*/ 537374 w 924889"/>
                                                                                                                <a:gd name="connsiteY258" fmla="*/ 843016 h 1543263"/>
                                                                                                                <a:gd name="connsiteX259" fmla="*/ 516978 w 924889"/>
                                                                                                                <a:gd name="connsiteY259" fmla="*/ 836217 h 1543263"/>
                                                                                                                <a:gd name="connsiteX260" fmla="*/ 506780 w 924889"/>
                                                                                                                <a:gd name="connsiteY260" fmla="*/ 839616 h 1543263"/>
                                                                                                                <a:gd name="connsiteX261" fmla="*/ 493183 w 924889"/>
                                                                                                                <a:gd name="connsiteY261" fmla="*/ 788628 h 1543263"/>
                                                                                                                <a:gd name="connsiteX262" fmla="*/ 482986 w 924889"/>
                                                                                                                <a:gd name="connsiteY262" fmla="*/ 768232 h 1543263"/>
                                                                                                                <a:gd name="connsiteX263" fmla="*/ 486385 w 924889"/>
                                                                                                                <a:gd name="connsiteY263" fmla="*/ 744437 h 1543263"/>
                                                                                                                <a:gd name="connsiteX264" fmla="*/ 503381 w 924889"/>
                                                                                                                <a:gd name="connsiteY264" fmla="*/ 727441 h 1543263"/>
                                                                                                                <a:gd name="connsiteX265" fmla="*/ 513579 w 924889"/>
                                                                                                                <a:gd name="connsiteY265" fmla="*/ 717243 h 1543263"/>
                                                                                                                <a:gd name="connsiteX266" fmla="*/ 516978 w 924889"/>
                                                                                                                <a:gd name="connsiteY266" fmla="*/ 707045 h 1543263"/>
                                                                                                                <a:gd name="connsiteX267" fmla="*/ 557769 w 924889"/>
                                                                                                                <a:gd name="connsiteY267" fmla="*/ 696848 h 1543263"/>
                                                                                                                <a:gd name="connsiteX268" fmla="*/ 564568 w 924889"/>
                                                                                                                <a:gd name="connsiteY268" fmla="*/ 686650 h 1543263"/>
                                                                                                                <a:gd name="connsiteX269" fmla="*/ 544172 w 924889"/>
                                                                                                                <a:gd name="connsiteY269" fmla="*/ 673053 h 1543263"/>
                                                                                                                <a:gd name="connsiteX270" fmla="*/ 510180 w 924889"/>
                                                                                                                <a:gd name="connsiteY270" fmla="*/ 676452 h 1543263"/>
                                                                                                                <a:gd name="connsiteX271" fmla="*/ 489784 w 924889"/>
                                                                                                                <a:gd name="connsiteY271" fmla="*/ 683251 h 1543263"/>
                                                                                                                <a:gd name="connsiteX272" fmla="*/ 448993 w 924889"/>
                                                                                                                <a:gd name="connsiteY272" fmla="*/ 679851 h 1543263"/>
                                                                                                                <a:gd name="connsiteX273" fmla="*/ 438795 w 924889"/>
                                                                                                                <a:gd name="connsiteY273" fmla="*/ 676452 h 1543263"/>
                                                                                                                <a:gd name="connsiteX274" fmla="*/ 431997 w 924889"/>
                                                                                                                <a:gd name="connsiteY274" fmla="*/ 662855 h 1543263"/>
                                                                                                                <a:gd name="connsiteX275" fmla="*/ 421799 w 924889"/>
                                                                                                                <a:gd name="connsiteY275" fmla="*/ 666254 h 1543263"/>
                                                                                                                <a:gd name="connsiteX276" fmla="*/ 411601 w 924889"/>
                                                                                                                <a:gd name="connsiteY276" fmla="*/ 690049 h 1543263"/>
                                                                                                                <a:gd name="connsiteX277" fmla="*/ 391206 w 924889"/>
                                                                                                                <a:gd name="connsiteY277" fmla="*/ 673053 h 1543263"/>
                                                                                                                <a:gd name="connsiteX278" fmla="*/ 367411 w 924889"/>
                                                                                                                <a:gd name="connsiteY278" fmla="*/ 649258 h 1543263"/>
                                                                                                                <a:gd name="connsiteX279" fmla="*/ 353814 w 924889"/>
                                                                                                                <a:gd name="connsiteY279" fmla="*/ 659456 h 1543263"/>
                                                                                                                <a:gd name="connsiteX280" fmla="*/ 357213 w 924889"/>
                                                                                                                <a:gd name="connsiteY280" fmla="*/ 632262 h 1543263"/>
                                                                                                                <a:gd name="connsiteX281" fmla="*/ 367411 w 924889"/>
                                                                                                                <a:gd name="connsiteY281" fmla="*/ 625463 h 1543263"/>
                                                                                                                <a:gd name="connsiteX282" fmla="*/ 384407 w 924889"/>
                                                                                                                <a:gd name="connsiteY282" fmla="*/ 611866 h 1543263"/>
                                                                                                                <a:gd name="connsiteX283" fmla="*/ 394605 w 924889"/>
                                                                                                                <a:gd name="connsiteY283" fmla="*/ 601669 h 1543263"/>
                                                                                                                <a:gd name="connsiteX284" fmla="*/ 401404 w 924889"/>
                                                                                                                <a:gd name="connsiteY284" fmla="*/ 591471 h 1543263"/>
                                                                                                                <a:gd name="connsiteX285" fmla="*/ 411601 w 924889"/>
                                                                                                                <a:gd name="connsiteY285" fmla="*/ 584672 h 1543263"/>
                                                                                                                <a:gd name="connsiteX286" fmla="*/ 428598 w 924889"/>
                                                                                                                <a:gd name="connsiteY286" fmla="*/ 564277 h 1543263"/>
                                                                                                                <a:gd name="connsiteX287" fmla="*/ 445594 w 924889"/>
                                                                                                                <a:gd name="connsiteY287" fmla="*/ 543881 h 1543263"/>
                                                                                                                <a:gd name="connsiteX288" fmla="*/ 448993 w 924889"/>
                                                                                                                <a:gd name="connsiteY288" fmla="*/ 533683 h 1543263"/>
                                                                                                                <a:gd name="connsiteX289" fmla="*/ 445594 w 924889"/>
                                                                                                                <a:gd name="connsiteY289" fmla="*/ 513288 h 1543263"/>
                                                                                                                <a:gd name="connsiteX290" fmla="*/ 438795 w 924889"/>
                                                                                                                <a:gd name="connsiteY290" fmla="*/ 489493 h 1543263"/>
                                                                                                                <a:gd name="connsiteX291" fmla="*/ 445594 w 924889"/>
                                                                                                                <a:gd name="connsiteY291" fmla="*/ 479295 h 1543263"/>
                                                                                                                <a:gd name="connsiteX292" fmla="*/ 465989 w 924889"/>
                                                                                                                <a:gd name="connsiteY292" fmla="*/ 465698 h 1543263"/>
                                                                                                                <a:gd name="connsiteX293" fmla="*/ 462590 w 924889"/>
                                                                                                                <a:gd name="connsiteY293" fmla="*/ 445303 h 1543263"/>
                                                                                                                <a:gd name="connsiteX294" fmla="*/ 448993 w 924889"/>
                                                                                                                <a:gd name="connsiteY294" fmla="*/ 448702 h 1543263"/>
                                                                                                                <a:gd name="connsiteX295" fmla="*/ 438795 w 924889"/>
                                                                                                                <a:gd name="connsiteY295" fmla="*/ 455500 h 1543263"/>
                                                                                                                <a:gd name="connsiteX296" fmla="*/ 428598 w 924889"/>
                                                                                                                <a:gd name="connsiteY296" fmla="*/ 458900 h 1543263"/>
                                                                                                                <a:gd name="connsiteX297" fmla="*/ 421799 w 924889"/>
                                                                                                                <a:gd name="connsiteY297" fmla="*/ 441903 h 1543263"/>
                                                                                                                <a:gd name="connsiteX298" fmla="*/ 442195 w 924889"/>
                                                                                                                <a:gd name="connsiteY298" fmla="*/ 435105 h 1543263"/>
                                                                                                                <a:gd name="connsiteX299" fmla="*/ 435396 w 924889"/>
                                                                                                                <a:gd name="connsiteY299" fmla="*/ 421508 h 1543263"/>
                                                                                                                <a:gd name="connsiteX300" fmla="*/ 415001 w 924889"/>
                                                                                                                <a:gd name="connsiteY300" fmla="*/ 428306 h 1543263"/>
                                                                                                                <a:gd name="connsiteX301" fmla="*/ 411601 w 924889"/>
                                                                                                                <a:gd name="connsiteY301" fmla="*/ 438504 h 1543263"/>
                                                                                                                <a:gd name="connsiteX302" fmla="*/ 401404 w 924889"/>
                                                                                                                <a:gd name="connsiteY302" fmla="*/ 441903 h 1543263"/>
                                                                                                                <a:gd name="connsiteX303" fmla="*/ 391206 w 924889"/>
                                                                                                                <a:gd name="connsiteY303" fmla="*/ 448702 h 1543263"/>
                                                                                                                <a:gd name="connsiteX304" fmla="*/ 384407 w 924889"/>
                                                                                                                <a:gd name="connsiteY304" fmla="*/ 469098 h 1543263"/>
                                                                                                                <a:gd name="connsiteX305" fmla="*/ 374209 w 924889"/>
                                                                                                                <a:gd name="connsiteY305" fmla="*/ 489493 h 1543263"/>
                                                                                                                <a:gd name="connsiteX306" fmla="*/ 364012 w 924889"/>
                                                                                                                <a:gd name="connsiteY306" fmla="*/ 496292 h 1543263"/>
                                                                                                                <a:gd name="connsiteX307" fmla="*/ 350415 w 924889"/>
                                                                                                                <a:gd name="connsiteY307" fmla="*/ 516687 h 1543263"/>
                                                                                                                <a:gd name="connsiteX308" fmla="*/ 333418 w 924889"/>
                                                                                                                <a:gd name="connsiteY308" fmla="*/ 530284 h 1543263"/>
                                                                                                                <a:gd name="connsiteX309" fmla="*/ 323221 w 924889"/>
                                                                                                                <a:gd name="connsiteY309" fmla="*/ 526885 h 1543263"/>
                                                                                                                <a:gd name="connsiteX310" fmla="*/ 326620 w 924889"/>
                                                                                                                <a:gd name="connsiteY310" fmla="*/ 496292 h 1543263"/>
                                                                                                                <a:gd name="connsiteX311" fmla="*/ 336818 w 924889"/>
                                                                                                                <a:gd name="connsiteY311" fmla="*/ 492892 h 1543263"/>
                                                                                                                <a:gd name="connsiteX312" fmla="*/ 347015 w 924889"/>
                                                                                                                <a:gd name="connsiteY312" fmla="*/ 482695 h 1543263"/>
                                                                                                                <a:gd name="connsiteX313" fmla="*/ 357213 w 924889"/>
                                                                                                                <a:gd name="connsiteY313" fmla="*/ 479295 h 1543263"/>
                                                                                                                <a:gd name="connsiteX314" fmla="*/ 367411 w 924889"/>
                                                                                                                <a:gd name="connsiteY314" fmla="*/ 472497 h 1543263"/>
                                                                                                                <a:gd name="connsiteX315" fmla="*/ 377609 w 924889"/>
                                                                                                                <a:gd name="connsiteY315" fmla="*/ 441903 h 1543263"/>
                                                                                                                <a:gd name="connsiteX316" fmla="*/ 391206 w 924889"/>
                                                                                                                <a:gd name="connsiteY316" fmla="*/ 421508 h 1543263"/>
                                                                                                                <a:gd name="connsiteX317" fmla="*/ 404803 w 924889"/>
                                                                                                                <a:gd name="connsiteY317" fmla="*/ 401112 h 1543263"/>
                                                                                                                <a:gd name="connsiteX318" fmla="*/ 418400 w 924889"/>
                                                                                                                <a:gd name="connsiteY318" fmla="*/ 380717 h 1543263"/>
                                                                                                                <a:gd name="connsiteX319" fmla="*/ 428598 w 924889"/>
                                                                                                                <a:gd name="connsiteY319" fmla="*/ 373918 h 1543263"/>
                                                                                                                <a:gd name="connsiteX320" fmla="*/ 462590 w 924889"/>
                                                                                                                <a:gd name="connsiteY320" fmla="*/ 367120 h 1543263"/>
                                                                                                                <a:gd name="connsiteX321" fmla="*/ 455792 w 924889"/>
                                                                                                                <a:gd name="connsiteY321" fmla="*/ 356922 h 1543263"/>
                                                                                                                <a:gd name="connsiteX322" fmla="*/ 445594 w 924889"/>
                                                                                                                <a:gd name="connsiteY322" fmla="*/ 353523 h 1543263"/>
                                                                                                                <a:gd name="connsiteX323" fmla="*/ 462590 w 924889"/>
                                                                                                                <a:gd name="connsiteY323" fmla="*/ 333127 h 1543263"/>
                                                                                                                <a:gd name="connsiteX324" fmla="*/ 448993 w 924889"/>
                                                                                                                <a:gd name="connsiteY324" fmla="*/ 329728 h 1543263"/>
                                                                                                                <a:gd name="connsiteX325" fmla="*/ 438795 w 924889"/>
                                                                                                                <a:gd name="connsiteY325" fmla="*/ 333127 h 1543263"/>
                                                                                                                <a:gd name="connsiteX326" fmla="*/ 408202 w 924889"/>
                                                                                                                <a:gd name="connsiteY326" fmla="*/ 326329 h 1543263"/>
                                                                                                                <a:gd name="connsiteX327" fmla="*/ 401404 w 924889"/>
                                                                                                                <a:gd name="connsiteY327" fmla="*/ 316131 h 1543263"/>
                                                                                                                <a:gd name="connsiteX328" fmla="*/ 381008 w 924889"/>
                                                                                                                <a:gd name="connsiteY328" fmla="*/ 302534 h 1543263"/>
                                                                                                                <a:gd name="connsiteX329" fmla="*/ 374209 w 924889"/>
                                                                                                                <a:gd name="connsiteY329" fmla="*/ 292336 h 1543263"/>
                                                                                                                <a:gd name="connsiteX330" fmla="*/ 384407 w 924889"/>
                                                                                                                <a:gd name="connsiteY330" fmla="*/ 288937 h 1543263"/>
                                                                                                                <a:gd name="connsiteX331" fmla="*/ 401404 w 924889"/>
                                                                                                                <a:gd name="connsiteY331" fmla="*/ 292336 h 1543263"/>
                                                                                                                <a:gd name="connsiteX332" fmla="*/ 428598 w 924889"/>
                                                                                                                <a:gd name="connsiteY332" fmla="*/ 282138 h 1543263"/>
                                                                                                                <a:gd name="connsiteX333" fmla="*/ 431997 w 924889"/>
                                                                                                                <a:gd name="connsiteY333" fmla="*/ 271941 h 1543263"/>
                                                                                                                <a:gd name="connsiteX334" fmla="*/ 435396 w 924889"/>
                                                                                                                <a:gd name="connsiteY334" fmla="*/ 254944 h 1543263"/>
                                                                                                                <a:gd name="connsiteX335" fmla="*/ 438795 w 924889"/>
                                                                                                                <a:gd name="connsiteY335" fmla="*/ 244747 h 1543263"/>
                                                                                                                <a:gd name="connsiteX336" fmla="*/ 442195 w 924889"/>
                                                                                                                <a:gd name="connsiteY336" fmla="*/ 231150 h 1543263"/>
                                                                                                                <a:gd name="connsiteX337" fmla="*/ 452392 w 924889"/>
                                                                                                                <a:gd name="connsiteY337" fmla="*/ 227750 h 1543263"/>
                                                                                                                <a:gd name="connsiteX338" fmla="*/ 455792 w 924889"/>
                                                                                                                <a:gd name="connsiteY338" fmla="*/ 207355 h 1543263"/>
                                                                                                                <a:gd name="connsiteX339" fmla="*/ 465989 w 924889"/>
                                                                                                                <a:gd name="connsiteY339" fmla="*/ 193758 h 1543263"/>
                                                                                                                <a:gd name="connsiteX340" fmla="*/ 459191 w 924889"/>
                                                                                                                <a:gd name="connsiteY340" fmla="*/ 176761 h 1543263"/>
                                                                                                                <a:gd name="connsiteX341" fmla="*/ 462590 w 924889"/>
                                                                                                                <a:gd name="connsiteY341" fmla="*/ 163164 h 1543263"/>
                                                                                                                <a:gd name="connsiteX342" fmla="*/ 479586 w 924889"/>
                                                                                                                <a:gd name="connsiteY342" fmla="*/ 166564 h 1543263"/>
                                                                                                                <a:gd name="connsiteX343" fmla="*/ 476187 w 924889"/>
                                                                                                                <a:gd name="connsiteY343" fmla="*/ 146168 h 1543263"/>
                                                                                                                <a:gd name="connsiteX344" fmla="*/ 479586 w 924889"/>
                                                                                                                <a:gd name="connsiteY344" fmla="*/ 135970 h 1543263"/>
                                                                                                                <a:gd name="connsiteX345" fmla="*/ 493183 w 924889"/>
                                                                                                                <a:gd name="connsiteY345" fmla="*/ 115575 h 1543263"/>
                                                                                                                <a:gd name="connsiteX346" fmla="*/ 499982 w 924889"/>
                                                                                                                <a:gd name="connsiteY346" fmla="*/ 91780 h 1543263"/>
                                                                                                                <a:gd name="connsiteX347" fmla="*/ 506780 w 924889"/>
                                                                                                                <a:gd name="connsiteY347" fmla="*/ 101978 h 1543263"/>
                                                                                                                <a:gd name="connsiteX348" fmla="*/ 516978 w 924889"/>
                                                                                                                <a:gd name="connsiteY348" fmla="*/ 108776 h 1543263"/>
                                                                                                                <a:gd name="connsiteX349" fmla="*/ 537374 w 924889"/>
                                                                                                                <a:gd name="connsiteY349" fmla="*/ 115575 h 1543263"/>
                                                                                                                <a:gd name="connsiteX350" fmla="*/ 547572 w 924889"/>
                                                                                                                <a:gd name="connsiteY350" fmla="*/ 112176 h 1543263"/>
                                                                                                                <a:gd name="connsiteX351" fmla="*/ 540773 w 924889"/>
                                                                                                                <a:gd name="connsiteY351" fmla="*/ 88381 h 1543263"/>
                                                                                                                <a:gd name="connsiteX352" fmla="*/ 544172 w 924889"/>
                                                                                                                <a:gd name="connsiteY352" fmla="*/ 78183 h 1543263"/>
                                                                                                                <a:gd name="connsiteX353" fmla="*/ 547572 w 924889"/>
                                                                                                                <a:gd name="connsiteY353" fmla="*/ 57787 h 1543263"/>
                                                                                                                <a:gd name="connsiteX354" fmla="*/ 557769 w 924889"/>
                                                                                                                <a:gd name="connsiteY354" fmla="*/ 61187 h 1543263"/>
                                                                                                                <a:gd name="connsiteX355" fmla="*/ 571366 w 924889"/>
                                                                                                                <a:gd name="connsiteY355" fmla="*/ 64586 h 1543263"/>
                                                                                                                <a:gd name="connsiteX356" fmla="*/ 578165 w 924889"/>
                                                                                                                <a:gd name="connsiteY356" fmla="*/ 54388 h 1543263"/>
                                                                                                                <a:gd name="connsiteX357" fmla="*/ 581564 w 924889"/>
                                                                                                                <a:gd name="connsiteY357" fmla="*/ 44190 h 1543263"/>
                                                                                                                <a:gd name="connsiteX358" fmla="*/ 591762 w 924889"/>
                                                                                                                <a:gd name="connsiteY358" fmla="*/ 40791 h 1543263"/>
                                                                                                                <a:gd name="connsiteX359" fmla="*/ 615557 w 924889"/>
                                                                                                                <a:gd name="connsiteY359" fmla="*/ 13597 h 1543263"/>
                                                                                                                <a:gd name="connsiteX360" fmla="*/ 615557 w 924889"/>
                                                                                                                <a:gd name="connsiteY360" fmla="*/ 0 h 154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924889" h="1543263">
                                                                                                                  <a:moveTo>
                                                                                                                    <a:pt x="615557" y="0"/>
                                                                                                                  </a:moveTo>
                                                                                                                  <a:lnTo>
                                                                                                                    <a:pt x="615557" y="0"/>
                                                                                                                  </a:lnTo>
                                                                                                                  <a:cubicBezTo>
                                                                                                                    <a:pt x="618956" y="9065"/>
                                                                                                                    <a:pt x="620773" y="18893"/>
                                                                                                                    <a:pt x="625754" y="27194"/>
                                                                                                                  </a:cubicBezTo>
                                                                                                                  <a:cubicBezTo>
                                                                                                                    <a:pt x="627856" y="30697"/>
                                                                                                                    <a:pt x="633787" y="30529"/>
                                                                                                                    <a:pt x="635952" y="33993"/>
                                                                                                                  </a:cubicBezTo>
                                                                                                                  <a:cubicBezTo>
                                                                                                                    <a:pt x="639750" y="40070"/>
                                                                                                                    <a:pt x="642751" y="54388"/>
                                                                                                                    <a:pt x="642751" y="54388"/>
                                                                                                                  </a:cubicBezTo>
                                                                                                                  <a:cubicBezTo>
                                                                                                                    <a:pt x="654082" y="53255"/>
                                                                                                                    <a:pt x="666277" y="55475"/>
                                                                                                                    <a:pt x="676743" y="50989"/>
                                                                                                                  </a:cubicBezTo>
                                                                                                                  <a:cubicBezTo>
                                                                                                                    <a:pt x="680498" y="49380"/>
                                                                                                                    <a:pt x="666546" y="44190"/>
                                                                                                                    <a:pt x="666546" y="44190"/>
                                                                                                                  </a:cubicBezTo>
                                                                                                                  <a:lnTo>
                                                                                                                    <a:pt x="744728" y="50989"/>
                                                                                                                  </a:lnTo>
                                                                                                                  <a:lnTo>
                                                                                                                    <a:pt x="768523" y="50989"/>
                                                                                                                  </a:lnTo>
                                                                                                                  <a:cubicBezTo>
                                                                                                                    <a:pt x="762852" y="76512"/>
                                                                                                                    <a:pt x="769630" y="79330"/>
                                                                                                                    <a:pt x="751527" y="88381"/>
                                                                                                                  </a:cubicBezTo>
                                                                                                                  <a:cubicBezTo>
                                                                                                                    <a:pt x="748322" y="89983"/>
                                                                                                                    <a:pt x="744728" y="90647"/>
                                                                                                                    <a:pt x="741329" y="91780"/>
                                                                                                                  </a:cubicBezTo>
                                                                                                                  <a:lnTo>
                                                                                                                    <a:pt x="700538" y="118974"/>
                                                                                                                  </a:lnTo>
                                                                                                                  <a:lnTo>
                                                                                                                    <a:pt x="680143" y="132571"/>
                                                                                                                  </a:lnTo>
                                                                                                                  <a:lnTo>
                                                                                                                    <a:pt x="669945" y="135970"/>
                                                                                                                  </a:lnTo>
                                                                                                                  <a:cubicBezTo>
                                                                                                                    <a:pt x="666546" y="138236"/>
                                                                                                                    <a:pt x="663401" y="140942"/>
                                                                                                                    <a:pt x="659747" y="142769"/>
                                                                                                                  </a:cubicBezTo>
                                                                                                                  <a:cubicBezTo>
                                                                                                                    <a:pt x="650255" y="147515"/>
                                                                                                                    <a:pt x="634520" y="148315"/>
                                                                                                                    <a:pt x="625754" y="149567"/>
                                                                                                                  </a:cubicBezTo>
                                                                                                                  <a:cubicBezTo>
                                                                                                                    <a:pt x="628020" y="152966"/>
                                                                                                                    <a:pt x="629363" y="157213"/>
                                                                                                                    <a:pt x="632553" y="159765"/>
                                                                                                                  </a:cubicBezTo>
                                                                                                                  <a:cubicBezTo>
                                                                                                                    <a:pt x="635351" y="162003"/>
                                                                                                                    <a:pt x="640668" y="160248"/>
                                                                                                                    <a:pt x="642751" y="163164"/>
                                                                                                                  </a:cubicBezTo>
                                                                                                                  <a:cubicBezTo>
                                                                                                                    <a:pt x="646916" y="168996"/>
                                                                                                                    <a:pt x="649549" y="183560"/>
                                                                                                                    <a:pt x="649549" y="183560"/>
                                                                                                                  </a:cubicBezTo>
                                                                                                                  <a:cubicBezTo>
                                                                                                                    <a:pt x="646150" y="185826"/>
                                                                                                                    <a:pt x="643005" y="188531"/>
                                                                                                                    <a:pt x="639351" y="190358"/>
                                                                                                                  </a:cubicBezTo>
                                                                                                                  <a:cubicBezTo>
                                                                                                                    <a:pt x="629854" y="195107"/>
                                                                                                                    <a:pt x="614138" y="195903"/>
                                                                                                                    <a:pt x="605359" y="197157"/>
                                                                                                                  </a:cubicBezTo>
                                                                                                                  <a:cubicBezTo>
                                                                                                                    <a:pt x="606492" y="203956"/>
                                                                                                                    <a:pt x="603884" y="212679"/>
                                                                                                                    <a:pt x="608758" y="217553"/>
                                                                                                                  </a:cubicBezTo>
                                                                                                                  <a:cubicBezTo>
                                                                                                                    <a:pt x="609824" y="218619"/>
                                                                                                                    <a:pt x="630200" y="211538"/>
                                                                                                                    <a:pt x="632553" y="210754"/>
                                                                                                                  </a:cubicBezTo>
                                                                                                                  <a:cubicBezTo>
                                                                                                                    <a:pt x="640485" y="211887"/>
                                                                                                                    <a:pt x="648336" y="214153"/>
                                                                                                                    <a:pt x="656348" y="214153"/>
                                                                                                                  </a:cubicBezTo>
                                                                                                                  <a:cubicBezTo>
                                                                                                                    <a:pt x="664360" y="214153"/>
                                                                                                                    <a:pt x="672260" y="212187"/>
                                                                                                                    <a:pt x="680143" y="210754"/>
                                                                                                                  </a:cubicBezTo>
                                                                                                                  <a:cubicBezTo>
                                                                                                                    <a:pt x="689534" y="209047"/>
                                                                                                                    <a:pt x="695199" y="206869"/>
                                                                                                                    <a:pt x="703937" y="203956"/>
                                                                                                                  </a:cubicBezTo>
                                                                                                                  <a:cubicBezTo>
                                                                                                                    <a:pt x="707336" y="207355"/>
                                                                                                                    <a:pt x="710223" y="211359"/>
                                                                                                                    <a:pt x="714135" y="214153"/>
                                                                                                                  </a:cubicBezTo>
                                                                                                                  <a:cubicBezTo>
                                                                                                                    <a:pt x="723709" y="220991"/>
                                                                                                                    <a:pt x="730378" y="221613"/>
                                                                                                                    <a:pt x="741329" y="224351"/>
                                                                                                                  </a:cubicBezTo>
                                                                                                                  <a:lnTo>
                                                                                                                    <a:pt x="761725" y="237948"/>
                                                                                                                  </a:lnTo>
                                                                                                                  <a:cubicBezTo>
                                                                                                                    <a:pt x="781399" y="251065"/>
                                                                                                                    <a:pt x="767850" y="244340"/>
                                                                                                                    <a:pt x="805915" y="248146"/>
                                                                                                                  </a:cubicBezTo>
                                                                                                                  <a:cubicBezTo>
                                                                                                                    <a:pt x="809481" y="249335"/>
                                                                                                                    <a:pt x="825113" y="253551"/>
                                                                                                                    <a:pt x="826311" y="258344"/>
                                                                                                                  </a:cubicBezTo>
                                                                                                                  <a:cubicBezTo>
                                                                                                                    <a:pt x="827982" y="265030"/>
                                                                                                                    <a:pt x="824583" y="272053"/>
                                                                                                                    <a:pt x="822911" y="278739"/>
                                                                                                                  </a:cubicBezTo>
                                                                                                                  <a:cubicBezTo>
                                                                                                                    <a:pt x="818056" y="298160"/>
                                                                                                                    <a:pt x="818245" y="295938"/>
                                                                                                                    <a:pt x="809314" y="309332"/>
                                                                                                                  </a:cubicBezTo>
                                                                                                                  <a:cubicBezTo>
                                                                                                                    <a:pt x="800773" y="334958"/>
                                                                                                                    <a:pt x="812293" y="303377"/>
                                                                                                                    <a:pt x="799117" y="329728"/>
                                                                                                                  </a:cubicBezTo>
                                                                                                                  <a:cubicBezTo>
                                                                                                                    <a:pt x="797515" y="332933"/>
                                                                                                                    <a:pt x="797457" y="336794"/>
                                                                                                                    <a:pt x="795717" y="339926"/>
                                                                                                                  </a:cubicBezTo>
                                                                                                                  <a:cubicBezTo>
                                                                                                                    <a:pt x="784177" y="360698"/>
                                                                                                                    <a:pt x="788354" y="357203"/>
                                                                                                                    <a:pt x="775322" y="363721"/>
                                                                                                                  </a:cubicBezTo>
                                                                                                                  <a:lnTo>
                                                                                                                    <a:pt x="741329" y="401112"/>
                                                                                                                  </a:lnTo>
                                                                                                                  <a:cubicBezTo>
                                                                                                                    <a:pt x="732264" y="404511"/>
                                                                                                                    <a:pt x="722436" y="406329"/>
                                                                                                                    <a:pt x="714135" y="411310"/>
                                                                                                                  </a:cubicBezTo>
                                                                                                                  <a:cubicBezTo>
                                                                                                                    <a:pt x="710632" y="413412"/>
                                                                                                                    <a:pt x="710801" y="419343"/>
                                                                                                                    <a:pt x="707337" y="421508"/>
                                                                                                                  </a:cubicBezTo>
                                                                                                                  <a:cubicBezTo>
                                                                                                                    <a:pt x="701260" y="425306"/>
                                                                                                                    <a:pt x="693740" y="426040"/>
                                                                                                                    <a:pt x="686941" y="428306"/>
                                                                                                                  </a:cubicBezTo>
                                                                                                                  <a:lnTo>
                                                                                                                    <a:pt x="666546" y="435105"/>
                                                                                                                  </a:lnTo>
                                                                                                                  <a:cubicBezTo>
                                                                                                                    <a:pt x="663147" y="436238"/>
                                                                                                                    <a:pt x="659862" y="437801"/>
                                                                                                                    <a:pt x="656348" y="438504"/>
                                                                                                                  </a:cubicBezTo>
                                                                                                                  <a:lnTo>
                                                                                                                    <a:pt x="639351" y="441903"/>
                                                                                                                  </a:lnTo>
                                                                                                                  <a:cubicBezTo>
                                                                                                                    <a:pt x="663146" y="457766"/>
                                                                                                                    <a:pt x="655214" y="448701"/>
                                                                                                                    <a:pt x="666546" y="465698"/>
                                                                                                                  </a:cubicBezTo>
                                                                                                                  <a:cubicBezTo>
                                                                                                                    <a:pt x="667679" y="469097"/>
                                                                                                                    <a:pt x="671548" y="472691"/>
                                                                                                                    <a:pt x="669945" y="475896"/>
                                                                                                                  </a:cubicBezTo>
                                                                                                                  <a:cubicBezTo>
                                                                                                                    <a:pt x="668342" y="479101"/>
                                                                                                                    <a:pt x="663294" y="478788"/>
                                                                                                                    <a:pt x="659747" y="479295"/>
                                                                                                                  </a:cubicBezTo>
                                                                                                                  <a:cubicBezTo>
                                                                                                                    <a:pt x="647357" y="481065"/>
                                                                                                                    <a:pt x="634819" y="481562"/>
                                                                                                                    <a:pt x="622355" y="482695"/>
                                                                                                                  </a:cubicBezTo>
                                                                                                                  <a:cubicBezTo>
                                                                                                                    <a:pt x="618956" y="484961"/>
                                                                                                                    <a:pt x="616226" y="489123"/>
                                                                                                                    <a:pt x="612157" y="489493"/>
                                                                                                                  </a:cubicBezTo>
                                                                                                                  <a:cubicBezTo>
                                                                                                                    <a:pt x="597056" y="490866"/>
                                                                                                                    <a:pt x="587492" y="486937"/>
                                                                                                                    <a:pt x="574766" y="482695"/>
                                                                                                                  </a:cubicBezTo>
                                                                                                                  <a:cubicBezTo>
                                                                                                                    <a:pt x="578330" y="493386"/>
                                                                                                                    <a:pt x="577450" y="495815"/>
                                                                                                                    <a:pt x="588363" y="503090"/>
                                                                                                                  </a:cubicBezTo>
                                                                                                                  <a:cubicBezTo>
                                                                                                                    <a:pt x="591344" y="505077"/>
                                                                                                                    <a:pt x="595161" y="505356"/>
                                                                                                                    <a:pt x="598560" y="506489"/>
                                                                                                                  </a:cubicBezTo>
                                                                                                                  <a:cubicBezTo>
                                                                                                                    <a:pt x="615362" y="531692"/>
                                                                                                                    <a:pt x="604145" y="528487"/>
                                                                                                                    <a:pt x="629154" y="523486"/>
                                                                                                                  </a:cubicBezTo>
                                                                                                                  <a:cubicBezTo>
                                                                                                                    <a:pt x="659745" y="503091"/>
                                                                                                                    <a:pt x="641618" y="505357"/>
                                                                                                                    <a:pt x="656348" y="520086"/>
                                                                                                                  </a:cubicBezTo>
                                                                                                                  <a:cubicBezTo>
                                                                                                                    <a:pt x="659237" y="522975"/>
                                                                                                                    <a:pt x="663147" y="524619"/>
                                                                                                                    <a:pt x="666546" y="526885"/>
                                                                                                                  </a:cubicBezTo>
                                                                                                                  <a:cubicBezTo>
                                                                                                                    <a:pt x="684676" y="554079"/>
                                                                                                                    <a:pt x="673344" y="542747"/>
                                                                                                                    <a:pt x="700538" y="560877"/>
                                                                                                                  </a:cubicBezTo>
                                                                                                                  <a:lnTo>
                                                                                                                    <a:pt x="710736" y="567676"/>
                                                                                                                  </a:lnTo>
                                                                                                                  <a:cubicBezTo>
                                                                                                                    <a:pt x="713002" y="574474"/>
                                                                                                                    <a:pt x="716129" y="581044"/>
                                                                                                                    <a:pt x="717534" y="588071"/>
                                                                                                                  </a:cubicBezTo>
                                                                                                                  <a:cubicBezTo>
                                                                                                                    <a:pt x="719800" y="599402"/>
                                                                                                                    <a:pt x="720679" y="611101"/>
                                                                                                                    <a:pt x="724333" y="622064"/>
                                                                                                                  </a:cubicBezTo>
                                                                                                                  <a:lnTo>
                                                                                                                    <a:pt x="731131" y="642460"/>
                                                                                                                  </a:lnTo>
                                                                                                                  <a:cubicBezTo>
                                                                                                                    <a:pt x="729998" y="671920"/>
                                                                                                                    <a:pt x="727732" y="701358"/>
                                                                                                                    <a:pt x="727732" y="730840"/>
                                                                                                                  </a:cubicBezTo>
                                                                                                                  <a:cubicBezTo>
                                                                                                                    <a:pt x="727732" y="735227"/>
                                                                                                                    <a:pt x="726100" y="778565"/>
                                                                                                                    <a:pt x="734531" y="795426"/>
                                                                                                                  </a:cubicBezTo>
                                                                                                                  <a:cubicBezTo>
                                                                                                                    <a:pt x="736358" y="799080"/>
                                                                                                                    <a:pt x="738139" y="803072"/>
                                                                                                                    <a:pt x="741329" y="805624"/>
                                                                                                                  </a:cubicBezTo>
                                                                                                                  <a:cubicBezTo>
                                                                                                                    <a:pt x="744127" y="807862"/>
                                                                                                                    <a:pt x="748128" y="807890"/>
                                                                                                                    <a:pt x="751527" y="809023"/>
                                                                                                                  </a:cubicBezTo>
                                                                                                                  <a:lnTo>
                                                                                                                    <a:pt x="765124" y="829419"/>
                                                                                                                  </a:lnTo>
                                                                                                                  <a:cubicBezTo>
                                                                                                                    <a:pt x="767390" y="832818"/>
                                                                                                                    <a:pt x="770630" y="835741"/>
                                                                                                                    <a:pt x="771922" y="839616"/>
                                                                                                                  </a:cubicBezTo>
                                                                                                                  <a:cubicBezTo>
                                                                                                                    <a:pt x="780013" y="863888"/>
                                                                                                                    <a:pt x="774746" y="854049"/>
                                                                                                                    <a:pt x="785520" y="870210"/>
                                                                                                                  </a:cubicBezTo>
                                                                                                                  <a:cubicBezTo>
                                                                                                                    <a:pt x="786834" y="882037"/>
                                                                                                                    <a:pt x="787684" y="909151"/>
                                                                                                                    <a:pt x="795717" y="921199"/>
                                                                                                                  </a:cubicBezTo>
                                                                                                                  <a:lnTo>
                                                                                                                    <a:pt x="802516" y="931396"/>
                                                                                                                  </a:lnTo>
                                                                                                                  <a:cubicBezTo>
                                                                                                                    <a:pt x="803649" y="955191"/>
                                                                                                                    <a:pt x="803937" y="979041"/>
                                                                                                                    <a:pt x="805915" y="1002781"/>
                                                                                                                  </a:cubicBezTo>
                                                                                                                  <a:cubicBezTo>
                                                                                                                    <a:pt x="807518" y="1022022"/>
                                                                                                                    <a:pt x="819500" y="1006206"/>
                                                                                                                    <a:pt x="805915" y="1036773"/>
                                                                                                                  </a:cubicBezTo>
                                                                                                                  <a:cubicBezTo>
                                                                                                                    <a:pt x="804256" y="1040506"/>
                                                                                                                    <a:pt x="799116" y="1041306"/>
                                                                                                                    <a:pt x="795717" y="1043572"/>
                                                                                                                  </a:cubicBezTo>
                                                                                                                  <a:cubicBezTo>
                                                                                                                    <a:pt x="794584" y="1037907"/>
                                                                                                                    <a:pt x="795523" y="1031383"/>
                                                                                                                    <a:pt x="792318" y="1026576"/>
                                                                                                                  </a:cubicBezTo>
                                                                                                                  <a:cubicBezTo>
                                                                                                                    <a:pt x="790330" y="1023595"/>
                                                                                                                    <a:pt x="785101" y="1025164"/>
                                                                                                                    <a:pt x="782120" y="1023176"/>
                                                                                                                  </a:cubicBezTo>
                                                                                                                  <a:cubicBezTo>
                                                                                                                    <a:pt x="770791" y="1015623"/>
                                                                                                                    <a:pt x="774428" y="1010944"/>
                                                                                                                    <a:pt x="761725" y="1006180"/>
                                                                                                                  </a:cubicBezTo>
                                                                                                                  <a:cubicBezTo>
                                                                                                                    <a:pt x="756315" y="1004151"/>
                                                                                                                    <a:pt x="750333" y="1004182"/>
                                                                                                                    <a:pt x="744728" y="1002781"/>
                                                                                                                  </a:cubicBezTo>
                                                                                                                  <a:cubicBezTo>
                                                                                                                    <a:pt x="741252" y="1001912"/>
                                                                                                                    <a:pt x="737930" y="1000515"/>
                                                                                                                    <a:pt x="734531" y="999382"/>
                                                                                                                  </a:cubicBezTo>
                                                                                                                  <a:cubicBezTo>
                                                                                                                    <a:pt x="737930" y="998249"/>
                                                                                                                    <a:pt x="741145" y="995982"/>
                                                                                                                    <a:pt x="744728" y="995982"/>
                                                                                                                  </a:cubicBezTo>
                                                                                                                  <a:cubicBezTo>
                                                                                                                    <a:pt x="759678" y="995982"/>
                                                                                                                    <a:pt x="751939" y="1001750"/>
                                                                                                                    <a:pt x="761725" y="1009579"/>
                                                                                                                  </a:cubicBezTo>
                                                                                                                  <a:cubicBezTo>
                                                                                                                    <a:pt x="764523" y="1011817"/>
                                                                                                                    <a:pt x="768523" y="1011846"/>
                                                                                                                    <a:pt x="771922" y="1012979"/>
                                                                                                                  </a:cubicBezTo>
                                                                                                                  <a:cubicBezTo>
                                                                                                                    <a:pt x="774188" y="1019777"/>
                                                                                                                    <a:pt x="772758" y="1029399"/>
                                                                                                                    <a:pt x="778721" y="1033374"/>
                                                                                                                  </a:cubicBezTo>
                                                                                                                  <a:lnTo>
                                                                                                                    <a:pt x="799117" y="1046971"/>
                                                                                                                  </a:lnTo>
                                                                                                                  <a:cubicBezTo>
                                                                                                                    <a:pt x="800250" y="1050370"/>
                                                                                                                    <a:pt x="800914" y="1053964"/>
                                                                                                                    <a:pt x="802516" y="1057169"/>
                                                                                                                  </a:cubicBezTo>
                                                                                                                  <a:cubicBezTo>
                                                                                                                    <a:pt x="804343" y="1060823"/>
                                                                                                                    <a:pt x="808944" y="1063298"/>
                                                                                                                    <a:pt x="809314" y="1067367"/>
                                                                                                                  </a:cubicBezTo>
                                                                                                                  <a:cubicBezTo>
                                                                                                                    <a:pt x="809540" y="1069848"/>
                                                                                                                    <a:pt x="805263" y="1110858"/>
                                                                                                                    <a:pt x="799117" y="1114956"/>
                                                                                                                  </a:cubicBezTo>
                                                                                                                  <a:lnTo>
                                                                                                                    <a:pt x="788919" y="1121755"/>
                                                                                                                  </a:lnTo>
                                                                                                                  <a:cubicBezTo>
                                                                                                                    <a:pt x="770785" y="1148954"/>
                                                                                                                    <a:pt x="794588" y="1116085"/>
                                                                                                                    <a:pt x="771922" y="1138751"/>
                                                                                                                  </a:cubicBezTo>
                                                                                                                  <a:cubicBezTo>
                                                                                                                    <a:pt x="769033" y="1141640"/>
                                                                                                                    <a:pt x="767390" y="1145550"/>
                                                                                                                    <a:pt x="765124" y="1148949"/>
                                                                                                                  </a:cubicBezTo>
                                                                                                                  <a:cubicBezTo>
                                                                                                                    <a:pt x="766783" y="1158902"/>
                                                                                                                    <a:pt x="766130" y="1172188"/>
                                                                                                                    <a:pt x="775322" y="1179542"/>
                                                                                                                  </a:cubicBezTo>
                                                                                                                  <a:cubicBezTo>
                                                                                                                    <a:pt x="778120" y="1181780"/>
                                                                                                                    <a:pt x="782121" y="1181808"/>
                                                                                                                    <a:pt x="785520" y="1182941"/>
                                                                                                                  </a:cubicBezTo>
                                                                                                                  <a:cubicBezTo>
                                                                                                                    <a:pt x="788919" y="1181808"/>
                                                                                                                    <a:pt x="793184" y="1182075"/>
                                                                                                                    <a:pt x="795717" y="1179542"/>
                                                                                                                  </a:cubicBezTo>
                                                                                                                  <a:cubicBezTo>
                                                                                                                    <a:pt x="835376" y="1139883"/>
                                                                                                                    <a:pt x="790617" y="1171612"/>
                                                                                                                    <a:pt x="819512" y="1152348"/>
                                                                                                                  </a:cubicBezTo>
                                                                                                                  <a:cubicBezTo>
                                                                                                                    <a:pt x="824044" y="1155747"/>
                                                                                                                    <a:pt x="828190" y="1159735"/>
                                                                                                                    <a:pt x="833109" y="1162546"/>
                                                                                                                  </a:cubicBezTo>
                                                                                                                  <a:cubicBezTo>
                                                                                                                    <a:pt x="836220" y="1164324"/>
                                                                                                                    <a:pt x="840509" y="1163707"/>
                                                                                                                    <a:pt x="843307" y="1165945"/>
                                                                                                                  </a:cubicBezTo>
                                                                                                                  <a:cubicBezTo>
                                                                                                                    <a:pt x="846497" y="1168497"/>
                                                                                                                    <a:pt x="846641" y="1173978"/>
                                                                                                                    <a:pt x="850105" y="1176143"/>
                                                                                                                  </a:cubicBezTo>
                                                                                                                  <a:cubicBezTo>
                                                                                                                    <a:pt x="856182" y="1179941"/>
                                                                                                                    <a:pt x="863702" y="1180675"/>
                                                                                                                    <a:pt x="870501" y="1182941"/>
                                                                                                                  </a:cubicBezTo>
                                                                                                                  <a:lnTo>
                                                                                                                    <a:pt x="880699" y="1186341"/>
                                                                                                                  </a:lnTo>
                                                                                                                  <a:lnTo>
                                                                                                                    <a:pt x="890896" y="1189740"/>
                                                                                                                  </a:lnTo>
                                                                                                                  <a:cubicBezTo>
                                                                                                                    <a:pt x="906481" y="1213116"/>
                                                                                                                    <a:pt x="896742" y="1207551"/>
                                                                                                                    <a:pt x="914691" y="1213535"/>
                                                                                                                  </a:cubicBezTo>
                                                                                                                  <a:lnTo>
                                                                                                                    <a:pt x="921490" y="1233930"/>
                                                                                                                  </a:lnTo>
                                                                                                                  <a:lnTo>
                                                                                                                    <a:pt x="924889" y="1244128"/>
                                                                                                                  </a:lnTo>
                                                                                                                  <a:cubicBezTo>
                                                                                                                    <a:pt x="923756" y="1253193"/>
                                                                                                                    <a:pt x="924883" y="1262840"/>
                                                                                                                    <a:pt x="921490" y="1271322"/>
                                                                                                                  </a:cubicBezTo>
                                                                                                                  <a:cubicBezTo>
                                                                                                                    <a:pt x="919973" y="1275115"/>
                                                                                                                    <a:pt x="914431" y="1275506"/>
                                                                                                                    <a:pt x="911292" y="1278121"/>
                                                                                                                  </a:cubicBezTo>
                                                                                                                  <a:cubicBezTo>
                                                                                                                    <a:pt x="905639" y="1282832"/>
                                                                                                                    <a:pt x="897443" y="1291435"/>
                                                                                                                    <a:pt x="894296" y="1298516"/>
                                                                                                                  </a:cubicBezTo>
                                                                                                                  <a:cubicBezTo>
                                                                                                                    <a:pt x="891385" y="1305065"/>
                                                                                                                    <a:pt x="889763" y="1312113"/>
                                                                                                                    <a:pt x="887497" y="1318912"/>
                                                                                                                  </a:cubicBezTo>
                                                                                                                  <a:cubicBezTo>
                                                                                                                    <a:pt x="884504" y="1327891"/>
                                                                                                                    <a:pt x="879267" y="1346583"/>
                                                                                                                    <a:pt x="870501" y="1349505"/>
                                                                                                                  </a:cubicBezTo>
                                                                                                                  <a:lnTo>
                                                                                                                    <a:pt x="860303" y="1352904"/>
                                                                                                                  </a:lnTo>
                                                                                                                  <a:cubicBezTo>
                                                                                                                    <a:pt x="848772" y="1360592"/>
                                                                                                                    <a:pt x="852994" y="1356814"/>
                                                                                                                    <a:pt x="846706" y="1363102"/>
                                                                                                                  </a:cubicBezTo>
                                                                                                                  <a:lnTo>
                                                                                                                    <a:pt x="839908" y="1363102"/>
                                                                                                                  </a:lnTo>
                                                                                                                  <a:cubicBezTo>
                                                                                                                    <a:pt x="830843" y="1366501"/>
                                                                                                                    <a:pt x="822023" y="1370640"/>
                                                                                                                    <a:pt x="812714" y="1373300"/>
                                                                                                                  </a:cubicBezTo>
                                                                                                                  <a:cubicBezTo>
                                                                                                                    <a:pt x="806087" y="1375193"/>
                                                                                                                    <a:pt x="797192" y="1371825"/>
                                                                                                                    <a:pt x="792318" y="1376699"/>
                                                                                                                  </a:cubicBezTo>
                                                                                                                  <a:cubicBezTo>
                                                                                                                    <a:pt x="789429" y="1379588"/>
                                                                                                                    <a:pt x="796851" y="1383498"/>
                                                                                                                    <a:pt x="799117" y="1386897"/>
                                                                                                                  </a:cubicBezTo>
                                                                                                                  <a:cubicBezTo>
                                                                                                                    <a:pt x="800250" y="1390296"/>
                                                                                                                    <a:pt x="803847" y="1393768"/>
                                                                                                                    <a:pt x="802516" y="1397095"/>
                                                                                                                  </a:cubicBezTo>
                                                                                                                  <a:cubicBezTo>
                                                                                                                    <a:pt x="800999" y="1400888"/>
                                                                                                                    <a:pt x="795972" y="1402066"/>
                                                                                                                    <a:pt x="792318" y="1403893"/>
                                                                                                                  </a:cubicBezTo>
                                                                                                                  <a:cubicBezTo>
                                                                                                                    <a:pt x="780929" y="1409587"/>
                                                                                                                    <a:pt x="761218" y="1409615"/>
                                                                                                                    <a:pt x="751527" y="1410692"/>
                                                                                                                  </a:cubicBezTo>
                                                                                                                  <a:cubicBezTo>
                                                                                                                    <a:pt x="748128" y="1412958"/>
                                                                                                                    <a:pt x="739502" y="1413836"/>
                                                                                                                    <a:pt x="741329" y="1417490"/>
                                                                                                                  </a:cubicBezTo>
                                                                                                                  <a:cubicBezTo>
                                                                                                                    <a:pt x="744983" y="1424798"/>
                                                                                                                    <a:pt x="754926" y="1426554"/>
                                                                                                                    <a:pt x="761725" y="1431087"/>
                                                                                                                  </a:cubicBezTo>
                                                                                                                  <a:cubicBezTo>
                                                                                                                    <a:pt x="775812" y="1440479"/>
                                                                                                                    <a:pt x="767956" y="1436895"/>
                                                                                                                    <a:pt x="785520" y="1441285"/>
                                                                                                                  </a:cubicBezTo>
                                                                                                                  <a:cubicBezTo>
                                                                                                                    <a:pt x="788919" y="1443551"/>
                                                                                                                    <a:pt x="793165" y="1444893"/>
                                                                                                                    <a:pt x="795717" y="1448083"/>
                                                                                                                  </a:cubicBezTo>
                                                                                                                  <a:cubicBezTo>
                                                                                                                    <a:pt x="797955" y="1450881"/>
                                                                                                                    <a:pt x="796006" y="1456503"/>
                                                                                                                    <a:pt x="799117" y="1458281"/>
                                                                                                                  </a:cubicBezTo>
                                                                                                                  <a:cubicBezTo>
                                                                                                                    <a:pt x="805101" y="1461700"/>
                                                                                                                    <a:pt x="812714" y="1460547"/>
                                                                                                                    <a:pt x="819512" y="1461680"/>
                                                                                                                  </a:cubicBezTo>
                                                                                                                  <a:cubicBezTo>
                                                                                                                    <a:pt x="821880" y="1465232"/>
                                                                                                                    <a:pt x="830649" y="1476446"/>
                                                                                                                    <a:pt x="829710" y="1482076"/>
                                                                                                                  </a:cubicBezTo>
                                                                                                                  <a:cubicBezTo>
                                                                                                                    <a:pt x="829038" y="1486106"/>
                                                                                                                    <a:pt x="826376" y="1490109"/>
                                                                                                                    <a:pt x="822911" y="1492274"/>
                                                                                                                  </a:cubicBezTo>
                                                                                                                  <a:cubicBezTo>
                                                                                                                    <a:pt x="813187" y="1498351"/>
                                                                                                                    <a:pt x="796520" y="1499721"/>
                                                                                                                    <a:pt x="785520" y="1502471"/>
                                                                                                                  </a:cubicBezTo>
                                                                                                                  <a:cubicBezTo>
                                                                                                                    <a:pt x="782044" y="1503340"/>
                                                                                                                    <a:pt x="778721" y="1504738"/>
                                                                                                                    <a:pt x="775322" y="1505871"/>
                                                                                                                  </a:cubicBezTo>
                                                                                                                  <a:cubicBezTo>
                                                                                                                    <a:pt x="772557" y="1514164"/>
                                                                                                                    <a:pt x="771713" y="1519677"/>
                                                                                                                    <a:pt x="765124" y="1526266"/>
                                                                                                                  </a:cubicBezTo>
                                                                                                                  <a:cubicBezTo>
                                                                                                                    <a:pt x="762235" y="1529155"/>
                                                                                                                    <a:pt x="758325" y="1530799"/>
                                                                                                                    <a:pt x="754926" y="1533065"/>
                                                                                                                  </a:cubicBezTo>
                                                                                                                  <a:cubicBezTo>
                                                                                                                    <a:pt x="752660" y="1529666"/>
                                                                                                                    <a:pt x="752091" y="1523858"/>
                                                                                                                    <a:pt x="748128" y="1522867"/>
                                                                                                                  </a:cubicBezTo>
                                                                                                                  <a:cubicBezTo>
                                                                                                                    <a:pt x="727403" y="1517685"/>
                                                                                                                    <a:pt x="724302" y="1534207"/>
                                                                                                                    <a:pt x="707337" y="1539863"/>
                                                                                                                  </a:cubicBezTo>
                                                                                                                  <a:lnTo>
                                                                                                                    <a:pt x="697139" y="1543263"/>
                                                                                                                  </a:lnTo>
                                                                                                                  <a:cubicBezTo>
                                                                                                                    <a:pt x="690340" y="1542130"/>
                                                                                                                    <a:pt x="683282" y="1542043"/>
                                                                                                                    <a:pt x="676743" y="1539863"/>
                                                                                                                  </a:cubicBezTo>
                                                                                                                  <a:cubicBezTo>
                                                                                                                    <a:pt x="659262" y="1534036"/>
                                                                                                                    <a:pt x="672697" y="1533226"/>
                                                                                                                    <a:pt x="659747" y="1522867"/>
                                                                                                                  </a:cubicBezTo>
                                                                                                                  <a:cubicBezTo>
                                                                                                                    <a:pt x="656949" y="1520629"/>
                                                                                                                    <a:pt x="652948" y="1520601"/>
                                                                                                                    <a:pt x="649549" y="1519468"/>
                                                                                                                  </a:cubicBezTo>
                                                                                                                  <a:cubicBezTo>
                                                                                                                    <a:pt x="646150" y="1517202"/>
                                                                                                                    <a:pt x="643084" y="1514328"/>
                                                                                                                    <a:pt x="639351" y="1512669"/>
                                                                                                                  </a:cubicBezTo>
                                                                                                                  <a:cubicBezTo>
                                                                                                                    <a:pt x="618750" y="1503513"/>
                                                                                                                    <a:pt x="619933" y="1507221"/>
                                                                                                                    <a:pt x="598560" y="1502471"/>
                                                                                                                  </a:cubicBezTo>
                                                                                                                  <a:cubicBezTo>
                                                                                                                    <a:pt x="581130" y="1498597"/>
                                                                                                                    <a:pt x="595491" y="1498634"/>
                                                                                                                    <a:pt x="574766" y="1495673"/>
                                                                                                                  </a:cubicBezTo>
                                                                                                                  <a:cubicBezTo>
                                                                                                                    <a:pt x="563493" y="1494063"/>
                                                                                                                    <a:pt x="552104" y="1493407"/>
                                                                                                                    <a:pt x="540773" y="1492274"/>
                                                                                                                  </a:cubicBezTo>
                                                                                                                  <a:cubicBezTo>
                                                                                                                    <a:pt x="536267" y="1478755"/>
                                                                                                                    <a:pt x="536387" y="1468004"/>
                                                                                                                    <a:pt x="510180" y="1485475"/>
                                                                                                                  </a:cubicBezTo>
                                                                                                                  <a:cubicBezTo>
                                                                                                                    <a:pt x="506781" y="1487741"/>
                                                                                                                    <a:pt x="515151" y="1492019"/>
                                                                                                                    <a:pt x="516978" y="1495673"/>
                                                                                                                  </a:cubicBezTo>
                                                                                                                  <a:cubicBezTo>
                                                                                                                    <a:pt x="518580" y="1498878"/>
                                                                                                                    <a:pt x="519244" y="1502472"/>
                                                                                                                    <a:pt x="520377" y="1505871"/>
                                                                                                                  </a:cubicBezTo>
                                                                                                                  <a:cubicBezTo>
                                                                                                                    <a:pt x="513617" y="1510378"/>
                                                                                                                    <a:pt x="508426" y="1517714"/>
                                                                                                                    <a:pt x="499982" y="1509270"/>
                                                                                                                  </a:cubicBezTo>
                                                                                                                  <a:cubicBezTo>
                                                                                                                    <a:pt x="497448" y="1506736"/>
                                                                                                                    <a:pt x="499499" y="1501155"/>
                                                                                                                    <a:pt x="496583" y="1499072"/>
                                                                                                                  </a:cubicBezTo>
                                                                                                                  <a:cubicBezTo>
                                                                                                                    <a:pt x="490751" y="1494907"/>
                                                                                                                    <a:pt x="476187" y="1492274"/>
                                                                                                                    <a:pt x="476187" y="1492274"/>
                                                                                                                  </a:cubicBezTo>
                                                                                                                  <a:cubicBezTo>
                                                                                                                    <a:pt x="460025" y="1481499"/>
                                                                                                                    <a:pt x="469867" y="1486768"/>
                                                                                                                    <a:pt x="445594" y="1478677"/>
                                                                                                                  </a:cubicBezTo>
                                                                                                                  <a:lnTo>
                                                                                                                    <a:pt x="435396" y="1475277"/>
                                                                                                                  </a:lnTo>
                                                                                                                  <a:cubicBezTo>
                                                                                                                    <a:pt x="433130" y="1478676"/>
                                                                                                                    <a:pt x="432526" y="1484353"/>
                                                                                                                    <a:pt x="428598" y="1485475"/>
                                                                                                                  </a:cubicBezTo>
                                                                                                                  <a:cubicBezTo>
                                                                                                                    <a:pt x="423422" y="1486954"/>
                                                                                                                    <a:pt x="393706" y="1476110"/>
                                                                                                                    <a:pt x="391206" y="1475277"/>
                                                                                                                  </a:cubicBezTo>
                                                                                                                  <a:lnTo>
                                                                                                                    <a:pt x="381008" y="1471878"/>
                                                                                                                  </a:lnTo>
                                                                                                                  <a:lnTo>
                                                                                                                    <a:pt x="370810" y="1468479"/>
                                                                                                                  </a:lnTo>
                                                                                                                  <a:cubicBezTo>
                                                                                                                    <a:pt x="368544" y="1465080"/>
                                                                                                                    <a:pt x="366901" y="1461170"/>
                                                                                                                    <a:pt x="364012" y="1458281"/>
                                                                                                                  </a:cubicBezTo>
                                                                                                                  <a:cubicBezTo>
                                                                                                                    <a:pt x="354274" y="1448543"/>
                                                                                                                    <a:pt x="354671" y="1453610"/>
                                                                                                                    <a:pt x="343616" y="1448083"/>
                                                                                                                  </a:cubicBezTo>
                                                                                                                  <a:cubicBezTo>
                                                                                                                    <a:pt x="339962" y="1446256"/>
                                                                                                                    <a:pt x="337173" y="1442894"/>
                                                                                                                    <a:pt x="333418" y="1441285"/>
                                                                                                                  </a:cubicBezTo>
                                                                                                                  <a:cubicBezTo>
                                                                                                                    <a:pt x="318153" y="1434743"/>
                                                                                                                    <a:pt x="322866" y="1441108"/>
                                                                                                                    <a:pt x="309624" y="1434486"/>
                                                                                                                  </a:cubicBezTo>
                                                                                                                  <a:cubicBezTo>
                                                                                                                    <a:pt x="283277" y="1421312"/>
                                                                                                                    <a:pt x="314851" y="1432829"/>
                                                                                                                    <a:pt x="289228" y="1424289"/>
                                                                                                                  </a:cubicBezTo>
                                                                                                                  <a:cubicBezTo>
                                                                                                                    <a:pt x="282430" y="1425422"/>
                                                                                                                    <a:pt x="274817" y="1424269"/>
                                                                                                                    <a:pt x="268833" y="1427688"/>
                                                                                                                  </a:cubicBezTo>
                                                                                                                  <a:cubicBezTo>
                                                                                                                    <a:pt x="265722" y="1429466"/>
                                                                                                                    <a:pt x="267173" y="1434754"/>
                                                                                                                    <a:pt x="265433" y="1437886"/>
                                                                                                                  </a:cubicBezTo>
                                                                                                                  <a:cubicBezTo>
                                                                                                                    <a:pt x="261465" y="1445028"/>
                                                                                                                    <a:pt x="251836" y="1458281"/>
                                                                                                                    <a:pt x="251836" y="1458281"/>
                                                                                                                  </a:cubicBezTo>
                                                                                                                  <a:cubicBezTo>
                                                                                                                    <a:pt x="245268" y="1477988"/>
                                                                                                                    <a:pt x="248932" y="1477131"/>
                                                                                                                    <a:pt x="234840" y="1488874"/>
                                                                                                                  </a:cubicBezTo>
                                                                                                                  <a:cubicBezTo>
                                                                                                                    <a:pt x="231701" y="1491489"/>
                                                                                                                    <a:pt x="228041" y="1493407"/>
                                                                                                                    <a:pt x="224642" y="1495673"/>
                                                                                                                  </a:cubicBezTo>
                                                                                                                  <a:cubicBezTo>
                                                                                                                    <a:pt x="212481" y="1493241"/>
                                                                                                                    <a:pt x="206201" y="1494229"/>
                                                                                                                    <a:pt x="197448" y="1485475"/>
                                                                                                                  </a:cubicBezTo>
                                                                                                                  <a:cubicBezTo>
                                                                                                                    <a:pt x="187710" y="1475736"/>
                                                                                                                    <a:pt x="192778" y="1476135"/>
                                                                                                                    <a:pt x="187250" y="1465080"/>
                                                                                                                  </a:cubicBezTo>
                                                                                                                  <a:cubicBezTo>
                                                                                                                    <a:pt x="185423" y="1461426"/>
                                                                                                                    <a:pt x="182279" y="1458536"/>
                                                                                                                    <a:pt x="180452" y="1454882"/>
                                                                                                                  </a:cubicBezTo>
                                                                                                                  <a:cubicBezTo>
                                                                                                                    <a:pt x="178850" y="1451677"/>
                                                                                                                    <a:pt x="179587" y="1447218"/>
                                                                                                                    <a:pt x="177053" y="1444684"/>
                                                                                                                  </a:cubicBezTo>
                                                                                                                  <a:cubicBezTo>
                                                                                                                    <a:pt x="174519" y="1442150"/>
                                                                                                                    <a:pt x="170254" y="1442418"/>
                                                                                                                    <a:pt x="166855" y="1441285"/>
                                                                                                                  </a:cubicBezTo>
                                                                                                                  <a:cubicBezTo>
                                                                                                                    <a:pt x="143898" y="1448937"/>
                                                                                                                    <a:pt x="172157" y="1441285"/>
                                                                                                                    <a:pt x="136262" y="1441285"/>
                                                                                                                  </a:cubicBezTo>
                                                                                                                  <a:cubicBezTo>
                                                                                                                    <a:pt x="129370" y="1441285"/>
                                                                                                                    <a:pt x="122553" y="1443012"/>
                                                                                                                    <a:pt x="115866" y="1444684"/>
                                                                                                                  </a:cubicBezTo>
                                                                                                                  <a:cubicBezTo>
                                                                                                                    <a:pt x="108914" y="1446422"/>
                                                                                                                    <a:pt x="102269" y="1449217"/>
                                                                                                                    <a:pt x="95470" y="1451483"/>
                                                                                                                  </a:cubicBezTo>
                                                                                                                  <a:lnTo>
                                                                                                                    <a:pt x="85273" y="1454882"/>
                                                                                                                  </a:lnTo>
                                                                                                                  <a:lnTo>
                                                                                                                    <a:pt x="75075" y="1458281"/>
                                                                                                                  </a:lnTo>
                                                                                                                  <a:cubicBezTo>
                                                                                                                    <a:pt x="72310" y="1466576"/>
                                                                                                                    <a:pt x="71467" y="1472087"/>
                                                                                                                    <a:pt x="64877" y="1478677"/>
                                                                                                                  </a:cubicBezTo>
                                                                                                                  <a:cubicBezTo>
                                                                                                                    <a:pt x="61988" y="1481566"/>
                                                                                                                    <a:pt x="58078" y="1483209"/>
                                                                                                                    <a:pt x="54679" y="1485475"/>
                                                                                                                  </a:cubicBezTo>
                                                                                                                  <a:cubicBezTo>
                                                                                                                    <a:pt x="46748" y="1484342"/>
                                                                                                                    <a:pt x="36915" y="1487352"/>
                                                                                                                    <a:pt x="30885" y="1482076"/>
                                                                                                                  </a:cubicBezTo>
                                                                                                                  <a:cubicBezTo>
                                                                                                                    <a:pt x="25698" y="1477537"/>
                                                                                                                    <a:pt x="30905" y="1467664"/>
                                                                                                                    <a:pt x="27485" y="1461680"/>
                                                                                                                  </a:cubicBezTo>
                                                                                                                  <a:cubicBezTo>
                                                                                                                    <a:pt x="25707" y="1458569"/>
                                                                                                                    <a:pt x="20733" y="1459265"/>
                                                                                                                    <a:pt x="17288" y="1458281"/>
                                                                                                                  </a:cubicBezTo>
                                                                                                                  <a:cubicBezTo>
                                                                                                                    <a:pt x="12796" y="1456998"/>
                                                                                                                    <a:pt x="8223" y="1456015"/>
                                                                                                                    <a:pt x="3691" y="1454882"/>
                                                                                                                  </a:cubicBezTo>
                                                                                                                  <a:cubicBezTo>
                                                                                                                    <a:pt x="2558" y="1451483"/>
                                                                                                                    <a:pt x="-1040" y="1448011"/>
                                                                                                                    <a:pt x="291" y="1444684"/>
                                                                                                                  </a:cubicBezTo>
                                                                                                                  <a:cubicBezTo>
                                                                                                                    <a:pt x="2899" y="1438165"/>
                                                                                                                    <a:pt x="19651" y="1435595"/>
                                                                                                                    <a:pt x="24086" y="1434486"/>
                                                                                                                  </a:cubicBezTo>
                                                                                                                  <a:cubicBezTo>
                                                                                                                    <a:pt x="29751" y="1435619"/>
                                                                                                                    <a:pt x="35304" y="1437886"/>
                                                                                                                    <a:pt x="41082" y="1437886"/>
                                                                                                                  </a:cubicBezTo>
                                                                                                                  <a:cubicBezTo>
                                                                                                                    <a:pt x="48117" y="1437886"/>
                                                                                                                    <a:pt x="56324" y="1431124"/>
                                                                                                                    <a:pt x="61478" y="1427688"/>
                                                                                                                  </a:cubicBezTo>
                                                                                                                  <a:cubicBezTo>
                                                                                                                    <a:pt x="63744" y="1424289"/>
                                                                                                                    <a:pt x="64812" y="1419655"/>
                                                                                                                    <a:pt x="68276" y="1417490"/>
                                                                                                                  </a:cubicBezTo>
                                                                                                                  <a:cubicBezTo>
                                                                                                                    <a:pt x="74353" y="1413692"/>
                                                                                                                    <a:pt x="88672" y="1410692"/>
                                                                                                                    <a:pt x="88672" y="1410692"/>
                                                                                                                  </a:cubicBezTo>
                                                                                                                  <a:cubicBezTo>
                                                                                                                    <a:pt x="92071" y="1408426"/>
                                                                                                                    <a:pt x="95981" y="1406782"/>
                                                                                                                    <a:pt x="98870" y="1403893"/>
                                                                                                                  </a:cubicBezTo>
                                                                                                                  <a:cubicBezTo>
                                                                                                                    <a:pt x="112750" y="1390012"/>
                                                                                                                    <a:pt x="97168" y="1389729"/>
                                                                                                                    <a:pt x="126064" y="1380098"/>
                                                                                                                  </a:cubicBezTo>
                                                                                                                  <a:lnTo>
                                                                                                                    <a:pt x="146459" y="1373300"/>
                                                                                                                  </a:lnTo>
                                                                                                                  <a:cubicBezTo>
                                                                                                                    <a:pt x="148725" y="1369901"/>
                                                                                                                    <a:pt x="151431" y="1366756"/>
                                                                                                                    <a:pt x="153258" y="1363102"/>
                                                                                                                  </a:cubicBezTo>
                                                                                                                  <a:cubicBezTo>
                                                                                                                    <a:pt x="154860" y="1359897"/>
                                                                                                                    <a:pt x="154123" y="1355438"/>
                                                                                                                    <a:pt x="156657" y="1352904"/>
                                                                                                                  </a:cubicBezTo>
                                                                                                                  <a:cubicBezTo>
                                                                                                                    <a:pt x="159191" y="1350370"/>
                                                                                                                    <a:pt x="163456" y="1350638"/>
                                                                                                                    <a:pt x="166855" y="1349505"/>
                                                                                                                  </a:cubicBezTo>
                                                                                                                  <a:cubicBezTo>
                                                                                                                    <a:pt x="170254" y="1347239"/>
                                                                                                                    <a:pt x="172988" y="1343113"/>
                                                                                                                    <a:pt x="177053" y="1342706"/>
                                                                                                                  </a:cubicBezTo>
                                                                                                                  <a:cubicBezTo>
                                                                                                                    <a:pt x="189068" y="1341505"/>
                                                                                                                    <a:pt x="200101" y="1345857"/>
                                                                                                                    <a:pt x="211045" y="1349505"/>
                                                                                                                  </a:cubicBezTo>
                                                                                                                  <a:cubicBezTo>
                                                                                                                    <a:pt x="213311" y="1346106"/>
                                                                                                                    <a:pt x="216670" y="1343220"/>
                                                                                                                    <a:pt x="217844" y="1339307"/>
                                                                                                                  </a:cubicBezTo>
                                                                                                                  <a:cubicBezTo>
                                                                                                                    <a:pt x="220146" y="1331633"/>
                                                                                                                    <a:pt x="216799" y="1322179"/>
                                                                                                                    <a:pt x="221243" y="1315512"/>
                                                                                                                  </a:cubicBezTo>
                                                                                                                  <a:cubicBezTo>
                                                                                                                    <a:pt x="224628" y="1310435"/>
                                                                                                                    <a:pt x="232574" y="1310980"/>
                                                                                                                    <a:pt x="238239" y="1308714"/>
                                                                                                                  </a:cubicBezTo>
                                                                                                                  <a:cubicBezTo>
                                                                                                                    <a:pt x="245841" y="1310614"/>
                                                                                                                    <a:pt x="267265" y="1315600"/>
                                                                                                                    <a:pt x="272232" y="1318912"/>
                                                                                                                  </a:cubicBezTo>
                                                                                                                  <a:cubicBezTo>
                                                                                                                    <a:pt x="279030" y="1323444"/>
                                                                                                                    <a:pt x="284876" y="1329925"/>
                                                                                                                    <a:pt x="292627" y="1332509"/>
                                                                                                                  </a:cubicBezTo>
                                                                                                                  <a:lnTo>
                                                                                                                    <a:pt x="313023" y="1339307"/>
                                                                                                                  </a:lnTo>
                                                                                                                  <a:cubicBezTo>
                                                                                                                    <a:pt x="316422" y="1341573"/>
                                                                                                                    <a:pt x="319567" y="1344279"/>
                                                                                                                    <a:pt x="323221" y="1346106"/>
                                                                                                                  </a:cubicBezTo>
                                                                                                                  <a:cubicBezTo>
                                                                                                                    <a:pt x="338387" y="1353689"/>
                                                                                                                    <a:pt x="348396" y="1348007"/>
                                                                                                                    <a:pt x="367411" y="1346106"/>
                                                                                                                  </a:cubicBezTo>
                                                                                                                  <a:cubicBezTo>
                                                                                                                    <a:pt x="368544" y="1342707"/>
                                                                                                                    <a:pt x="368276" y="1338442"/>
                                                                                                                    <a:pt x="370810" y="1335908"/>
                                                                                                                  </a:cubicBezTo>
                                                                                                                  <a:cubicBezTo>
                                                                                                                    <a:pt x="382499" y="1324219"/>
                                                                                                                    <a:pt x="388580" y="1323186"/>
                                                                                                                    <a:pt x="401404" y="1318912"/>
                                                                                                                  </a:cubicBezTo>
                                                                                                                  <a:cubicBezTo>
                                                                                                                    <a:pt x="404803" y="1316646"/>
                                                                                                                    <a:pt x="407947" y="1313940"/>
                                                                                                                    <a:pt x="411601" y="1312113"/>
                                                                                                                  </a:cubicBezTo>
                                                                                                                  <a:cubicBezTo>
                                                                                                                    <a:pt x="414806" y="1310510"/>
                                                                                                                    <a:pt x="418667" y="1310454"/>
                                                                                                                    <a:pt x="421799" y="1308714"/>
                                                                                                                  </a:cubicBezTo>
                                                                                                                  <a:cubicBezTo>
                                                                                                                    <a:pt x="428942" y="1304746"/>
                                                                                                                    <a:pt x="442195" y="1295117"/>
                                                                                                                    <a:pt x="442195" y="1295117"/>
                                                                                                                  </a:cubicBezTo>
                                                                                                                  <a:cubicBezTo>
                                                                                                                    <a:pt x="443328" y="1291718"/>
                                                                                                                    <a:pt x="448575" y="1286907"/>
                                                                                                                    <a:pt x="445594" y="1284919"/>
                                                                                                                  </a:cubicBezTo>
                                                                                                                  <a:cubicBezTo>
                                                                                                                    <a:pt x="441707" y="1282327"/>
                                                                                                                    <a:pt x="436472" y="1286976"/>
                                                                                                                    <a:pt x="431997" y="1288318"/>
                                                                                                                  </a:cubicBezTo>
                                                                                                                  <a:cubicBezTo>
                                                                                                                    <a:pt x="425133" y="1290377"/>
                                                                                                                    <a:pt x="418400" y="1292851"/>
                                                                                                                    <a:pt x="411601" y="1295117"/>
                                                                                                                  </a:cubicBezTo>
                                                                                                                  <a:lnTo>
                                                                                                                    <a:pt x="401404" y="1298516"/>
                                                                                                                  </a:lnTo>
                                                                                                                  <a:cubicBezTo>
                                                                                                                    <a:pt x="387898" y="1295140"/>
                                                                                                                    <a:pt x="374934" y="1290161"/>
                                                                                                                    <a:pt x="360612" y="1298516"/>
                                                                                                                  </a:cubicBezTo>
                                                                                                                  <a:cubicBezTo>
                                                                                                                    <a:pt x="353554" y="1302633"/>
                                                                                                                    <a:pt x="354767" y="1316328"/>
                                                                                                                    <a:pt x="347015" y="1318912"/>
                                                                                                                  </a:cubicBezTo>
                                                                                                                  <a:lnTo>
                                                                                                                    <a:pt x="336818" y="1322311"/>
                                                                                                                  </a:lnTo>
                                                                                                                  <a:cubicBezTo>
                                                                                                                    <a:pt x="328652" y="1320270"/>
                                                                                                                    <a:pt x="318892" y="1319450"/>
                                                                                                                    <a:pt x="313023" y="1312113"/>
                                                                                                                  </a:cubicBezTo>
                                                                                                                  <a:cubicBezTo>
                                                                                                                    <a:pt x="310785" y="1309315"/>
                                                                                                                    <a:pt x="311227" y="1305120"/>
                                                                                                                    <a:pt x="309624" y="1301915"/>
                                                                                                                  </a:cubicBezTo>
                                                                                                                  <a:cubicBezTo>
                                                                                                                    <a:pt x="307797" y="1298261"/>
                                                                                                                    <a:pt x="305091" y="1295117"/>
                                                                                                                    <a:pt x="302825" y="1291718"/>
                                                                                                                  </a:cubicBezTo>
                                                                                                                  <a:cubicBezTo>
                                                                                                                    <a:pt x="301692" y="1288319"/>
                                                                                                                    <a:pt x="301028" y="1284725"/>
                                                                                                                    <a:pt x="299426" y="1281520"/>
                                                                                                                  </a:cubicBezTo>
                                                                                                                  <a:cubicBezTo>
                                                                                                                    <a:pt x="294694" y="1272057"/>
                                                                                                                    <a:pt x="289946" y="1268640"/>
                                                                                                                    <a:pt x="282430" y="1261124"/>
                                                                                                                  </a:cubicBezTo>
                                                                                                                  <a:cubicBezTo>
                                                                                                                    <a:pt x="281297" y="1257725"/>
                                                                                                                    <a:pt x="281268" y="1253725"/>
                                                                                                                    <a:pt x="279030" y="1250927"/>
                                                                                                                  </a:cubicBezTo>
                                                                                                                  <a:cubicBezTo>
                                                                                                                    <a:pt x="268670" y="1237977"/>
                                                                                                                    <a:pt x="268996" y="1245747"/>
                                                                                                                    <a:pt x="258635" y="1250927"/>
                                                                                                                  </a:cubicBezTo>
                                                                                                                  <a:cubicBezTo>
                                                                                                                    <a:pt x="255430" y="1252529"/>
                                                                                                                    <a:pt x="251836" y="1253193"/>
                                                                                                                    <a:pt x="248437" y="1254326"/>
                                                                                                                  </a:cubicBezTo>
                                                                                                                  <a:cubicBezTo>
                                                                                                                    <a:pt x="249570" y="1247527"/>
                                                                                                                    <a:pt x="252597" y="1240780"/>
                                                                                                                    <a:pt x="251836" y="1233930"/>
                                                                                                                  </a:cubicBezTo>
                                                                                                                  <a:cubicBezTo>
                                                                                                                    <a:pt x="251385" y="1229870"/>
                                                                                                                    <a:pt x="247927" y="1226621"/>
                                                                                                                    <a:pt x="245038" y="1223732"/>
                                                                                                                  </a:cubicBezTo>
                                                                                                                  <a:cubicBezTo>
                                                                                                                    <a:pt x="237214" y="1215908"/>
                                                                                                                    <a:pt x="231643" y="1216135"/>
                                                                                                                    <a:pt x="221243" y="1213535"/>
                                                                                                                  </a:cubicBezTo>
                                                                                                                  <a:cubicBezTo>
                                                                                                                    <a:pt x="215578" y="1218067"/>
                                                                                                                    <a:pt x="211385" y="1225834"/>
                                                                                                                    <a:pt x="204247" y="1227132"/>
                                                                                                                  </a:cubicBezTo>
                                                                                                                  <a:cubicBezTo>
                                                                                                                    <a:pt x="197196" y="1228414"/>
                                                                                                                    <a:pt x="183851" y="1220333"/>
                                                                                                                    <a:pt x="183851" y="1220333"/>
                                                                                                                  </a:cubicBezTo>
                                                                                                                  <a:cubicBezTo>
                                                                                                                    <a:pt x="181585" y="1216934"/>
                                                                                                                    <a:pt x="178487" y="1213960"/>
                                                                                                                    <a:pt x="177053" y="1210135"/>
                                                                                                                  </a:cubicBezTo>
                                                                                                                  <a:cubicBezTo>
                                                                                                                    <a:pt x="175024" y="1204725"/>
                                                                                                                    <a:pt x="177352" y="1197577"/>
                                                                                                                    <a:pt x="173653" y="1193139"/>
                                                                                                                  </a:cubicBezTo>
                                                                                                                  <a:cubicBezTo>
                                                                                                                    <a:pt x="170662" y="1189550"/>
                                                                                                                    <a:pt x="164588" y="1190873"/>
                                                                                                                    <a:pt x="160056" y="1189740"/>
                                                                                                                  </a:cubicBezTo>
                                                                                                                  <a:cubicBezTo>
                                                                                                                    <a:pt x="168348" y="1156580"/>
                                                                                                                    <a:pt x="160056" y="1197986"/>
                                                                                                                    <a:pt x="160056" y="1159147"/>
                                                                                                                  </a:cubicBezTo>
                                                                                                                  <a:cubicBezTo>
                                                                                                                    <a:pt x="160056" y="1155564"/>
                                                                                                                    <a:pt x="159994" y="1149872"/>
                                                                                                                    <a:pt x="163456" y="1148949"/>
                                                                                                                  </a:cubicBezTo>
                                                                                                                  <a:cubicBezTo>
                                                                                                                    <a:pt x="178822" y="1144851"/>
                                                                                                                    <a:pt x="195182" y="1146683"/>
                                                                                                                    <a:pt x="211045" y="1145550"/>
                                                                                                                  </a:cubicBezTo>
                                                                                                                  <a:cubicBezTo>
                                                                                                                    <a:pt x="214444" y="1144417"/>
                                                                                                                    <a:pt x="218038" y="1143752"/>
                                                                                                                    <a:pt x="221243" y="1142150"/>
                                                                                                                  </a:cubicBezTo>
                                                                                                                  <a:cubicBezTo>
                                                                                                                    <a:pt x="224897" y="1140323"/>
                                                                                                                    <a:pt x="227616" y="1136786"/>
                                                                                                                    <a:pt x="231441" y="1135352"/>
                                                                                                                  </a:cubicBezTo>
                                                                                                                  <a:cubicBezTo>
                                                                                                                    <a:pt x="236851" y="1133324"/>
                                                                                                                    <a:pt x="242797" y="1133206"/>
                                                                                                                    <a:pt x="248437" y="1131953"/>
                                                                                                                  </a:cubicBezTo>
                                                                                                                  <a:cubicBezTo>
                                                                                                                    <a:pt x="252998" y="1130939"/>
                                                                                                                    <a:pt x="257559" y="1129895"/>
                                                                                                                    <a:pt x="262034" y="1128553"/>
                                                                                                                  </a:cubicBezTo>
                                                                                                                  <a:cubicBezTo>
                                                                                                                    <a:pt x="268898" y="1126494"/>
                                                                                                                    <a:pt x="282430" y="1121755"/>
                                                                                                                    <a:pt x="282430" y="1121755"/>
                                                                                                                  </a:cubicBezTo>
                                                                                                                  <a:cubicBezTo>
                                                                                                                    <a:pt x="289228" y="1117223"/>
                                                                                                                    <a:pt x="298293" y="1114956"/>
                                                                                                                    <a:pt x="302825" y="1108158"/>
                                                                                                                  </a:cubicBezTo>
                                                                                                                  <a:cubicBezTo>
                                                                                                                    <a:pt x="311611" y="1094979"/>
                                                                                                                    <a:pt x="305748" y="1099252"/>
                                                                                                                    <a:pt x="319821" y="1094561"/>
                                                                                                                  </a:cubicBezTo>
                                                                                                                  <a:cubicBezTo>
                                                                                                                    <a:pt x="324234" y="1063673"/>
                                                                                                                    <a:pt x="320688" y="1078366"/>
                                                                                                                    <a:pt x="330019" y="1050370"/>
                                                                                                                  </a:cubicBezTo>
                                                                                                                  <a:cubicBezTo>
                                                                                                                    <a:pt x="330020" y="1050366"/>
                                                                                                                    <a:pt x="336816" y="1029978"/>
                                                                                                                    <a:pt x="336818" y="1029975"/>
                                                                                                                  </a:cubicBezTo>
                                                                                                                  <a:lnTo>
                                                                                                                    <a:pt x="343616" y="1019777"/>
                                                                                                                  </a:lnTo>
                                                                                                                  <a:cubicBezTo>
                                                                                                                    <a:pt x="342483" y="1015245"/>
                                                                                                                    <a:pt x="344785" y="1007159"/>
                                                                                                                    <a:pt x="340217" y="1006180"/>
                                                                                                                  </a:cubicBezTo>
                                                                                                                  <a:cubicBezTo>
                                                                                                                    <a:pt x="317850" y="1001387"/>
                                                                                                                    <a:pt x="303882" y="1006960"/>
                                                                                                                    <a:pt x="285829" y="1012979"/>
                                                                                                                  </a:cubicBezTo>
                                                                                                                  <a:cubicBezTo>
                                                                                                                    <a:pt x="282430" y="1011846"/>
                                                                                                                    <a:pt x="275631" y="1013162"/>
                                                                                                                    <a:pt x="275631" y="1009579"/>
                                                                                                                  </a:cubicBezTo>
                                                                                                                  <a:cubicBezTo>
                                                                                                                    <a:pt x="275631" y="1005996"/>
                                                                                                                    <a:pt x="282384" y="1007164"/>
                                                                                                                    <a:pt x="285829" y="1006180"/>
                                                                                                                  </a:cubicBezTo>
                                                                                                                  <a:cubicBezTo>
                                                                                                                    <a:pt x="315707" y="997644"/>
                                                                                                                    <a:pt x="285173" y="1007532"/>
                                                                                                                    <a:pt x="309624" y="999382"/>
                                                                                                                  </a:cubicBezTo>
                                                                                                                  <a:cubicBezTo>
                                                                                                                    <a:pt x="316422" y="994849"/>
                                                                                                                    <a:pt x="325486" y="992582"/>
                                                                                                                    <a:pt x="330019" y="985784"/>
                                                                                                                  </a:cubicBezTo>
                                                                                                                  <a:cubicBezTo>
                                                                                                                    <a:pt x="332285" y="982385"/>
                                                                                                                    <a:pt x="333628" y="978139"/>
                                                                                                                    <a:pt x="336818" y="975587"/>
                                                                                                                  </a:cubicBezTo>
                                                                                                                  <a:cubicBezTo>
                                                                                                                    <a:pt x="339616" y="973349"/>
                                                                                                                    <a:pt x="343810" y="973789"/>
                                                                                                                    <a:pt x="347015" y="972187"/>
                                                                                                                  </a:cubicBezTo>
                                                                                                                  <a:cubicBezTo>
                                                                                                                    <a:pt x="373362" y="959013"/>
                                                                                                                    <a:pt x="341788" y="970530"/>
                                                                                                                    <a:pt x="367411" y="961990"/>
                                                                                                                  </a:cubicBezTo>
                                                                                                                  <a:cubicBezTo>
                                                                                                                    <a:pt x="393472" y="963123"/>
                                                                                                                    <a:pt x="419585" y="963388"/>
                                                                                                                    <a:pt x="445594" y="965389"/>
                                                                                                                  </a:cubicBezTo>
                                                                                                                  <a:cubicBezTo>
                                                                                                                    <a:pt x="456842" y="966254"/>
                                                                                                                    <a:pt x="456033" y="971162"/>
                                                                                                                    <a:pt x="465989" y="975587"/>
                                                                                                                  </a:cubicBezTo>
                                                                                                                  <a:cubicBezTo>
                                                                                                                    <a:pt x="472538" y="978498"/>
                                                                                                                    <a:pt x="486385" y="982385"/>
                                                                                                                    <a:pt x="486385" y="982385"/>
                                                                                                                  </a:cubicBezTo>
                                                                                                                  <a:lnTo>
                                                                                                                    <a:pt x="472788" y="961990"/>
                                                                                                                  </a:lnTo>
                                                                                                                  <a:lnTo>
                                                                                                                    <a:pt x="496583" y="927997"/>
                                                                                                                  </a:lnTo>
                                                                                                                  <a:cubicBezTo>
                                                                                                                    <a:pt x="498908" y="924638"/>
                                                                                                                    <a:pt x="503381" y="917799"/>
                                                                                                                    <a:pt x="503381" y="917799"/>
                                                                                                                  </a:cubicBezTo>
                                                                                                                  <a:cubicBezTo>
                                                                                                                    <a:pt x="501115" y="914400"/>
                                                                                                                    <a:pt x="496583" y="911687"/>
                                                                                                                    <a:pt x="496583" y="907602"/>
                                                                                                                  </a:cubicBezTo>
                                                                                                                  <a:cubicBezTo>
                                                                                                                    <a:pt x="496583" y="900048"/>
                                                                                                                    <a:pt x="509046" y="893627"/>
                                                                                                                    <a:pt x="513579" y="890605"/>
                                                                                                                  </a:cubicBezTo>
                                                                                                                  <a:cubicBezTo>
                                                                                                                    <a:pt x="515845" y="887206"/>
                                                                                                                    <a:pt x="517488" y="883297"/>
                                                                                                                    <a:pt x="520377" y="880408"/>
                                                                                                                  </a:cubicBezTo>
                                                                                                                  <a:cubicBezTo>
                                                                                                                    <a:pt x="523266" y="877519"/>
                                                                                                                    <a:pt x="528023" y="876799"/>
                                                                                                                    <a:pt x="530575" y="873609"/>
                                                                                                                  </a:cubicBezTo>
                                                                                                                  <a:cubicBezTo>
                                                                                                                    <a:pt x="532813" y="870811"/>
                                                                                                                    <a:pt x="532373" y="866616"/>
                                                                                                                    <a:pt x="533975" y="863411"/>
                                                                                                                  </a:cubicBezTo>
                                                                                                                  <a:cubicBezTo>
                                                                                                                    <a:pt x="535802" y="859757"/>
                                                                                                                    <a:pt x="538507" y="856612"/>
                                                                                                                    <a:pt x="540773" y="853213"/>
                                                                                                                  </a:cubicBezTo>
                                                                                                                  <a:cubicBezTo>
                                                                                                                    <a:pt x="539640" y="849814"/>
                                                                                                                    <a:pt x="540290" y="845098"/>
                                                                                                                    <a:pt x="537374" y="843016"/>
                                                                                                                  </a:cubicBezTo>
                                                                                                                  <a:cubicBezTo>
                                                                                                                    <a:pt x="531542" y="838851"/>
                                                                                                                    <a:pt x="516978" y="836217"/>
                                                                                                                    <a:pt x="516978" y="836217"/>
                                                                                                                  </a:cubicBezTo>
                                                                                                                  <a:cubicBezTo>
                                                                                                                    <a:pt x="513579" y="837350"/>
                                                                                                                    <a:pt x="510363" y="839616"/>
                                                                                                                    <a:pt x="506780" y="839616"/>
                                                                                                                  </a:cubicBezTo>
                                                                                                                  <a:cubicBezTo>
                                                                                                                    <a:pt x="481955" y="839616"/>
                                                                                                                    <a:pt x="494801" y="802380"/>
                                                                                                                    <a:pt x="493183" y="788628"/>
                                                                                                                  </a:cubicBezTo>
                                                                                                                  <a:cubicBezTo>
                                                                                                                    <a:pt x="492178" y="780083"/>
                                                                                                                    <a:pt x="487570" y="775108"/>
                                                                                                                    <a:pt x="482986" y="768232"/>
                                                                                                                  </a:cubicBezTo>
                                                                                                                  <a:cubicBezTo>
                                                                                                                    <a:pt x="484119" y="760300"/>
                                                                                                                    <a:pt x="484083" y="752111"/>
                                                                                                                    <a:pt x="486385" y="744437"/>
                                                                                                                  </a:cubicBezTo>
                                                                                                                  <a:cubicBezTo>
                                                                                                                    <a:pt x="489708" y="733359"/>
                                                                                                                    <a:pt x="495526" y="733987"/>
                                                                                                                    <a:pt x="503381" y="727441"/>
                                                                                                                  </a:cubicBezTo>
                                                                                                                  <a:cubicBezTo>
                                                                                                                    <a:pt x="507074" y="724363"/>
                                                                                                                    <a:pt x="510180" y="720642"/>
                                                                                                                    <a:pt x="513579" y="717243"/>
                                                                                                                  </a:cubicBezTo>
                                                                                                                  <a:cubicBezTo>
                                                                                                                    <a:pt x="514712" y="713844"/>
                                                                                                                    <a:pt x="514740" y="709843"/>
                                                                                                                    <a:pt x="516978" y="707045"/>
                                                                                                                  </a:cubicBezTo>
                                                                                                                  <a:cubicBezTo>
                                                                                                                    <a:pt x="526116" y="695622"/>
                                                                                                                    <a:pt x="547219" y="698020"/>
                                                                                                                    <a:pt x="557769" y="696848"/>
                                                                                                                  </a:cubicBezTo>
                                                                                                                  <a:cubicBezTo>
                                                                                                                    <a:pt x="560035" y="693449"/>
                                                                                                                    <a:pt x="565240" y="690680"/>
                                                                                                                    <a:pt x="564568" y="686650"/>
                                                                                                                  </a:cubicBezTo>
                                                                                                                  <a:cubicBezTo>
                                                                                                                    <a:pt x="563070" y="677663"/>
                                                                                                                    <a:pt x="550558" y="675181"/>
                                                                                                                    <a:pt x="544172" y="673053"/>
                                                                                                                  </a:cubicBezTo>
                                                                                                                  <a:cubicBezTo>
                                                                                                                    <a:pt x="532841" y="674186"/>
                                                                                                                    <a:pt x="521372" y="674353"/>
                                                                                                                    <a:pt x="510180" y="676452"/>
                                                                                                                  </a:cubicBezTo>
                                                                                                                  <a:cubicBezTo>
                                                                                                                    <a:pt x="503136" y="677773"/>
                                                                                                                    <a:pt x="489784" y="683251"/>
                                                                                                                    <a:pt x="489784" y="683251"/>
                                                                                                                  </a:cubicBezTo>
                                                                                                                  <a:cubicBezTo>
                                                                                                                    <a:pt x="476187" y="682118"/>
                                                                                                                    <a:pt x="462517" y="681654"/>
                                                                                                                    <a:pt x="448993" y="679851"/>
                                                                                                                  </a:cubicBezTo>
                                                                                                                  <a:cubicBezTo>
                                                                                                                    <a:pt x="445441" y="679377"/>
                                                                                                                    <a:pt x="441329" y="678986"/>
                                                                                                                    <a:pt x="438795" y="676452"/>
                                                                                                                  </a:cubicBezTo>
                                                                                                                  <a:cubicBezTo>
                                                                                                                    <a:pt x="435212" y="672869"/>
                                                                                                                    <a:pt x="434263" y="667387"/>
                                                                                                                    <a:pt x="431997" y="662855"/>
                                                                                                                  </a:cubicBezTo>
                                                                                                                  <a:cubicBezTo>
                                                                                                                    <a:pt x="428598" y="663988"/>
                                                                                                                    <a:pt x="424597" y="664016"/>
                                                                                                                    <a:pt x="421799" y="666254"/>
                                                                                                                  </a:cubicBezTo>
                                                                                                                  <a:cubicBezTo>
                                                                                                                    <a:pt x="414465" y="672122"/>
                                                                                                                    <a:pt x="413642" y="681886"/>
                                                                                                                    <a:pt x="411601" y="690049"/>
                                                                                                                  </a:cubicBezTo>
                                                                                                                  <a:cubicBezTo>
                                                                                                                    <a:pt x="402537" y="684006"/>
                                                                                                                    <a:pt x="398252" y="682113"/>
                                                                                                                    <a:pt x="391206" y="673053"/>
                                                                                                                  </a:cubicBezTo>
                                                                                                                  <a:cubicBezTo>
                                                                                                                    <a:pt x="372115" y="648507"/>
                                                                                                                    <a:pt x="386898" y="655753"/>
                                                                                                                    <a:pt x="367411" y="649258"/>
                                                                                                                  </a:cubicBezTo>
                                                                                                                  <a:cubicBezTo>
                                                                                                                    <a:pt x="359320" y="673530"/>
                                                                                                                    <a:pt x="364587" y="675617"/>
                                                                                                                    <a:pt x="353814" y="659456"/>
                                                                                                                  </a:cubicBezTo>
                                                                                                                  <a:cubicBezTo>
                                                                                                                    <a:pt x="354947" y="650391"/>
                                                                                                                    <a:pt x="353820" y="640744"/>
                                                                                                                    <a:pt x="357213" y="632262"/>
                                                                                                                  </a:cubicBezTo>
                                                                                                                  <a:cubicBezTo>
                                                                                                                    <a:pt x="358730" y="628469"/>
                                                                                                                    <a:pt x="364522" y="628352"/>
                                                                                                                    <a:pt x="367411" y="625463"/>
                                                                                                                  </a:cubicBezTo>
                                                                                                                  <a:cubicBezTo>
                                                                                                                    <a:pt x="382787" y="610087"/>
                                                                                                                    <a:pt x="364553" y="618485"/>
                                                                                                                    <a:pt x="384407" y="611866"/>
                                                                                                                  </a:cubicBezTo>
                                                                                                                  <a:cubicBezTo>
                                                                                                                    <a:pt x="387806" y="608467"/>
                                                                                                                    <a:pt x="391527" y="605362"/>
                                                                                                                    <a:pt x="394605" y="601669"/>
                                                                                                                  </a:cubicBezTo>
                                                                                                                  <a:cubicBezTo>
                                                                                                                    <a:pt x="397221" y="598530"/>
                                                                                                                    <a:pt x="398515" y="594360"/>
                                                                                                                    <a:pt x="401404" y="591471"/>
                                                                                                                  </a:cubicBezTo>
                                                                                                                  <a:cubicBezTo>
                                                                                                                    <a:pt x="404293" y="588582"/>
                                                                                                                    <a:pt x="408463" y="587287"/>
                                                                                                                    <a:pt x="411601" y="584672"/>
                                                                                                                  </a:cubicBezTo>
                                                                                                                  <a:cubicBezTo>
                                                                                                                    <a:pt x="427849" y="571131"/>
                                                                                                                    <a:pt x="416445" y="578860"/>
                                                                                                                    <a:pt x="428598" y="564277"/>
                                                                                                                  </a:cubicBezTo>
                                                                                                                  <a:cubicBezTo>
                                                                                                                    <a:pt x="450405" y="538109"/>
                                                                                                                    <a:pt x="428717" y="569196"/>
                                                                                                                    <a:pt x="445594" y="543881"/>
                                                                                                                  </a:cubicBezTo>
                                                                                                                  <a:cubicBezTo>
                                                                                                                    <a:pt x="446727" y="540482"/>
                                                                                                                    <a:pt x="448993" y="537266"/>
                                                                                                                    <a:pt x="448993" y="533683"/>
                                                                                                                  </a:cubicBezTo>
                                                                                                                  <a:cubicBezTo>
                                                                                                                    <a:pt x="448993" y="526791"/>
                                                                                                                    <a:pt x="446946" y="520046"/>
                                                                                                                    <a:pt x="445594" y="513288"/>
                                                                                                                  </a:cubicBezTo>
                                                                                                                  <a:cubicBezTo>
                                                                                                                    <a:pt x="443459" y="502613"/>
                                                                                                                    <a:pt x="442037" y="499216"/>
                                                                                                                    <a:pt x="438795" y="489493"/>
                                                                                                                  </a:cubicBezTo>
                                                                                                                  <a:cubicBezTo>
                                                                                                                    <a:pt x="441061" y="486094"/>
                                                                                                                    <a:pt x="442195" y="481561"/>
                                                                                                                    <a:pt x="445594" y="479295"/>
                                                                                                                  </a:cubicBezTo>
                                                                                                                  <a:cubicBezTo>
                                                                                                                    <a:pt x="471933" y="461736"/>
                                                                                                                    <a:pt x="448923" y="491299"/>
                                                                                                                    <a:pt x="465989" y="465698"/>
                                                                                                                  </a:cubicBezTo>
                                                                                                                  <a:cubicBezTo>
                                                                                                                    <a:pt x="464856" y="458900"/>
                                                                                                                    <a:pt x="467463" y="450176"/>
                                                                                                                    <a:pt x="462590" y="445303"/>
                                                                                                                  </a:cubicBezTo>
                                                                                                                  <a:cubicBezTo>
                                                                                                                    <a:pt x="459287" y="442000"/>
                                                                                                                    <a:pt x="453287" y="446862"/>
                                                                                                                    <a:pt x="448993" y="448702"/>
                                                                                                                  </a:cubicBezTo>
                                                                                                                  <a:cubicBezTo>
                                                                                                                    <a:pt x="445238" y="450311"/>
                                                                                                                    <a:pt x="442449" y="453673"/>
                                                                                                                    <a:pt x="438795" y="455500"/>
                                                                                                                  </a:cubicBezTo>
                                                                                                                  <a:cubicBezTo>
                                                                                                                    <a:pt x="435590" y="457102"/>
                                                                                                                    <a:pt x="431997" y="457767"/>
                                                                                                                    <a:pt x="428598" y="458900"/>
                                                                                                                  </a:cubicBezTo>
                                                                                                                  <a:cubicBezTo>
                                                                                                                    <a:pt x="422611" y="456904"/>
                                                                                                                    <a:pt x="406263" y="455219"/>
                                                                                                                    <a:pt x="421799" y="441903"/>
                                                                                                                  </a:cubicBezTo>
                                                                                                                  <a:cubicBezTo>
                                                                                                                    <a:pt x="427240" y="437239"/>
                                                                                                                    <a:pt x="442195" y="435105"/>
                                                                                                                    <a:pt x="442195" y="435105"/>
                                                                                                                  </a:cubicBezTo>
                                                                                                                  <a:cubicBezTo>
                                                                                                                    <a:pt x="444636" y="427783"/>
                                                                                                                    <a:pt x="451085" y="419765"/>
                                                                                                                    <a:pt x="435396" y="421508"/>
                                                                                                                  </a:cubicBezTo>
                                                                                                                  <a:cubicBezTo>
                                                                                                                    <a:pt x="428274" y="422299"/>
                                                                                                                    <a:pt x="415001" y="428306"/>
                                                                                                                    <a:pt x="415001" y="428306"/>
                                                                                                                  </a:cubicBezTo>
                                                                                                                  <a:cubicBezTo>
                                                                                                                    <a:pt x="413868" y="431705"/>
                                                                                                                    <a:pt x="414135" y="435970"/>
                                                                                                                    <a:pt x="411601" y="438504"/>
                                                                                                                  </a:cubicBezTo>
                                                                                                                  <a:cubicBezTo>
                                                                                                                    <a:pt x="409068" y="441037"/>
                                                                                                                    <a:pt x="404609" y="440301"/>
                                                                                                                    <a:pt x="401404" y="441903"/>
                                                                                                                  </a:cubicBezTo>
                                                                                                                  <a:cubicBezTo>
                                                                                                                    <a:pt x="397750" y="443730"/>
                                                                                                                    <a:pt x="394605" y="446436"/>
                                                                                                                    <a:pt x="391206" y="448702"/>
                                                                                                                  </a:cubicBezTo>
                                                                                                                  <a:lnTo>
                                                                                                                    <a:pt x="384407" y="469098"/>
                                                                                                                  </a:lnTo>
                                                                                                                  <a:cubicBezTo>
                                                                                                                    <a:pt x="381642" y="477393"/>
                                                                                                                    <a:pt x="380800" y="482902"/>
                                                                                                                    <a:pt x="374209" y="489493"/>
                                                                                                                  </a:cubicBezTo>
                                                                                                                  <a:cubicBezTo>
                                                                                                                    <a:pt x="371320" y="492382"/>
                                                                                                                    <a:pt x="367411" y="494026"/>
                                                                                                                    <a:pt x="364012" y="496292"/>
                                                                                                                  </a:cubicBezTo>
                                                                                                                  <a:cubicBezTo>
                                                                                                                    <a:pt x="357831" y="521011"/>
                                                                                                                    <a:pt x="366065" y="501037"/>
                                                                                                                    <a:pt x="350415" y="516687"/>
                                                                                                                  </a:cubicBezTo>
                                                                                                                  <a:cubicBezTo>
                                                                                                                    <a:pt x="335040" y="532062"/>
                                                                                                                    <a:pt x="353270" y="523667"/>
                                                                                                                    <a:pt x="333418" y="530284"/>
                                                                                                                  </a:cubicBezTo>
                                                                                                                  <a:cubicBezTo>
                                                                                                                    <a:pt x="330019" y="529151"/>
                                                                                                                    <a:pt x="325754" y="529418"/>
                                                                                                                    <a:pt x="323221" y="526885"/>
                                                                                                                  </a:cubicBezTo>
                                                                                                                  <a:cubicBezTo>
                                                                                                                    <a:pt x="316989" y="520653"/>
                                                                                                                    <a:pt x="319819" y="498559"/>
                                                                                                                    <a:pt x="326620" y="496292"/>
                                                                                                                  </a:cubicBezTo>
                                                                                                                  <a:lnTo>
                                                                                                                    <a:pt x="336818" y="492892"/>
                                                                                                                  </a:lnTo>
                                                                                                                  <a:cubicBezTo>
                                                                                                                    <a:pt x="340217" y="489493"/>
                                                                                                                    <a:pt x="343015" y="485361"/>
                                                                                                                    <a:pt x="347015" y="482695"/>
                                                                                                                  </a:cubicBezTo>
                                                                                                                  <a:cubicBezTo>
                                                                                                                    <a:pt x="349996" y="480707"/>
                                                                                                                    <a:pt x="354008" y="480897"/>
                                                                                                                    <a:pt x="357213" y="479295"/>
                                                                                                                  </a:cubicBezTo>
                                                                                                                  <a:cubicBezTo>
                                                                                                                    <a:pt x="360867" y="477468"/>
                                                                                                                    <a:pt x="364012" y="474763"/>
                                                                                                                    <a:pt x="367411" y="472497"/>
                                                                                                                  </a:cubicBezTo>
                                                                                                                  <a:cubicBezTo>
                                                                                                                    <a:pt x="387686" y="442082"/>
                                                                                                                    <a:pt x="357250" y="490761"/>
                                                                                                                    <a:pt x="377609" y="441903"/>
                                                                                                                  </a:cubicBezTo>
                                                                                                                  <a:cubicBezTo>
                                                                                                                    <a:pt x="380752" y="434361"/>
                                                                                                                    <a:pt x="386674" y="428306"/>
                                                                                                                    <a:pt x="391206" y="421508"/>
                                                                                                                  </a:cubicBezTo>
                                                                                                                  <a:lnTo>
                                                                                                                    <a:pt x="404803" y="401112"/>
                                                                                                                  </a:lnTo>
                                                                                                                  <a:cubicBezTo>
                                                                                                                    <a:pt x="404804" y="401110"/>
                                                                                                                    <a:pt x="418399" y="380718"/>
                                                                                                                    <a:pt x="418400" y="380717"/>
                                                                                                                  </a:cubicBezTo>
                                                                                                                  <a:cubicBezTo>
                                                                                                                    <a:pt x="421799" y="378451"/>
                                                                                                                    <a:pt x="424693" y="375120"/>
                                                                                                                    <a:pt x="428598" y="373918"/>
                                                                                                                  </a:cubicBezTo>
                                                                                                                  <a:cubicBezTo>
                                                                                                                    <a:pt x="439642" y="370520"/>
                                                                                                                    <a:pt x="462590" y="367120"/>
                                                                                                                    <a:pt x="462590" y="367120"/>
                                                                                                                  </a:cubicBezTo>
                                                                                                                  <a:cubicBezTo>
                                                                                                                    <a:pt x="460324" y="363721"/>
                                                                                                                    <a:pt x="458982" y="359474"/>
                                                                                                                    <a:pt x="455792" y="356922"/>
                                                                                                                  </a:cubicBezTo>
                                                                                                                  <a:cubicBezTo>
                                                                                                                    <a:pt x="452994" y="354684"/>
                                                                                                                    <a:pt x="446463" y="356999"/>
                                                                                                                    <a:pt x="445594" y="353523"/>
                                                                                                                  </a:cubicBezTo>
                                                                                                                  <a:cubicBezTo>
                                                                                                                    <a:pt x="444647" y="349736"/>
                                                                                                                    <a:pt x="461755" y="333962"/>
                                                                                                                    <a:pt x="462590" y="333127"/>
                                                                                                                  </a:cubicBezTo>
                                                                                                                  <a:cubicBezTo>
                                                                                                                    <a:pt x="457088" y="311117"/>
                                                                                                                    <a:pt x="463459" y="320084"/>
                                                                                                                    <a:pt x="448993" y="329728"/>
                                                                                                                  </a:cubicBezTo>
                                                                                                                  <a:cubicBezTo>
                                                                                                                    <a:pt x="446012" y="331716"/>
                                                                                                                    <a:pt x="442194" y="331994"/>
                                                                                                                    <a:pt x="438795" y="333127"/>
                                                                                                                  </a:cubicBezTo>
                                                                                                                  <a:cubicBezTo>
                                                                                                                    <a:pt x="438587" y="333092"/>
                                                                                                                    <a:pt x="412606" y="329852"/>
                                                                                                                    <a:pt x="408202" y="326329"/>
                                                                                                                  </a:cubicBezTo>
                                                                                                                  <a:cubicBezTo>
                                                                                                                    <a:pt x="405012" y="323777"/>
                                                                                                                    <a:pt x="404019" y="319270"/>
                                                                                                                    <a:pt x="401404" y="316131"/>
                                                                                                                  </a:cubicBezTo>
                                                                                                                  <a:cubicBezTo>
                                                                                                                    <a:pt x="391611" y="304379"/>
                                                                                                                    <a:pt x="393577" y="306723"/>
                                                                                                                    <a:pt x="381008" y="302534"/>
                                                                                                                  </a:cubicBezTo>
                                                                                                                  <a:cubicBezTo>
                                                                                                                    <a:pt x="378742" y="299135"/>
                                                                                                                    <a:pt x="373218" y="296300"/>
                                                                                                                    <a:pt x="374209" y="292336"/>
                                                                                                                  </a:cubicBezTo>
                                                                                                                  <a:cubicBezTo>
                                                                                                                    <a:pt x="375078" y="288860"/>
                                                                                                                    <a:pt x="380824" y="288937"/>
                                                                                                                    <a:pt x="384407" y="288937"/>
                                                                                                                  </a:cubicBezTo>
                                                                                                                  <a:cubicBezTo>
                                                                                                                    <a:pt x="390185" y="288937"/>
                                                                                                                    <a:pt x="395738" y="291203"/>
                                                                                                                    <a:pt x="401404" y="292336"/>
                                                                                                                  </a:cubicBezTo>
                                                                                                                  <a:cubicBezTo>
                                                                                                                    <a:pt x="410619" y="290493"/>
                                                                                                                    <a:pt x="421928" y="290475"/>
                                                                                                                    <a:pt x="428598" y="282138"/>
                                                                                                                  </a:cubicBezTo>
                                                                                                                  <a:cubicBezTo>
                                                                                                                    <a:pt x="430836" y="279340"/>
                                                                                                                    <a:pt x="431128" y="275417"/>
                                                                                                                    <a:pt x="431997" y="271941"/>
                                                                                                                  </a:cubicBezTo>
                                                                                                                  <a:cubicBezTo>
                                                                                                                    <a:pt x="433398" y="266336"/>
                                                                                                                    <a:pt x="433995" y="260549"/>
                                                                                                                    <a:pt x="435396" y="254944"/>
                                                                                                                  </a:cubicBezTo>
                                                                                                                  <a:cubicBezTo>
                                                                                                                    <a:pt x="436265" y="251468"/>
                                                                                                                    <a:pt x="437811" y="248192"/>
                                                                                                                    <a:pt x="438795" y="244747"/>
                                                                                                                  </a:cubicBezTo>
                                                                                                                  <a:cubicBezTo>
                                                                                                                    <a:pt x="440079" y="240255"/>
                                                                                                                    <a:pt x="439277" y="234798"/>
                                                                                                                    <a:pt x="442195" y="231150"/>
                                                                                                                  </a:cubicBezTo>
                                                                                                                  <a:cubicBezTo>
                                                                                                                    <a:pt x="444433" y="228352"/>
                                                                                                                    <a:pt x="448993" y="228883"/>
                                                                                                                    <a:pt x="452392" y="227750"/>
                                                                                                                  </a:cubicBezTo>
                                                                                                                  <a:cubicBezTo>
                                                                                                                    <a:pt x="453525" y="220952"/>
                                                                                                                    <a:pt x="451786" y="212963"/>
                                                                                                                    <a:pt x="455792" y="207355"/>
                                                                                                                  </a:cubicBezTo>
                                                                                                                  <a:cubicBezTo>
                                                                                                                    <a:pt x="468403" y="189701"/>
                                                                                                                    <a:pt x="474290" y="218655"/>
                                                                                                                    <a:pt x="465989" y="193758"/>
                                                                                                                  </a:cubicBezTo>
                                                                                                                  <a:cubicBezTo>
                                                                                                                    <a:pt x="475177" y="166201"/>
                                                                                                                    <a:pt x="467245" y="200921"/>
                                                                                                                    <a:pt x="459191" y="176761"/>
                                                                                                                  </a:cubicBezTo>
                                                                                                                  <a:cubicBezTo>
                                                                                                                    <a:pt x="457714" y="172329"/>
                                                                                                                    <a:pt x="461457" y="167696"/>
                                                                                                                    <a:pt x="462590" y="163164"/>
                                                                                                                  </a:cubicBezTo>
                                                                                                                  <a:cubicBezTo>
                                                                                                                    <a:pt x="468255" y="164297"/>
                                                                                                                    <a:pt x="474105" y="168391"/>
                                                                                                                    <a:pt x="479586" y="166564"/>
                                                                                                                  </a:cubicBezTo>
                                                                                                                  <a:cubicBezTo>
                                                                                                                    <a:pt x="491102" y="162726"/>
                                                                                                                    <a:pt x="477193" y="147677"/>
                                                                                                                    <a:pt x="476187" y="146168"/>
                                                                                                                  </a:cubicBezTo>
                                                                                                                  <a:cubicBezTo>
                                                                                                                    <a:pt x="477320" y="142769"/>
                                                                                                                    <a:pt x="477846" y="139102"/>
                                                                                                                    <a:pt x="479586" y="135970"/>
                                                                                                                  </a:cubicBezTo>
                                                                                                                  <a:cubicBezTo>
                                                                                                                    <a:pt x="483554" y="128828"/>
                                                                                                                    <a:pt x="493183" y="115575"/>
                                                                                                                    <a:pt x="493183" y="115575"/>
                                                                                                                  </a:cubicBezTo>
                                                                                                                  <a:cubicBezTo>
                                                                                                                    <a:pt x="492814" y="113729"/>
                                                                                                                    <a:pt x="482268" y="88237"/>
                                                                                                                    <a:pt x="499982" y="91780"/>
                                                                                                                  </a:cubicBezTo>
                                                                                                                  <a:cubicBezTo>
                                                                                                                    <a:pt x="503988" y="92581"/>
                                                                                                                    <a:pt x="503891" y="99089"/>
                                                                                                                    <a:pt x="506780" y="101978"/>
                                                                                                                  </a:cubicBezTo>
                                                                                                                  <a:cubicBezTo>
                                                                                                                    <a:pt x="509669" y="104867"/>
                                                                                                                    <a:pt x="513245" y="107117"/>
                                                                                                                    <a:pt x="516978" y="108776"/>
                                                                                                                  </a:cubicBezTo>
                                                                                                                  <a:cubicBezTo>
                                                                                                                    <a:pt x="523527" y="111687"/>
                                                                                                                    <a:pt x="537374" y="115575"/>
                                                                                                                    <a:pt x="537374" y="115575"/>
                                                                                                                  </a:cubicBezTo>
                                                                                                                  <a:cubicBezTo>
                                                                                                                    <a:pt x="540773" y="114442"/>
                                                                                                                    <a:pt x="546241" y="115503"/>
                                                                                                                    <a:pt x="547572" y="112176"/>
                                                                                                                  </a:cubicBezTo>
                                                                                                                  <a:cubicBezTo>
                                                                                                                    <a:pt x="548347" y="110238"/>
                                                                                                                    <a:pt x="541780" y="91403"/>
                                                                                                                    <a:pt x="540773" y="88381"/>
                                                                                                                  </a:cubicBezTo>
                                                                                                                  <a:cubicBezTo>
                                                                                                                    <a:pt x="541906" y="84982"/>
                                                                                                                    <a:pt x="543395" y="81681"/>
                                                                                                                    <a:pt x="544172" y="78183"/>
                                                                                                                  </a:cubicBezTo>
                                                                                                                  <a:cubicBezTo>
                                                                                                                    <a:pt x="545667" y="71455"/>
                                                                                                                    <a:pt x="543266" y="63169"/>
                                                                                                                    <a:pt x="547572" y="57787"/>
                                                                                                                  </a:cubicBezTo>
                                                                                                                  <a:cubicBezTo>
                                                                                                                    <a:pt x="549810" y="54989"/>
                                                                                                                    <a:pt x="554324" y="60203"/>
                                                                                                                    <a:pt x="557769" y="61187"/>
                                                                                                                  </a:cubicBezTo>
                                                                                                                  <a:cubicBezTo>
                                                                                                                    <a:pt x="562261" y="62471"/>
                                                                                                                    <a:pt x="566834" y="63453"/>
                                                                                                                    <a:pt x="571366" y="64586"/>
                                                                                                                  </a:cubicBezTo>
                                                                                                                  <a:cubicBezTo>
                                                                                                                    <a:pt x="573632" y="61187"/>
                                                                                                                    <a:pt x="576338" y="58042"/>
                                                                                                                    <a:pt x="578165" y="54388"/>
                                                                                                                  </a:cubicBezTo>
                                                                                                                  <a:cubicBezTo>
                                                                                                                    <a:pt x="579767" y="51183"/>
                                                                                                                    <a:pt x="579030" y="46724"/>
                                                                                                                    <a:pt x="581564" y="44190"/>
                                                                                                                  </a:cubicBezTo>
                                                                                                                  <a:cubicBezTo>
                                                                                                                    <a:pt x="584098" y="41656"/>
                                                                                                                    <a:pt x="588363" y="41924"/>
                                                                                                                    <a:pt x="591762" y="40791"/>
                                                                                                                  </a:cubicBezTo>
                                                                                                                  <a:cubicBezTo>
                                                                                                                    <a:pt x="596295" y="33992"/>
                                                                                                                    <a:pt x="604226" y="16430"/>
                                                                                                                    <a:pt x="615557" y="13597"/>
                                                                                                                  </a:cubicBezTo>
                                                                                                                  <a:cubicBezTo>
                                                                                                                    <a:pt x="617111" y="13208"/>
                                                                                                                    <a:pt x="615557" y="2266"/>
                                                                                                                    <a:pt x="615557"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7" name="Freeform 326"/>
                                                                                                            <p:cNvSpPr/>
                                                                                                            <p:nvPr/>
                                                                                                          </p:nvSpPr>
                                                                                                          <p:spPr>
                                                                                                            <a:xfrm>
                                                                                                              <a:off x="2059949" y="2120647"/>
                                                                                                              <a:ext cx="122374" cy="106714"/>
                                                                                                            </a:xfrm>
                                                                                                            <a:custGeom>
                                                                                                              <a:avLst/>
                                                                                                              <a:gdLst>
                                                                                                                <a:gd name="connsiteX0" fmla="*/ 0 w 122374"/>
                                                                                                                <a:gd name="connsiteY0" fmla="*/ 95668 h 106714"/>
                                                                                                                <a:gd name="connsiteX1" fmla="*/ 0 w 122374"/>
                                                                                                                <a:gd name="connsiteY1" fmla="*/ 95668 h 106714"/>
                                                                                                                <a:gd name="connsiteX2" fmla="*/ 47590 w 122374"/>
                                                                                                                <a:gd name="connsiteY2" fmla="*/ 92269 h 106714"/>
                                                                                                                <a:gd name="connsiteX3" fmla="*/ 67986 w 122374"/>
                                                                                                                <a:gd name="connsiteY3" fmla="*/ 85470 h 106714"/>
                                                                                                                <a:gd name="connsiteX4" fmla="*/ 78183 w 122374"/>
                                                                                                                <a:gd name="connsiteY4" fmla="*/ 82071 h 106714"/>
                                                                                                                <a:gd name="connsiteX5" fmla="*/ 81583 w 122374"/>
                                                                                                                <a:gd name="connsiteY5" fmla="*/ 54877 h 106714"/>
                                                                                                                <a:gd name="connsiteX6" fmla="*/ 91780 w 122374"/>
                                                                                                                <a:gd name="connsiteY6" fmla="*/ 51478 h 106714"/>
                                                                                                                <a:gd name="connsiteX7" fmla="*/ 105377 w 122374"/>
                                                                                                                <a:gd name="connsiteY7" fmla="*/ 48079 h 106714"/>
                                                                                                                <a:gd name="connsiteX8" fmla="*/ 108777 w 122374"/>
                                                                                                                <a:gd name="connsiteY8" fmla="*/ 37881 h 106714"/>
                                                                                                                <a:gd name="connsiteX9" fmla="*/ 112176 w 122374"/>
                                                                                                                <a:gd name="connsiteY9" fmla="*/ 17485 h 106714"/>
                                                                                                                <a:gd name="connsiteX10" fmla="*/ 122374 w 122374"/>
                                                                                                                <a:gd name="connsiteY10" fmla="*/ 10687 h 106714"/>
                                                                                                                <a:gd name="connsiteX11" fmla="*/ 118974 w 122374"/>
                                                                                                                <a:gd name="connsiteY11" fmla="*/ 489 h 106714"/>
                                                                                                                <a:gd name="connsiteX12" fmla="*/ 105377 w 122374"/>
                                                                                                                <a:gd name="connsiteY12" fmla="*/ 3888 h 106714"/>
                                                                                                                <a:gd name="connsiteX13" fmla="*/ 84982 w 122374"/>
                                                                                                                <a:gd name="connsiteY13" fmla="*/ 20885 h 106714"/>
                                                                                                                <a:gd name="connsiteX14" fmla="*/ 74784 w 122374"/>
                                                                                                                <a:gd name="connsiteY14" fmla="*/ 27683 h 106714"/>
                                                                                                                <a:gd name="connsiteX15" fmla="*/ 67986 w 122374"/>
                                                                                                                <a:gd name="connsiteY15" fmla="*/ 37881 h 106714"/>
                                                                                                                <a:gd name="connsiteX16" fmla="*/ 50989 w 122374"/>
                                                                                                                <a:gd name="connsiteY16" fmla="*/ 31082 h 106714"/>
                                                                                                                <a:gd name="connsiteX17" fmla="*/ 40792 w 122374"/>
                                                                                                                <a:gd name="connsiteY17" fmla="*/ 24284 h 106714"/>
                                                                                                                <a:gd name="connsiteX18" fmla="*/ 23795 w 122374"/>
                                                                                                                <a:gd name="connsiteY18" fmla="*/ 44679 h 106714"/>
                                                                                                                <a:gd name="connsiteX19" fmla="*/ 0 w 122374"/>
                                                                                                                <a:gd name="connsiteY19" fmla="*/ 95668 h 10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374" h="106714">
                                                                                                                  <a:moveTo>
                                                                                                                    <a:pt x="0" y="95668"/>
                                                                                                                  </a:moveTo>
                                                                                                                  <a:lnTo>
                                                                                                                    <a:pt x="0" y="95668"/>
                                                                                                                  </a:lnTo>
                                                                                                                  <a:cubicBezTo>
                                                                                                                    <a:pt x="50706" y="114683"/>
                                                                                                                    <a:pt x="5752" y="106216"/>
                                                                                                                    <a:pt x="47590" y="92269"/>
                                                                                                                  </a:cubicBezTo>
                                                                                                                  <a:lnTo>
                                                                                                                    <a:pt x="67986" y="85470"/>
                                                                                                                  </a:lnTo>
                                                                                                                  <a:lnTo>
                                                                                                                    <a:pt x="78183" y="82071"/>
                                                                                                                  </a:lnTo>
                                                                                                                  <a:cubicBezTo>
                                                                                                                    <a:pt x="79316" y="73006"/>
                                                                                                                    <a:pt x="77873" y="63225"/>
                                                                                                                    <a:pt x="81583" y="54877"/>
                                                                                                                  </a:cubicBezTo>
                                                                                                                  <a:cubicBezTo>
                                                                                                                    <a:pt x="83038" y="51603"/>
                                                                                                                    <a:pt x="88335" y="52462"/>
                                                                                                                    <a:pt x="91780" y="51478"/>
                                                                                                                  </a:cubicBezTo>
                                                                                                                  <a:cubicBezTo>
                                                                                                                    <a:pt x="96272" y="50195"/>
                                                                                                                    <a:pt x="100845" y="49212"/>
                                                                                                                    <a:pt x="105377" y="48079"/>
                                                                                                                  </a:cubicBezTo>
                                                                                                                  <a:cubicBezTo>
                                                                                                                    <a:pt x="106510" y="44680"/>
                                                                                                                    <a:pt x="108000" y="41379"/>
                                                                                                                    <a:pt x="108777" y="37881"/>
                                                                                                                  </a:cubicBezTo>
                                                                                                                  <a:cubicBezTo>
                                                                                                                    <a:pt x="110272" y="31153"/>
                                                                                                                    <a:pt x="109094" y="23650"/>
                                                                                                                    <a:pt x="112176" y="17485"/>
                                                                                                                  </a:cubicBezTo>
                                                                                                                  <a:cubicBezTo>
                                                                                                                    <a:pt x="114003" y="13831"/>
                                                                                                                    <a:pt x="118975" y="12953"/>
                                                                                                                    <a:pt x="122374" y="10687"/>
                                                                                                                  </a:cubicBezTo>
                                                                                                                  <a:cubicBezTo>
                                                                                                                    <a:pt x="121241" y="7288"/>
                                                                                                                    <a:pt x="122301" y="1820"/>
                                                                                                                    <a:pt x="118974" y="489"/>
                                                                                                                  </a:cubicBezTo>
                                                                                                                  <a:cubicBezTo>
                                                                                                                    <a:pt x="114636" y="-1246"/>
                                                                                                                    <a:pt x="109671" y="2048"/>
                                                                                                                    <a:pt x="105377" y="3888"/>
                                                                                                                  </a:cubicBezTo>
                                                                                                                  <a:cubicBezTo>
                                                                                                                    <a:pt x="94954" y="8355"/>
                                                                                                                    <a:pt x="93628" y="13681"/>
                                                                                                                    <a:pt x="84982" y="20885"/>
                                                                                                                  </a:cubicBezTo>
                                                                                                                  <a:cubicBezTo>
                                                                                                                    <a:pt x="81843" y="23500"/>
                                                                                                                    <a:pt x="78183" y="25417"/>
                                                                                                                    <a:pt x="74784" y="27683"/>
                                                                                                                  </a:cubicBezTo>
                                                                                                                  <a:cubicBezTo>
                                                                                                                    <a:pt x="72518" y="31082"/>
                                                                                                                    <a:pt x="71176" y="35329"/>
                                                                                                                    <a:pt x="67986" y="37881"/>
                                                                                                                  </a:cubicBezTo>
                                                                                                                  <a:cubicBezTo>
                                                                                                                    <a:pt x="55421" y="47933"/>
                                                                                                                    <a:pt x="58055" y="38148"/>
                                                                                                                    <a:pt x="50989" y="31082"/>
                                                                                                                  </a:cubicBezTo>
                                                                                                                  <a:cubicBezTo>
                                                                                                                    <a:pt x="48100" y="28193"/>
                                                                                                                    <a:pt x="44191" y="26550"/>
                                                                                                                    <a:pt x="40792" y="24284"/>
                                                                                                                  </a:cubicBezTo>
                                                                                                                  <a:cubicBezTo>
                                                                                                                    <a:pt x="36757" y="28319"/>
                                                                                                                    <a:pt x="25569" y="38174"/>
                                                                                                                    <a:pt x="23795" y="44679"/>
                                                                                                                  </a:cubicBezTo>
                                                                                                                  <a:cubicBezTo>
                                                                                                                    <a:pt x="19834" y="59202"/>
                                                                                                                    <a:pt x="3966" y="87170"/>
                                                                                                                    <a:pt x="0" y="95668"/>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5" name="Freeform 324"/>
                                                                                                          <p:cNvSpPr/>
                                                                                                          <p:nvPr/>
                                                                                                        </p:nvSpPr>
                                                                                                        <p:spPr>
                                                                                                          <a:xfrm>
                                                                                                            <a:off x="2056480" y="2257106"/>
                                                                                                            <a:ext cx="64656" cy="129330"/>
                                                                                                          </a:xfrm>
                                                                                                          <a:custGeom>
                                                                                                            <a:avLst/>
                                                                                                            <a:gdLst>
                                                                                                              <a:gd name="connsiteX0" fmla="*/ 54458 w 64656"/>
                                                                                                              <a:gd name="connsiteY0" fmla="*/ 0 h 129330"/>
                                                                                                              <a:gd name="connsiteX1" fmla="*/ 54458 w 64656"/>
                                                                                                              <a:gd name="connsiteY1" fmla="*/ 0 h 129330"/>
                                                                                                              <a:gd name="connsiteX2" fmla="*/ 34063 w 64656"/>
                                                                                                              <a:gd name="connsiteY2" fmla="*/ 23795 h 129330"/>
                                                                                                              <a:gd name="connsiteX3" fmla="*/ 23865 w 64656"/>
                                                                                                              <a:gd name="connsiteY3" fmla="*/ 20396 h 129330"/>
                                                                                                              <a:gd name="connsiteX4" fmla="*/ 10268 w 64656"/>
                                                                                                              <a:gd name="connsiteY4" fmla="*/ 23795 h 129330"/>
                                                                                                              <a:gd name="connsiteX5" fmla="*/ 70 w 64656"/>
                                                                                                              <a:gd name="connsiteY5" fmla="*/ 44191 h 129330"/>
                                                                                                              <a:gd name="connsiteX6" fmla="*/ 6869 w 64656"/>
                                                                                                              <a:gd name="connsiteY6" fmla="*/ 54388 h 129330"/>
                                                                                                              <a:gd name="connsiteX7" fmla="*/ 17066 w 64656"/>
                                                                                                              <a:gd name="connsiteY7" fmla="*/ 61187 h 129330"/>
                                                                                                              <a:gd name="connsiteX8" fmla="*/ 20466 w 64656"/>
                                                                                                              <a:gd name="connsiteY8" fmla="*/ 91780 h 129330"/>
                                                                                                              <a:gd name="connsiteX9" fmla="*/ 30663 w 64656"/>
                                                                                                              <a:gd name="connsiteY9" fmla="*/ 98579 h 129330"/>
                                                                                                              <a:gd name="connsiteX10" fmla="*/ 40861 w 64656"/>
                                                                                                              <a:gd name="connsiteY10" fmla="*/ 108777 h 129330"/>
                                                                                                              <a:gd name="connsiteX11" fmla="*/ 64656 w 64656"/>
                                                                                                              <a:gd name="connsiteY11" fmla="*/ 125773 h 129330"/>
                                                                                                              <a:gd name="connsiteX12" fmla="*/ 57858 w 64656"/>
                                                                                                              <a:gd name="connsiteY12" fmla="*/ 91780 h 129330"/>
                                                                                                              <a:gd name="connsiteX13" fmla="*/ 51059 w 64656"/>
                                                                                                              <a:gd name="connsiteY13" fmla="*/ 81582 h 129330"/>
                                                                                                              <a:gd name="connsiteX14" fmla="*/ 54458 w 64656"/>
                                                                                                              <a:gd name="connsiteY14" fmla="*/ 50989 h 129330"/>
                                                                                                              <a:gd name="connsiteX15" fmla="*/ 61257 w 64656"/>
                                                                                                              <a:gd name="connsiteY15" fmla="*/ 30594 h 129330"/>
                                                                                                              <a:gd name="connsiteX16" fmla="*/ 57858 w 64656"/>
                                                                                                              <a:gd name="connsiteY16" fmla="*/ 16997 h 129330"/>
                                                                                                              <a:gd name="connsiteX17" fmla="*/ 54458 w 64656"/>
                                                                                                              <a:gd name="connsiteY17" fmla="*/ 0 h 12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656" h="129330">
                                                                                                                <a:moveTo>
                                                                                                                  <a:pt x="54458" y="0"/>
                                                                                                                </a:moveTo>
                                                                                                                <a:lnTo>
                                                                                                                  <a:pt x="54458" y="0"/>
                                                                                                                </a:lnTo>
                                                                                                                <a:cubicBezTo>
                                                                                                                  <a:pt x="47660" y="7932"/>
                                                                                                                  <a:pt x="42755" y="18000"/>
                                                                                                                  <a:pt x="34063" y="23795"/>
                                                                                                                </a:cubicBezTo>
                                                                                                                <a:cubicBezTo>
                                                                                                                  <a:pt x="31082" y="25783"/>
                                                                                                                  <a:pt x="27448" y="20396"/>
                                                                                                                  <a:pt x="23865" y="20396"/>
                                                                                                                </a:cubicBezTo>
                                                                                                                <a:cubicBezTo>
                                                                                                                  <a:pt x="19193" y="20396"/>
                                                                                                                  <a:pt x="14800" y="22662"/>
                                                                                                                  <a:pt x="10268" y="23795"/>
                                                                                                                </a:cubicBezTo>
                                                                                                                <a:cubicBezTo>
                                                                                                                  <a:pt x="7900" y="27347"/>
                                                                                                                  <a:pt x="-869" y="38561"/>
                                                                                                                  <a:pt x="70" y="44191"/>
                                                                                                                </a:cubicBezTo>
                                                                                                                <a:cubicBezTo>
                                                                                                                  <a:pt x="742" y="48221"/>
                                                                                                                  <a:pt x="3980" y="51499"/>
                                                                                                                  <a:pt x="6869" y="54388"/>
                                                                                                                </a:cubicBezTo>
                                                                                                                <a:cubicBezTo>
                                                                                                                  <a:pt x="9758" y="57277"/>
                                                                                                                  <a:pt x="13667" y="58921"/>
                                                                                                                  <a:pt x="17066" y="61187"/>
                                                                                                                </a:cubicBezTo>
                                                                                                                <a:cubicBezTo>
                                                                                                                  <a:pt x="18199" y="71385"/>
                                                                                                                  <a:pt x="16960" y="82137"/>
                                                                                                                  <a:pt x="20466" y="91780"/>
                                                                                                                </a:cubicBezTo>
                                                                                                                <a:cubicBezTo>
                                                                                                                  <a:pt x="21862" y="95619"/>
                                                                                                                  <a:pt x="27525" y="95964"/>
                                                                                                                  <a:pt x="30663" y="98579"/>
                                                                                                                </a:cubicBezTo>
                                                                                                                <a:cubicBezTo>
                                                                                                                  <a:pt x="34356" y="101657"/>
                                                                                                                  <a:pt x="37462" y="105378"/>
                                                                                                                  <a:pt x="40861" y="108777"/>
                                                                                                                </a:cubicBezTo>
                                                                                                                <a:cubicBezTo>
                                                                                                                  <a:pt x="49487" y="134653"/>
                                                                                                                  <a:pt x="40633" y="130577"/>
                                                                                                                  <a:pt x="64656" y="125773"/>
                                                                                                                </a:cubicBezTo>
                                                                                                                <a:cubicBezTo>
                                                                                                                  <a:pt x="63404" y="117007"/>
                                                                                                                  <a:pt x="62604" y="101272"/>
                                                                                                                  <a:pt x="57858" y="91780"/>
                                                                                                                </a:cubicBezTo>
                                                                                                                <a:cubicBezTo>
                                                                                                                  <a:pt x="56031" y="88126"/>
                                                                                                                  <a:pt x="53325" y="84981"/>
                                                                                                                  <a:pt x="51059" y="81582"/>
                                                                                                                </a:cubicBezTo>
                                                                                                                <a:cubicBezTo>
                                                                                                                  <a:pt x="52192" y="71384"/>
                                                                                                                  <a:pt x="52446" y="61050"/>
                                                                                                                  <a:pt x="54458" y="50989"/>
                                                                                                                </a:cubicBezTo>
                                                                                                                <a:cubicBezTo>
                                                                                                                  <a:pt x="55863" y="43962"/>
                                                                                                                  <a:pt x="61257" y="30594"/>
                                                                                                                  <a:pt x="61257" y="30594"/>
                                                                                                                </a:cubicBezTo>
                                                                                                                <a:cubicBezTo>
                                                                                                                  <a:pt x="60124" y="26062"/>
                                                                                                                  <a:pt x="60449" y="20884"/>
                                                                                                                  <a:pt x="57858" y="16997"/>
                                                                                                                </a:cubicBezTo>
                                                                                                                <a:cubicBezTo>
                                                                                                                  <a:pt x="55592" y="13598"/>
                                                                                                                  <a:pt x="55025" y="2833"/>
                                                                                                                  <a:pt x="5445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3" name="Freeform 322"/>
                                                                                                        <p:cNvSpPr/>
                                                                                                        <p:nvPr/>
                                                                                                      </p:nvSpPr>
                                                                                                      <p:spPr>
                                                                                                        <a:xfrm>
                                                                                                          <a:off x="2695178" y="1906983"/>
                                                                                                          <a:ext cx="54821" cy="116303"/>
                                                                                                        </a:xfrm>
                                                                                                        <a:custGeom>
                                                                                                          <a:avLst/>
                                                                                                          <a:gdLst>
                                                                                                            <a:gd name="connsiteX0" fmla="*/ 41223 w 54821"/>
                                                                                                            <a:gd name="connsiteY0" fmla="*/ 0 h 116303"/>
                                                                                                            <a:gd name="connsiteX1" fmla="*/ 41223 w 54821"/>
                                                                                                            <a:gd name="connsiteY1" fmla="*/ 0 h 116303"/>
                                                                                                            <a:gd name="connsiteX2" fmla="*/ 20828 w 54821"/>
                                                                                                            <a:gd name="connsiteY2" fmla="*/ 33992 h 116303"/>
                                                                                                            <a:gd name="connsiteX3" fmla="*/ 24227 w 54821"/>
                                                                                                            <a:gd name="connsiteY3" fmla="*/ 44190 h 116303"/>
                                                                                                            <a:gd name="connsiteX4" fmla="*/ 7231 w 54821"/>
                                                                                                            <a:gd name="connsiteY4" fmla="*/ 71384 h 116303"/>
                                                                                                            <a:gd name="connsiteX5" fmla="*/ 27626 w 54821"/>
                                                                                                            <a:gd name="connsiteY5" fmla="*/ 78183 h 116303"/>
                                                                                                            <a:gd name="connsiteX6" fmla="*/ 24227 w 54821"/>
                                                                                                            <a:gd name="connsiteY6" fmla="*/ 105377 h 116303"/>
                                                                                                            <a:gd name="connsiteX7" fmla="*/ 20828 w 54821"/>
                                                                                                            <a:gd name="connsiteY7" fmla="*/ 115575 h 116303"/>
                                                                                                            <a:gd name="connsiteX8" fmla="*/ 31026 w 54821"/>
                                                                                                            <a:gd name="connsiteY8" fmla="*/ 112175 h 116303"/>
                                                                                                            <a:gd name="connsiteX9" fmla="*/ 48022 w 54821"/>
                                                                                                            <a:gd name="connsiteY9" fmla="*/ 61187 h 116303"/>
                                                                                                            <a:gd name="connsiteX10" fmla="*/ 51421 w 54821"/>
                                                                                                            <a:gd name="connsiteY10" fmla="*/ 50989 h 116303"/>
                                                                                                            <a:gd name="connsiteX11" fmla="*/ 54821 w 54821"/>
                                                                                                            <a:gd name="connsiteY11" fmla="*/ 40791 h 116303"/>
                                                                                                            <a:gd name="connsiteX12" fmla="*/ 48022 w 54821"/>
                                                                                                            <a:gd name="connsiteY12" fmla="*/ 16996 h 116303"/>
                                                                                                            <a:gd name="connsiteX13" fmla="*/ 41223 w 54821"/>
                                                                                                            <a:gd name="connsiteY13" fmla="*/ 0 h 11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21" h="116303">
                                                                                                              <a:moveTo>
                                                                                                                <a:pt x="41223" y="0"/>
                                                                                                              </a:moveTo>
                                                                                                              <a:lnTo>
                                                                                                                <a:pt x="41223" y="0"/>
                                                                                                              </a:lnTo>
                                                                                                              <a:cubicBezTo>
                                                                                                                <a:pt x="39777" y="2024"/>
                                                                                                                <a:pt x="20828" y="23622"/>
                                                                                                                <a:pt x="20828" y="33992"/>
                                                                                                              </a:cubicBezTo>
                                                                                                              <a:cubicBezTo>
                                                                                                                <a:pt x="20828" y="37575"/>
                                                                                                                <a:pt x="23094" y="40791"/>
                                                                                                                <a:pt x="24227" y="44190"/>
                                                                                                              </a:cubicBezTo>
                                                                                                              <a:cubicBezTo>
                                                                                                                <a:pt x="12953" y="47949"/>
                                                                                                                <a:pt x="-12406" y="48941"/>
                                                                                                                <a:pt x="7231" y="71384"/>
                                                                                                              </a:cubicBezTo>
                                                                                                              <a:cubicBezTo>
                                                                                                                <a:pt x="11950" y="76777"/>
                                                                                                                <a:pt x="27626" y="78183"/>
                                                                                                                <a:pt x="27626" y="78183"/>
                                                                                                              </a:cubicBezTo>
                                                                                                              <a:cubicBezTo>
                                                                                                                <a:pt x="26493" y="87248"/>
                                                                                                                <a:pt x="25861" y="96389"/>
                                                                                                                <a:pt x="24227" y="105377"/>
                                                                                                              </a:cubicBezTo>
                                                                                                              <a:cubicBezTo>
                                                                                                                <a:pt x="23586" y="108902"/>
                                                                                                                <a:pt x="18294" y="113041"/>
                                                                                                                <a:pt x="20828" y="115575"/>
                                                                                                              </a:cubicBezTo>
                                                                                                              <a:cubicBezTo>
                                                                                                                <a:pt x="23362" y="118109"/>
                                                                                                                <a:pt x="27627" y="113308"/>
                                                                                                                <a:pt x="31026" y="112175"/>
                                                                                                              </a:cubicBezTo>
                                                                                                              <a:lnTo>
                                                                                                                <a:pt x="48022" y="61187"/>
                                                                                                              </a:lnTo>
                                                                                                              <a:lnTo>
                                                                                                                <a:pt x="51421" y="50989"/>
                                                                                                              </a:lnTo>
                                                                                                              <a:lnTo>
                                                                                                                <a:pt x="54821" y="40791"/>
                                                                                                              </a:lnTo>
                                                                                                              <a:cubicBezTo>
                                                                                                                <a:pt x="53733" y="36440"/>
                                                                                                                <a:pt x="50458" y="21869"/>
                                                                                                                <a:pt x="48022" y="16996"/>
                                                                                                              </a:cubicBezTo>
                                                                                                              <a:cubicBezTo>
                                                                                                                <a:pt x="42452" y="5855"/>
                                                                                                                <a:pt x="42356" y="2833"/>
                                                                                                                <a:pt x="4122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1" name="Freeform 320"/>
                                                                                                      <p:cNvSpPr/>
                                                                                                      <p:nvPr/>
                                                                                                    </p:nvSpPr>
                                                                                                    <p:spPr>
                                                                                                      <a:xfrm>
                                                                                                        <a:off x="2032755" y="2447465"/>
                                                                                                        <a:ext cx="50989" cy="82773"/>
                                                                                                      </a:xfrm>
                                                                                                      <a:custGeom>
                                                                                                        <a:avLst/>
                                                                                                        <a:gdLst>
                                                                                                          <a:gd name="connsiteX0" fmla="*/ 23795 w 50989"/>
                                                                                                          <a:gd name="connsiteY0" fmla="*/ 0 h 82773"/>
                                                                                                          <a:gd name="connsiteX1" fmla="*/ 23795 w 50989"/>
                                                                                                          <a:gd name="connsiteY1" fmla="*/ 0 h 82773"/>
                                                                                                          <a:gd name="connsiteX2" fmla="*/ 20396 w 50989"/>
                                                                                                          <a:gd name="connsiteY2" fmla="*/ 30593 h 82773"/>
                                                                                                          <a:gd name="connsiteX3" fmla="*/ 10198 w 50989"/>
                                                                                                          <a:gd name="connsiteY3" fmla="*/ 61186 h 82773"/>
                                                                                                          <a:gd name="connsiteX4" fmla="*/ 0 w 50989"/>
                                                                                                          <a:gd name="connsiteY4" fmla="*/ 67985 h 82773"/>
                                                                                                          <a:gd name="connsiteX5" fmla="*/ 6799 w 50989"/>
                                                                                                          <a:gd name="connsiteY5" fmla="*/ 81582 h 82773"/>
                                                                                                          <a:gd name="connsiteX6" fmla="*/ 50989 w 50989"/>
                                                                                                          <a:gd name="connsiteY6" fmla="*/ 74783 h 82773"/>
                                                                                                          <a:gd name="connsiteX7" fmla="*/ 44191 w 50989"/>
                                                                                                          <a:gd name="connsiteY7" fmla="*/ 44190 h 82773"/>
                                                                                                          <a:gd name="connsiteX8" fmla="*/ 37392 w 50989"/>
                                                                                                          <a:gd name="connsiteY8" fmla="*/ 33992 h 82773"/>
                                                                                                          <a:gd name="connsiteX9" fmla="*/ 23795 w 50989"/>
                                                                                                          <a:gd name="connsiteY9" fmla="*/ 0 h 8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89" h="82773">
                                                                                                            <a:moveTo>
                                                                                                              <a:pt x="23795" y="0"/>
                                                                                                            </a:moveTo>
                                                                                                            <a:lnTo>
                                                                                                              <a:pt x="23795" y="0"/>
                                                                                                            </a:lnTo>
                                                                                                            <a:cubicBezTo>
                                                                                                              <a:pt x="22662" y="10198"/>
                                                                                                              <a:pt x="21752" y="20423"/>
                                                                                                              <a:pt x="20396" y="30593"/>
                                                                                                            </a:cubicBezTo>
                                                                                                            <a:cubicBezTo>
                                                                                                              <a:pt x="18643" y="43744"/>
                                                                                                              <a:pt x="19447" y="51937"/>
                                                                                                              <a:pt x="10198" y="61186"/>
                                                                                                            </a:cubicBezTo>
                                                                                                            <a:cubicBezTo>
                                                                                                              <a:pt x="7309" y="64075"/>
                                                                                                              <a:pt x="3399" y="65719"/>
                                                                                                              <a:pt x="0" y="67985"/>
                                                                                                            </a:cubicBezTo>
                                                                                                            <a:cubicBezTo>
                                                                                                              <a:pt x="2266" y="72517"/>
                                                                                                              <a:pt x="1883" y="80353"/>
                                                                                                              <a:pt x="6799" y="81582"/>
                                                                                                            </a:cubicBezTo>
                                                                                                            <a:cubicBezTo>
                                                                                                              <a:pt x="21825" y="85339"/>
                                                                                                              <a:pt x="37079" y="79421"/>
                                                                                                              <a:pt x="50989" y="74783"/>
                                                                                                            </a:cubicBezTo>
                                                                                                            <a:cubicBezTo>
                                                                                                              <a:pt x="49684" y="66952"/>
                                                                                                              <a:pt x="48374" y="52557"/>
                                                                                                              <a:pt x="44191" y="44190"/>
                                                                                                            </a:cubicBezTo>
                                                                                                            <a:cubicBezTo>
                                                                                                              <a:pt x="42364" y="40536"/>
                                                                                                              <a:pt x="39658" y="37391"/>
                                                                                                              <a:pt x="37392" y="33992"/>
                                                                                                            </a:cubicBezTo>
                                                                                                            <a:cubicBezTo>
                                                                                                              <a:pt x="29877" y="11447"/>
                                                                                                              <a:pt x="26061" y="5665"/>
                                                                                                              <a:pt x="23795"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9" name="Freeform 318"/>
                                                                                                    <p:cNvSpPr/>
                                                                                                    <p:nvPr/>
                                                                                                  </p:nvSpPr>
                                                                                                  <p:spPr>
                                                                                                    <a:xfrm>
                                                                                                      <a:off x="2083636" y="2651270"/>
                                                                                                      <a:ext cx="17105" cy="41055"/>
                                                                                                    </a:xfrm>
                                                                                                    <a:custGeom>
                                                                                                      <a:avLst/>
                                                                                                      <a:gdLst>
                                                                                                        <a:gd name="connsiteX0" fmla="*/ 6907 w 17105"/>
                                                                                                        <a:gd name="connsiteY0" fmla="*/ 3549 h 41055"/>
                                                                                                        <a:gd name="connsiteX1" fmla="*/ 6907 w 17105"/>
                                                                                                        <a:gd name="connsiteY1" fmla="*/ 3549 h 41055"/>
                                                                                                        <a:gd name="connsiteX2" fmla="*/ 108 w 17105"/>
                                                                                                        <a:gd name="connsiteY2" fmla="*/ 34143 h 41055"/>
                                                                                                        <a:gd name="connsiteX3" fmla="*/ 10306 w 17105"/>
                                                                                                        <a:gd name="connsiteY3" fmla="*/ 40941 h 41055"/>
                                                                                                        <a:gd name="connsiteX4" fmla="*/ 17105 w 17105"/>
                                                                                                        <a:gd name="connsiteY4" fmla="*/ 30743 h 41055"/>
                                                                                                        <a:gd name="connsiteX5" fmla="*/ 10306 w 17105"/>
                                                                                                        <a:gd name="connsiteY5" fmla="*/ 150 h 41055"/>
                                                                                                        <a:gd name="connsiteX6" fmla="*/ 6907 w 17105"/>
                                                                                                        <a:gd name="connsiteY6" fmla="*/ 3549 h 4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5" h="41055">
                                                                                                          <a:moveTo>
                                                                                                            <a:pt x="6907" y="3549"/>
                                                                                                          </a:moveTo>
                                                                                                          <a:lnTo>
                                                                                                            <a:pt x="6907" y="3549"/>
                                                                                                          </a:lnTo>
                                                                                                          <a:cubicBezTo>
                                                                                                            <a:pt x="4641" y="13747"/>
                                                                                                            <a:pt x="-838" y="23739"/>
                                                                                                            <a:pt x="108" y="34143"/>
                                                                                                          </a:cubicBezTo>
                                                                                                          <a:cubicBezTo>
                                                                                                            <a:pt x="478" y="38212"/>
                                                                                                            <a:pt x="6300" y="41742"/>
                                                                                                            <a:pt x="10306" y="40941"/>
                                                                                                          </a:cubicBezTo>
                                                                                                          <a:cubicBezTo>
                                                                                                            <a:pt x="14312" y="40140"/>
                                                                                                            <a:pt x="14839" y="34142"/>
                                                                                                            <a:pt x="17105" y="30743"/>
                                                                                                          </a:cubicBezTo>
                                                                                                          <a:cubicBezTo>
                                                                                                            <a:pt x="16694" y="28278"/>
                                                                                                            <a:pt x="14024" y="5728"/>
                                                                                                            <a:pt x="10306" y="150"/>
                                                                                                          </a:cubicBezTo>
                                                                                                          <a:cubicBezTo>
                                                                                                            <a:pt x="9678" y="-793"/>
                                                                                                            <a:pt x="7473" y="2983"/>
                                                                                                            <a:pt x="6907" y="354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7" name="Freeform 316"/>
                                                                                                  <p:cNvSpPr/>
                                                                                                  <p:nvPr/>
                                                                                                </p:nvSpPr>
                                                                                                <p:spPr>
                                                                                                  <a:xfrm>
                                                                                                    <a:off x="2035958" y="2899566"/>
                                                                                                    <a:ext cx="70425" cy="54388"/>
                                                                                                  </a:xfrm>
                                                                                                  <a:custGeom>
                                                                                                    <a:avLst/>
                                                                                                    <a:gdLst>
                                                                                                      <a:gd name="connsiteX0" fmla="*/ 68182 w 70425"/>
                                                                                                      <a:gd name="connsiteY0" fmla="*/ 0 h 54388"/>
                                                                                                      <a:gd name="connsiteX1" fmla="*/ 68182 w 70425"/>
                                                                                                      <a:gd name="connsiteY1" fmla="*/ 0 h 54388"/>
                                                                                                      <a:gd name="connsiteX2" fmla="*/ 40988 w 70425"/>
                                                                                                      <a:gd name="connsiteY2" fmla="*/ 10198 h 54388"/>
                                                                                                      <a:gd name="connsiteX3" fmla="*/ 30790 w 70425"/>
                                                                                                      <a:gd name="connsiteY3" fmla="*/ 13597 h 54388"/>
                                                                                                      <a:gd name="connsiteX4" fmla="*/ 10394 w 70425"/>
                                                                                                      <a:gd name="connsiteY4" fmla="*/ 27194 h 54388"/>
                                                                                                      <a:gd name="connsiteX5" fmla="*/ 197 w 70425"/>
                                                                                                      <a:gd name="connsiteY5" fmla="*/ 47589 h 54388"/>
                                                                                                      <a:gd name="connsiteX6" fmla="*/ 10394 w 70425"/>
                                                                                                      <a:gd name="connsiteY6" fmla="*/ 54388 h 54388"/>
                                                                                                      <a:gd name="connsiteX7" fmla="*/ 34189 w 70425"/>
                                                                                                      <a:gd name="connsiteY7" fmla="*/ 50989 h 54388"/>
                                                                                                      <a:gd name="connsiteX8" fmla="*/ 44387 w 70425"/>
                                                                                                      <a:gd name="connsiteY8" fmla="*/ 47589 h 54388"/>
                                                                                                      <a:gd name="connsiteX9" fmla="*/ 51185 w 70425"/>
                                                                                                      <a:gd name="connsiteY9" fmla="*/ 37392 h 54388"/>
                                                                                                      <a:gd name="connsiteX10" fmla="*/ 61383 w 70425"/>
                                                                                                      <a:gd name="connsiteY10" fmla="*/ 30593 h 54388"/>
                                                                                                      <a:gd name="connsiteX11" fmla="*/ 68182 w 70425"/>
                                                                                                      <a:gd name="connsiteY11" fmla="*/ 0 h 5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425" h="54388">
                                                                                                        <a:moveTo>
                                                                                                          <a:pt x="68182" y="0"/>
                                                                                                        </a:moveTo>
                                                                                                        <a:lnTo>
                                                                                                          <a:pt x="68182" y="0"/>
                                                                                                        </a:lnTo>
                                                                                                        <a:lnTo>
                                                                                                          <a:pt x="40988" y="10198"/>
                                                                                                        </a:lnTo>
                                                                                                        <a:cubicBezTo>
                                                                                                          <a:pt x="37621" y="11423"/>
                                                                                                          <a:pt x="33922" y="11857"/>
                                                                                                          <a:pt x="30790" y="13597"/>
                                                                                                        </a:cubicBezTo>
                                                                                                        <a:cubicBezTo>
                                                                                                          <a:pt x="23647" y="17565"/>
                                                                                                          <a:pt x="10394" y="27194"/>
                                                                                                          <a:pt x="10394" y="27194"/>
                                                                                                        </a:cubicBezTo>
                                                                                                        <a:cubicBezTo>
                                                                                                          <a:pt x="8963" y="29341"/>
                                                                                                          <a:pt x="-1562" y="43192"/>
                                                                                                          <a:pt x="197" y="47589"/>
                                                                                                        </a:cubicBezTo>
                                                                                                        <a:cubicBezTo>
                                                                                                          <a:pt x="1714" y="51382"/>
                                                                                                          <a:pt x="6995" y="52122"/>
                                                                                                          <a:pt x="10394" y="54388"/>
                                                                                                        </a:cubicBezTo>
                                                                                                        <a:cubicBezTo>
                                                                                                          <a:pt x="18326" y="53255"/>
                                                                                                          <a:pt x="26332" y="52560"/>
                                                                                                          <a:pt x="34189" y="50989"/>
                                                                                                        </a:cubicBezTo>
                                                                                                        <a:cubicBezTo>
                                                                                                          <a:pt x="37703" y="50286"/>
                                                                                                          <a:pt x="41589" y="49827"/>
                                                                                                          <a:pt x="44387" y="47589"/>
                                                                                                        </a:cubicBezTo>
                                                                                                        <a:cubicBezTo>
                                                                                                          <a:pt x="47577" y="45037"/>
                                                                                                          <a:pt x="48296" y="40281"/>
                                                                                                          <a:pt x="51185" y="37392"/>
                                                                                                        </a:cubicBezTo>
                                                                                                        <a:cubicBezTo>
                                                                                                          <a:pt x="54074" y="34503"/>
                                                                                                          <a:pt x="57984" y="32859"/>
                                                                                                          <a:pt x="61383" y="30593"/>
                                                                                                        </a:cubicBezTo>
                                                                                                        <a:cubicBezTo>
                                                                                                          <a:pt x="69196" y="7157"/>
                                                                                                          <a:pt x="73249" y="15265"/>
                                                                                                          <a:pt x="6818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5" name="Freeform 314"/>
                                                                                                <p:cNvSpPr/>
                                                                                                <p:nvPr/>
                                                                                              </p:nvSpPr>
                                                                                              <p:spPr>
                                                                                                <a:xfrm>
                                                                                                  <a:off x="2008364" y="3059331"/>
                                                                                                  <a:ext cx="48186" cy="47589"/>
                                                                                                </a:xfrm>
                                                                                                <a:custGeom>
                                                                                                  <a:avLst/>
                                                                                                  <a:gdLst>
                                                                                                    <a:gd name="connsiteX0" fmla="*/ 17593 w 48186"/>
                                                                                                    <a:gd name="connsiteY0" fmla="*/ 0 h 47589"/>
                                                                                                    <a:gd name="connsiteX1" fmla="*/ 17593 w 48186"/>
                                                                                                    <a:gd name="connsiteY1" fmla="*/ 0 h 47589"/>
                                                                                                    <a:gd name="connsiteX2" fmla="*/ 3996 w 48186"/>
                                                                                                    <a:gd name="connsiteY2" fmla="*/ 40791 h 47589"/>
                                                                                                    <a:gd name="connsiteX3" fmla="*/ 14194 w 48186"/>
                                                                                                    <a:gd name="connsiteY3" fmla="*/ 47589 h 47589"/>
                                                                                                    <a:gd name="connsiteX4" fmla="*/ 41388 w 48186"/>
                                                                                                    <a:gd name="connsiteY4" fmla="*/ 40791 h 47589"/>
                                                                                                    <a:gd name="connsiteX5" fmla="*/ 48186 w 48186"/>
                                                                                                    <a:gd name="connsiteY5" fmla="*/ 30593 h 47589"/>
                                                                                                    <a:gd name="connsiteX6" fmla="*/ 41388 w 48186"/>
                                                                                                    <a:gd name="connsiteY6" fmla="*/ 20395 h 47589"/>
                                                                                                    <a:gd name="connsiteX7" fmla="*/ 31190 w 48186"/>
                                                                                                    <a:gd name="connsiteY7" fmla="*/ 16996 h 47589"/>
                                                                                                    <a:gd name="connsiteX8" fmla="*/ 17593 w 48186"/>
                                                                                                    <a:gd name="connsiteY8" fmla="*/ 0 h 4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86" h="47589">
                                                                                                      <a:moveTo>
                                                                                                        <a:pt x="17593" y="0"/>
                                                                                                      </a:moveTo>
                                                                                                      <a:lnTo>
                                                                                                        <a:pt x="17593" y="0"/>
                                                                                                      </a:lnTo>
                                                                                                      <a:cubicBezTo>
                                                                                                        <a:pt x="6484" y="15553"/>
                                                                                                        <a:pt x="-6794" y="21909"/>
                                                                                                        <a:pt x="3996" y="40791"/>
                                                                                                      </a:cubicBezTo>
                                                                                                      <a:cubicBezTo>
                                                                                                        <a:pt x="6023" y="44338"/>
                                                                                                        <a:pt x="10795" y="45323"/>
                                                                                                        <a:pt x="14194" y="47589"/>
                                                                                                      </a:cubicBezTo>
                                                                                                      <a:cubicBezTo>
                                                                                                        <a:pt x="15040" y="47420"/>
                                                                                                        <a:pt x="37904" y="43578"/>
                                                                                                        <a:pt x="41388" y="40791"/>
                                                                                                      </a:cubicBezTo>
                                                                                                      <a:cubicBezTo>
                                                                                                        <a:pt x="44578" y="38239"/>
                                                                                                        <a:pt x="45920" y="33992"/>
                                                                                                        <a:pt x="48186" y="30593"/>
                                                                                                      </a:cubicBezTo>
                                                                                                      <a:cubicBezTo>
                                                                                                        <a:pt x="45920" y="27194"/>
                                                                                                        <a:pt x="44578" y="22947"/>
                                                                                                        <a:pt x="41388" y="20395"/>
                                                                                                      </a:cubicBezTo>
                                                                                                      <a:cubicBezTo>
                                                                                                        <a:pt x="38590" y="18157"/>
                                                                                                        <a:pt x="33988" y="19234"/>
                                                                                                        <a:pt x="31190" y="16996"/>
                                                                                                      </a:cubicBezTo>
                                                                                                      <a:cubicBezTo>
                                                                                                        <a:pt x="28000" y="14444"/>
                                                                                                        <a:pt x="19859" y="2833"/>
                                                                                                        <a:pt x="1759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3" name="Freeform 312"/>
                                                                                              <p:cNvSpPr/>
                                                                                              <p:nvPr/>
                                                                                            </p:nvSpPr>
                                                                                            <p:spPr>
                                                                                              <a:xfrm>
                                                                                                <a:off x="2018035" y="2236711"/>
                                                                                                <a:ext cx="28317" cy="21607"/>
                                                                                              </a:xfrm>
                                                                                              <a:custGeom>
                                                                                                <a:avLst/>
                                                                                                <a:gdLst>
                                                                                                  <a:gd name="connsiteX0" fmla="*/ 28317 w 28317"/>
                                                                                                  <a:gd name="connsiteY0" fmla="*/ 0 h 21607"/>
                                                                                                  <a:gd name="connsiteX1" fmla="*/ 28317 w 28317"/>
                                                                                                  <a:gd name="connsiteY1" fmla="*/ 0 h 21607"/>
                                                                                                  <a:gd name="connsiteX2" fmla="*/ 1123 w 28317"/>
                                                                                                  <a:gd name="connsiteY2" fmla="*/ 10198 h 21607"/>
                                                                                                  <a:gd name="connsiteX3" fmla="*/ 4523 w 28317"/>
                                                                                                  <a:gd name="connsiteY3" fmla="*/ 20395 h 21607"/>
                                                                                                  <a:gd name="connsiteX4" fmla="*/ 28317 w 28317"/>
                                                                                                  <a:gd name="connsiteY4" fmla="*/ 0 h 2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17" h="21607">
                                                                                                    <a:moveTo>
                                                                                                      <a:pt x="28317" y="0"/>
                                                                                                    </a:moveTo>
                                                                                                    <a:lnTo>
                                                                                                      <a:pt x="28317" y="0"/>
                                                                                                    </a:lnTo>
                                                                                                    <a:cubicBezTo>
                                                                                                      <a:pt x="19252" y="3399"/>
                                                                                                      <a:pt x="8473" y="3898"/>
                                                                                                      <a:pt x="1123" y="10198"/>
                                                                                                    </a:cubicBezTo>
                                                                                                    <a:cubicBezTo>
                                                                                                      <a:pt x="-1597" y="12530"/>
                                                                                                      <a:pt x="1047" y="19526"/>
                                                                                                      <a:pt x="4523" y="20395"/>
                                                                                                    </a:cubicBezTo>
                                                                                                    <a:cubicBezTo>
                                                                                                      <a:pt x="31682" y="27184"/>
                                                                                                      <a:pt x="24351" y="3399"/>
                                                                                                      <a:pt x="2831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1" name="Freeform 310"/>
                                                                                            <p:cNvSpPr/>
                                                                                            <p:nvPr/>
                                                                                          </p:nvSpPr>
                                                                                          <p:spPr>
                                                                                            <a:xfrm>
                                                                                              <a:off x="1984622" y="2287700"/>
                                                                                              <a:ext cx="18117" cy="41372"/>
                                                                                            </a:xfrm>
                                                                                            <a:custGeom>
                                                                                              <a:avLst/>
                                                                                              <a:gdLst>
                                                                                                <a:gd name="connsiteX0" fmla="*/ 14141 w 18117"/>
                                                                                                <a:gd name="connsiteY0" fmla="*/ 0 h 41372"/>
                                                                                                <a:gd name="connsiteX1" fmla="*/ 14141 w 18117"/>
                                                                                                <a:gd name="connsiteY1" fmla="*/ 0 h 41372"/>
                                                                                                <a:gd name="connsiteX2" fmla="*/ 3943 w 18117"/>
                                                                                                <a:gd name="connsiteY2" fmla="*/ 40791 h 41372"/>
                                                                                                <a:gd name="connsiteX3" fmla="*/ 14141 w 18117"/>
                                                                                                <a:gd name="connsiteY3" fmla="*/ 37391 h 41372"/>
                                                                                                <a:gd name="connsiteX4" fmla="*/ 14141 w 18117"/>
                                                                                                <a:gd name="connsiteY4" fmla="*/ 0 h 41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 h="41372">
                                                                                                  <a:moveTo>
                                                                                                    <a:pt x="14141" y="0"/>
                                                                                                  </a:moveTo>
                                                                                                  <a:lnTo>
                                                                                                    <a:pt x="14141" y="0"/>
                                                                                                  </a:lnTo>
                                                                                                  <a:cubicBezTo>
                                                                                                    <a:pt x="13472" y="1338"/>
                                                                                                    <a:pt x="-8836" y="31207"/>
                                                                                                    <a:pt x="3943" y="40791"/>
                                                                                                  </a:cubicBezTo>
                                                                                                  <a:cubicBezTo>
                                                                                                    <a:pt x="6810" y="42941"/>
                                                                                                    <a:pt x="10742" y="38524"/>
                                                                                                    <a:pt x="14141" y="37391"/>
                                                                                                  </a:cubicBezTo>
                                                                                                  <a:cubicBezTo>
                                                                                                    <a:pt x="23089" y="10546"/>
                                                                                                    <a:pt x="14141" y="6232"/>
                                                                                                    <a:pt x="1414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09" name="Freeform 308"/>
                                                                                          <p:cNvSpPr/>
                                                                                          <p:nvPr/>
                                                                                        </p:nvSpPr>
                                                                                        <p:spPr>
                                                                                          <a:xfrm>
                                                                                            <a:off x="1957972" y="2573237"/>
                                                                                            <a:ext cx="37392" cy="51147"/>
                                                                                          </a:xfrm>
                                                                                          <a:custGeom>
                                                                                            <a:avLst/>
                                                                                            <a:gdLst>
                                                                                              <a:gd name="connsiteX0" fmla="*/ 37392 w 37392"/>
                                                                                              <a:gd name="connsiteY0" fmla="*/ 0 h 51147"/>
                                                                                              <a:gd name="connsiteX1" fmla="*/ 37392 w 37392"/>
                                                                                              <a:gd name="connsiteY1" fmla="*/ 0 h 51147"/>
                                                                                              <a:gd name="connsiteX2" fmla="*/ 6798 w 37392"/>
                                                                                              <a:gd name="connsiteY2" fmla="*/ 3399 h 51147"/>
                                                                                              <a:gd name="connsiteX3" fmla="*/ 0 w 37392"/>
                                                                                              <a:gd name="connsiteY3" fmla="*/ 13597 h 51147"/>
                                                                                              <a:gd name="connsiteX4" fmla="*/ 16996 w 37392"/>
                                                                                              <a:gd name="connsiteY4" fmla="*/ 40791 h 51147"/>
                                                                                              <a:gd name="connsiteX5" fmla="*/ 20395 w 37392"/>
                                                                                              <a:gd name="connsiteY5" fmla="*/ 50989 h 51147"/>
                                                                                              <a:gd name="connsiteX6" fmla="*/ 30593 w 37392"/>
                                                                                              <a:gd name="connsiteY6" fmla="*/ 44191 h 51147"/>
                                                                                              <a:gd name="connsiteX7" fmla="*/ 37392 w 37392"/>
                                                                                              <a:gd name="connsiteY7" fmla="*/ 0 h 5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92" h="51147">
                                                                                                <a:moveTo>
                                                                                                  <a:pt x="37392" y="0"/>
                                                                                                </a:moveTo>
                                                                                                <a:lnTo>
                                                                                                  <a:pt x="37392" y="0"/>
                                                                                                </a:lnTo>
                                                                                                <a:cubicBezTo>
                                                                                                  <a:pt x="27194" y="1133"/>
                                                                                                  <a:pt x="16441" y="-108"/>
                                                                                                  <a:pt x="6798" y="3399"/>
                                                                                                </a:cubicBezTo>
                                                                                                <a:cubicBezTo>
                                                                                                  <a:pt x="2959" y="4795"/>
                                                                                                  <a:pt x="0" y="9512"/>
                                                                                                  <a:pt x="0" y="13597"/>
                                                                                                </a:cubicBezTo>
                                                                                                <a:cubicBezTo>
                                                                                                  <a:pt x="0" y="32476"/>
                                                                                                  <a:pt x="5447" y="33092"/>
                                                                                                  <a:pt x="16996" y="40791"/>
                                                                                                </a:cubicBezTo>
                                                                                                <a:cubicBezTo>
                                                                                                  <a:pt x="18129" y="44190"/>
                                                                                                  <a:pt x="16919" y="50120"/>
                                                                                                  <a:pt x="20395" y="50989"/>
                                                                                                </a:cubicBezTo>
                                                                                                <a:cubicBezTo>
                                                                                                  <a:pt x="24358" y="51980"/>
                                                                                                  <a:pt x="29602" y="48154"/>
                                                                                                  <a:pt x="30593" y="44191"/>
                                                                                                </a:cubicBezTo>
                                                                                                <a:cubicBezTo>
                                                                                                  <a:pt x="34073" y="30272"/>
                                                                                                  <a:pt x="36259" y="7365"/>
                                                                                                  <a:pt x="3739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07" name="Freeform 306"/>
                                                                                        <p:cNvSpPr/>
                                                                                        <p:nvPr/>
                                                                                      </p:nvSpPr>
                                                                                      <p:spPr>
                                                                                        <a:xfrm>
                                                                                          <a:off x="2022558" y="2549442"/>
                                                                                          <a:ext cx="44190" cy="48784"/>
                                                                                        </a:xfrm>
                                                                                        <a:custGeom>
                                                                                          <a:avLst/>
                                                                                          <a:gdLst>
                                                                                            <a:gd name="connsiteX0" fmla="*/ 44190 w 44190"/>
                                                                                            <a:gd name="connsiteY0" fmla="*/ 0 h 48784"/>
                                                                                            <a:gd name="connsiteX1" fmla="*/ 44190 w 44190"/>
                                                                                            <a:gd name="connsiteY1" fmla="*/ 0 h 48784"/>
                                                                                            <a:gd name="connsiteX2" fmla="*/ 16996 w 44190"/>
                                                                                            <a:gd name="connsiteY2" fmla="*/ 10198 h 48784"/>
                                                                                            <a:gd name="connsiteX3" fmla="*/ 0 w 44190"/>
                                                                                            <a:gd name="connsiteY3" fmla="*/ 30594 h 48784"/>
                                                                                            <a:gd name="connsiteX4" fmla="*/ 3399 w 44190"/>
                                                                                            <a:gd name="connsiteY4" fmla="*/ 47590 h 48784"/>
                                                                                            <a:gd name="connsiteX5" fmla="*/ 30593 w 44190"/>
                                                                                            <a:gd name="connsiteY5" fmla="*/ 37392 h 48784"/>
                                                                                            <a:gd name="connsiteX6" fmla="*/ 40791 w 44190"/>
                                                                                            <a:gd name="connsiteY6" fmla="*/ 16997 h 48784"/>
                                                                                            <a:gd name="connsiteX7" fmla="*/ 44190 w 44190"/>
                                                                                            <a:gd name="connsiteY7" fmla="*/ 0 h 4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90" h="48784">
                                                                                              <a:moveTo>
                                                                                                <a:pt x="44190" y="0"/>
                                                                                              </a:moveTo>
                                                                                              <a:lnTo>
                                                                                                <a:pt x="44190" y="0"/>
                                                                                              </a:lnTo>
                                                                                              <a:cubicBezTo>
                                                                                                <a:pt x="35125" y="3399"/>
                                                                                                <a:pt x="25495" y="5562"/>
                                                                                                <a:pt x="16996" y="10198"/>
                                                                                              </a:cubicBezTo>
                                                                                              <a:cubicBezTo>
                                                                                                <a:pt x="10140" y="13938"/>
                                                                                                <a:pt x="4169" y="24339"/>
                                                                                                <a:pt x="0" y="30594"/>
                                                                                              </a:cubicBezTo>
                                                                                              <a:cubicBezTo>
                                                                                                <a:pt x="1133" y="36259"/>
                                                                                                <a:pt x="-1408" y="44385"/>
                                                                                                <a:pt x="3399" y="47590"/>
                                                                                              </a:cubicBezTo>
                                                                                              <a:cubicBezTo>
                                                                                                <a:pt x="10750" y="52491"/>
                                                                                                <a:pt x="25241" y="40960"/>
                                                                                                <a:pt x="30593" y="37392"/>
                                                                                              </a:cubicBezTo>
                                                                                              <a:cubicBezTo>
                                                                                                <a:pt x="35811" y="29564"/>
                                                                                                <a:pt x="39227" y="26376"/>
                                                                                                <a:pt x="40791" y="16997"/>
                                                                                              </a:cubicBezTo>
                                                                                              <a:cubicBezTo>
                                                                                                <a:pt x="41350" y="13644"/>
                                                                                                <a:pt x="43623" y="2833"/>
                                                                                                <a:pt x="4419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nvGrpSpPr>
                                                                                  <p:cNvPr id="290" name="Group 289"/>
                                                                                  <p:cNvGrpSpPr/>
                                                                                  <p:nvPr/>
                                                                                </p:nvGrpSpPr>
                                                                                <p:grpSpPr>
                                                                                  <a:xfrm>
                                                                                    <a:off x="492981" y="3689405"/>
                                                                                    <a:ext cx="2723377" cy="2389367"/>
                                                                                    <a:chOff x="492981" y="3689405"/>
                                                                                    <a:chExt cx="2723377" cy="2389367"/>
                                                                                  </a:xfrm>
                                                                                  <a:grpFill/>
                                                                                </p:grpSpPr>
                                                                                <p:grpSp>
                                                                                  <p:nvGrpSpPr>
                                                                                    <p:cNvPr id="291" name="Group 290"/>
                                                                                    <p:cNvGrpSpPr/>
                                                                                    <p:nvPr/>
                                                                                  </p:nvGrpSpPr>
                                                                                  <p:grpSpPr>
                                                                                    <a:xfrm>
                                                                                      <a:off x="492981" y="4603805"/>
                                                                                      <a:ext cx="1948069" cy="1474967"/>
                                                                                      <a:chOff x="492981" y="4603805"/>
                                                                                      <a:chExt cx="1948069" cy="1474967"/>
                                                                                    </a:xfrm>
                                                                                    <a:grpFill/>
                                                                                  </p:grpSpPr>
                                                                                  <p:sp>
                                                                                    <p:nvSpPr>
                                                                                      <p:cNvPr id="293" name="Freeform 292"/>
                                                                                      <p:cNvSpPr/>
                                                                                      <p:nvPr/>
                                                                                    </p:nvSpPr>
                                                                                    <p:spPr>
                                                                                      <a:xfrm>
                                                                                        <a:off x="492981" y="4858247"/>
                                                                                        <a:ext cx="624177" cy="906449"/>
                                                                                      </a:xfrm>
                                                                                      <a:custGeom>
                                                                                        <a:avLst/>
                                                                                        <a:gdLst>
                                                                                          <a:gd name="connsiteX0" fmla="*/ 314076 w 624177"/>
                                                                                          <a:gd name="connsiteY0" fmla="*/ 0 h 906449"/>
                                                                                          <a:gd name="connsiteX1" fmla="*/ 314076 w 624177"/>
                                                                                          <a:gd name="connsiteY1" fmla="*/ 0 h 906449"/>
                                                                                          <a:gd name="connsiteX2" fmla="*/ 349857 w 624177"/>
                                                                                          <a:gd name="connsiteY2" fmla="*/ 3976 h 906449"/>
                                                                                          <a:gd name="connsiteX3" fmla="*/ 417443 w 624177"/>
                                                                                          <a:gd name="connsiteY3" fmla="*/ 15903 h 906449"/>
                                                                                          <a:gd name="connsiteX4" fmla="*/ 413468 w 624177"/>
                                                                                          <a:gd name="connsiteY4" fmla="*/ 35781 h 906449"/>
                                                                                          <a:gd name="connsiteX5" fmla="*/ 405516 w 624177"/>
                                                                                          <a:gd name="connsiteY5" fmla="*/ 43732 h 906449"/>
                                                                                          <a:gd name="connsiteX6" fmla="*/ 397565 w 624177"/>
                                                                                          <a:gd name="connsiteY6" fmla="*/ 67586 h 906449"/>
                                                                                          <a:gd name="connsiteX7" fmla="*/ 433346 w 624177"/>
                                                                                          <a:gd name="connsiteY7" fmla="*/ 67586 h 906449"/>
                                                                                          <a:gd name="connsiteX8" fmla="*/ 445273 w 624177"/>
                                                                                          <a:gd name="connsiteY8" fmla="*/ 71562 h 906449"/>
                                                                                          <a:gd name="connsiteX9" fmla="*/ 453224 w 624177"/>
                                                                                          <a:gd name="connsiteY9" fmla="*/ 83489 h 906449"/>
                                                                                          <a:gd name="connsiteX10" fmla="*/ 477078 w 624177"/>
                                                                                          <a:gd name="connsiteY10" fmla="*/ 91440 h 906449"/>
                                                                                          <a:gd name="connsiteX11" fmla="*/ 492981 w 624177"/>
                                                                                          <a:gd name="connsiteY11" fmla="*/ 99391 h 906449"/>
                                                                                          <a:gd name="connsiteX12" fmla="*/ 516835 w 624177"/>
                                                                                          <a:gd name="connsiteY12" fmla="*/ 107343 h 906449"/>
                                                                                          <a:gd name="connsiteX13" fmla="*/ 540689 w 624177"/>
                                                                                          <a:gd name="connsiteY13" fmla="*/ 99391 h 906449"/>
                                                                                          <a:gd name="connsiteX14" fmla="*/ 564542 w 624177"/>
                                                                                          <a:gd name="connsiteY14" fmla="*/ 107343 h 906449"/>
                                                                                          <a:gd name="connsiteX15" fmla="*/ 592372 w 624177"/>
                                                                                          <a:gd name="connsiteY15" fmla="*/ 115294 h 906449"/>
                                                                                          <a:gd name="connsiteX16" fmla="*/ 604299 w 624177"/>
                                                                                          <a:gd name="connsiteY16" fmla="*/ 123245 h 906449"/>
                                                                                          <a:gd name="connsiteX17" fmla="*/ 608275 w 624177"/>
                                                                                          <a:gd name="connsiteY17" fmla="*/ 135172 h 906449"/>
                                                                                          <a:gd name="connsiteX18" fmla="*/ 608275 w 624177"/>
                                                                                          <a:gd name="connsiteY18" fmla="*/ 159026 h 906449"/>
                                                                                          <a:gd name="connsiteX19" fmla="*/ 624177 w 624177"/>
                                                                                          <a:gd name="connsiteY19" fmla="*/ 182880 h 906449"/>
                                                                                          <a:gd name="connsiteX20" fmla="*/ 620202 w 624177"/>
                                                                                          <a:gd name="connsiteY20" fmla="*/ 198783 h 906449"/>
                                                                                          <a:gd name="connsiteX21" fmla="*/ 608275 w 624177"/>
                                                                                          <a:gd name="connsiteY21" fmla="*/ 202758 h 906449"/>
                                                                                          <a:gd name="connsiteX22" fmla="*/ 588396 w 624177"/>
                                                                                          <a:gd name="connsiteY22" fmla="*/ 214685 h 906449"/>
                                                                                          <a:gd name="connsiteX23" fmla="*/ 568518 w 624177"/>
                                                                                          <a:gd name="connsiteY23" fmla="*/ 246490 h 906449"/>
                                                                                          <a:gd name="connsiteX24" fmla="*/ 544664 w 624177"/>
                                                                                          <a:gd name="connsiteY24" fmla="*/ 250466 h 906449"/>
                                                                                          <a:gd name="connsiteX25" fmla="*/ 520810 w 624177"/>
                                                                                          <a:gd name="connsiteY25" fmla="*/ 258417 h 906449"/>
                                                                                          <a:gd name="connsiteX26" fmla="*/ 516835 w 624177"/>
                                                                                          <a:gd name="connsiteY26" fmla="*/ 270344 h 906449"/>
                                                                                          <a:gd name="connsiteX27" fmla="*/ 520810 w 624177"/>
                                                                                          <a:gd name="connsiteY27" fmla="*/ 290223 h 906449"/>
                                                                                          <a:gd name="connsiteX28" fmla="*/ 516835 w 624177"/>
                                                                                          <a:gd name="connsiteY28" fmla="*/ 318052 h 906449"/>
                                                                                          <a:gd name="connsiteX29" fmla="*/ 512859 w 624177"/>
                                                                                          <a:gd name="connsiteY29" fmla="*/ 329979 h 906449"/>
                                                                                          <a:gd name="connsiteX30" fmla="*/ 500932 w 624177"/>
                                                                                          <a:gd name="connsiteY30" fmla="*/ 337930 h 906449"/>
                                                                                          <a:gd name="connsiteX31" fmla="*/ 485029 w 624177"/>
                                                                                          <a:gd name="connsiteY31" fmla="*/ 353833 h 906449"/>
                                                                                          <a:gd name="connsiteX32" fmla="*/ 485029 w 624177"/>
                                                                                          <a:gd name="connsiteY32" fmla="*/ 353833 h 906449"/>
                                                                                          <a:gd name="connsiteX33" fmla="*/ 477078 w 624177"/>
                                                                                          <a:gd name="connsiteY33" fmla="*/ 365760 h 906449"/>
                                                                                          <a:gd name="connsiteX34" fmla="*/ 473102 w 624177"/>
                                                                                          <a:gd name="connsiteY34" fmla="*/ 377687 h 906449"/>
                                                                                          <a:gd name="connsiteX35" fmla="*/ 449249 w 624177"/>
                                                                                          <a:gd name="connsiteY35" fmla="*/ 385638 h 906449"/>
                                                                                          <a:gd name="connsiteX36" fmla="*/ 441297 w 624177"/>
                                                                                          <a:gd name="connsiteY36" fmla="*/ 393590 h 906449"/>
                                                                                          <a:gd name="connsiteX37" fmla="*/ 453224 w 624177"/>
                                                                                          <a:gd name="connsiteY37" fmla="*/ 413468 h 906449"/>
                                                                                          <a:gd name="connsiteX38" fmla="*/ 449249 w 624177"/>
                                                                                          <a:gd name="connsiteY38" fmla="*/ 445273 h 906449"/>
                                                                                          <a:gd name="connsiteX39" fmla="*/ 433346 w 624177"/>
                                                                                          <a:gd name="connsiteY39" fmla="*/ 461176 h 906449"/>
                                                                                          <a:gd name="connsiteX40" fmla="*/ 429370 w 624177"/>
                                                                                          <a:gd name="connsiteY40" fmla="*/ 473103 h 906449"/>
                                                                                          <a:gd name="connsiteX41" fmla="*/ 405516 w 624177"/>
                                                                                          <a:gd name="connsiteY41" fmla="*/ 489005 h 906449"/>
                                                                                          <a:gd name="connsiteX42" fmla="*/ 385638 w 624177"/>
                                                                                          <a:gd name="connsiteY42" fmla="*/ 485030 h 906449"/>
                                                                                          <a:gd name="connsiteX43" fmla="*/ 377687 w 624177"/>
                                                                                          <a:gd name="connsiteY43" fmla="*/ 477078 h 906449"/>
                                                                                          <a:gd name="connsiteX44" fmla="*/ 361784 w 624177"/>
                                                                                          <a:gd name="connsiteY44" fmla="*/ 481054 h 906449"/>
                                                                                          <a:gd name="connsiteX45" fmla="*/ 365760 w 624177"/>
                                                                                          <a:gd name="connsiteY45" fmla="*/ 500932 h 906449"/>
                                                                                          <a:gd name="connsiteX46" fmla="*/ 369736 w 624177"/>
                                                                                          <a:gd name="connsiteY46" fmla="*/ 556591 h 906449"/>
                                                                                          <a:gd name="connsiteX47" fmla="*/ 385638 w 624177"/>
                                                                                          <a:gd name="connsiteY47" fmla="*/ 592372 h 906449"/>
                                                                                          <a:gd name="connsiteX48" fmla="*/ 389614 w 624177"/>
                                                                                          <a:gd name="connsiteY48" fmla="*/ 604299 h 906449"/>
                                                                                          <a:gd name="connsiteX49" fmla="*/ 357809 w 624177"/>
                                                                                          <a:gd name="connsiteY49" fmla="*/ 620202 h 906449"/>
                                                                                          <a:gd name="connsiteX50" fmla="*/ 345882 w 624177"/>
                                                                                          <a:gd name="connsiteY50" fmla="*/ 644056 h 906449"/>
                                                                                          <a:gd name="connsiteX51" fmla="*/ 333955 w 624177"/>
                                                                                          <a:gd name="connsiteY51" fmla="*/ 648031 h 906449"/>
                                                                                          <a:gd name="connsiteX52" fmla="*/ 322028 w 624177"/>
                                                                                          <a:gd name="connsiteY52" fmla="*/ 655983 h 906449"/>
                                                                                          <a:gd name="connsiteX53" fmla="*/ 318052 w 624177"/>
                                                                                          <a:gd name="connsiteY53" fmla="*/ 667910 h 906449"/>
                                                                                          <a:gd name="connsiteX54" fmla="*/ 310101 w 624177"/>
                                                                                          <a:gd name="connsiteY54" fmla="*/ 679836 h 906449"/>
                                                                                          <a:gd name="connsiteX55" fmla="*/ 314076 w 624177"/>
                                                                                          <a:gd name="connsiteY55" fmla="*/ 719593 h 906449"/>
                                                                                          <a:gd name="connsiteX56" fmla="*/ 318052 w 624177"/>
                                                                                          <a:gd name="connsiteY56" fmla="*/ 731520 h 906449"/>
                                                                                          <a:gd name="connsiteX57" fmla="*/ 329979 w 624177"/>
                                                                                          <a:gd name="connsiteY57" fmla="*/ 739471 h 906449"/>
                                                                                          <a:gd name="connsiteX58" fmla="*/ 341906 w 624177"/>
                                                                                          <a:gd name="connsiteY58" fmla="*/ 743447 h 906449"/>
                                                                                          <a:gd name="connsiteX59" fmla="*/ 306125 w 624177"/>
                                                                                          <a:gd name="connsiteY59" fmla="*/ 771276 h 906449"/>
                                                                                          <a:gd name="connsiteX60" fmla="*/ 290222 w 624177"/>
                                                                                          <a:gd name="connsiteY60" fmla="*/ 787179 h 906449"/>
                                                                                          <a:gd name="connsiteX61" fmla="*/ 278296 w 624177"/>
                                                                                          <a:gd name="connsiteY61" fmla="*/ 791155 h 906449"/>
                                                                                          <a:gd name="connsiteX62" fmla="*/ 270344 w 624177"/>
                                                                                          <a:gd name="connsiteY62" fmla="*/ 799106 h 906449"/>
                                                                                          <a:gd name="connsiteX63" fmla="*/ 258417 w 624177"/>
                                                                                          <a:gd name="connsiteY63" fmla="*/ 803082 h 906449"/>
                                                                                          <a:gd name="connsiteX64" fmla="*/ 246490 w 624177"/>
                                                                                          <a:gd name="connsiteY64" fmla="*/ 811033 h 906449"/>
                                                                                          <a:gd name="connsiteX65" fmla="*/ 242515 w 624177"/>
                                                                                          <a:gd name="connsiteY65" fmla="*/ 826936 h 906449"/>
                                                                                          <a:gd name="connsiteX66" fmla="*/ 226612 w 624177"/>
                                                                                          <a:gd name="connsiteY66" fmla="*/ 894522 h 906449"/>
                                                                                          <a:gd name="connsiteX67" fmla="*/ 202758 w 624177"/>
                                                                                          <a:gd name="connsiteY67" fmla="*/ 906449 h 906449"/>
                                                                                          <a:gd name="connsiteX68" fmla="*/ 131196 w 624177"/>
                                                                                          <a:gd name="connsiteY68" fmla="*/ 902473 h 906449"/>
                                                                                          <a:gd name="connsiteX69" fmla="*/ 123245 w 624177"/>
                                                                                          <a:gd name="connsiteY69" fmla="*/ 890546 h 906449"/>
                                                                                          <a:gd name="connsiteX70" fmla="*/ 111318 w 624177"/>
                                                                                          <a:gd name="connsiteY70" fmla="*/ 882595 h 906449"/>
                                                                                          <a:gd name="connsiteX71" fmla="*/ 87464 w 624177"/>
                                                                                          <a:gd name="connsiteY71" fmla="*/ 874643 h 906449"/>
                                                                                          <a:gd name="connsiteX72" fmla="*/ 63610 w 624177"/>
                                                                                          <a:gd name="connsiteY72" fmla="*/ 866692 h 906449"/>
                                                                                          <a:gd name="connsiteX73" fmla="*/ 51683 w 624177"/>
                                                                                          <a:gd name="connsiteY73" fmla="*/ 862716 h 906449"/>
                                                                                          <a:gd name="connsiteX74" fmla="*/ 0 w 624177"/>
                                                                                          <a:gd name="connsiteY74" fmla="*/ 854765 h 906449"/>
                                                                                          <a:gd name="connsiteX75" fmla="*/ 7951 w 624177"/>
                                                                                          <a:gd name="connsiteY75" fmla="*/ 842838 h 906449"/>
                                                                                          <a:gd name="connsiteX76" fmla="*/ 19878 w 624177"/>
                                                                                          <a:gd name="connsiteY76" fmla="*/ 834887 h 906449"/>
                                                                                          <a:gd name="connsiteX77" fmla="*/ 23854 w 624177"/>
                                                                                          <a:gd name="connsiteY77" fmla="*/ 822960 h 906449"/>
                                                                                          <a:gd name="connsiteX78" fmla="*/ 39756 w 624177"/>
                                                                                          <a:gd name="connsiteY78" fmla="*/ 799106 h 906449"/>
                                                                                          <a:gd name="connsiteX79" fmla="*/ 47708 w 624177"/>
                                                                                          <a:gd name="connsiteY79" fmla="*/ 775252 h 906449"/>
                                                                                          <a:gd name="connsiteX80" fmla="*/ 51683 w 624177"/>
                                                                                          <a:gd name="connsiteY80" fmla="*/ 763325 h 906449"/>
                                                                                          <a:gd name="connsiteX81" fmla="*/ 63610 w 624177"/>
                                                                                          <a:gd name="connsiteY81" fmla="*/ 759350 h 906449"/>
                                                                                          <a:gd name="connsiteX82" fmla="*/ 71562 w 624177"/>
                                                                                          <a:gd name="connsiteY82" fmla="*/ 751398 h 906449"/>
                                                                                          <a:gd name="connsiteX83" fmla="*/ 83489 w 624177"/>
                                                                                          <a:gd name="connsiteY83" fmla="*/ 747423 h 906449"/>
                                                                                          <a:gd name="connsiteX84" fmla="*/ 75537 w 624177"/>
                                                                                          <a:gd name="connsiteY84" fmla="*/ 723569 h 906449"/>
                                                                                          <a:gd name="connsiteX85" fmla="*/ 71562 w 624177"/>
                                                                                          <a:gd name="connsiteY85" fmla="*/ 711642 h 906449"/>
                                                                                          <a:gd name="connsiteX86" fmla="*/ 55659 w 624177"/>
                                                                                          <a:gd name="connsiteY86" fmla="*/ 687788 h 906449"/>
                                                                                          <a:gd name="connsiteX87" fmla="*/ 59635 w 624177"/>
                                                                                          <a:gd name="connsiteY87" fmla="*/ 675861 h 906449"/>
                                                                                          <a:gd name="connsiteX88" fmla="*/ 71562 w 624177"/>
                                                                                          <a:gd name="connsiteY88" fmla="*/ 671885 h 906449"/>
                                                                                          <a:gd name="connsiteX89" fmla="*/ 83489 w 624177"/>
                                                                                          <a:gd name="connsiteY89" fmla="*/ 663934 h 906449"/>
                                                                                          <a:gd name="connsiteX90" fmla="*/ 91440 w 624177"/>
                                                                                          <a:gd name="connsiteY90" fmla="*/ 652007 h 906449"/>
                                                                                          <a:gd name="connsiteX91" fmla="*/ 95416 w 624177"/>
                                                                                          <a:gd name="connsiteY91" fmla="*/ 640080 h 906449"/>
                                                                                          <a:gd name="connsiteX92" fmla="*/ 107342 w 624177"/>
                                                                                          <a:gd name="connsiteY92" fmla="*/ 628153 h 906449"/>
                                                                                          <a:gd name="connsiteX93" fmla="*/ 115294 w 624177"/>
                                                                                          <a:gd name="connsiteY93" fmla="*/ 604299 h 906449"/>
                                                                                          <a:gd name="connsiteX94" fmla="*/ 119269 w 624177"/>
                                                                                          <a:gd name="connsiteY94" fmla="*/ 592372 h 906449"/>
                                                                                          <a:gd name="connsiteX95" fmla="*/ 87464 w 624177"/>
                                                                                          <a:gd name="connsiteY95" fmla="*/ 588396 h 906449"/>
                                                                                          <a:gd name="connsiteX96" fmla="*/ 71562 w 624177"/>
                                                                                          <a:gd name="connsiteY96" fmla="*/ 584421 h 906449"/>
                                                                                          <a:gd name="connsiteX97" fmla="*/ 75537 w 624177"/>
                                                                                          <a:gd name="connsiteY97" fmla="*/ 560567 h 906449"/>
                                                                                          <a:gd name="connsiteX98" fmla="*/ 107342 w 624177"/>
                                                                                          <a:gd name="connsiteY98" fmla="*/ 560567 h 906449"/>
                                                                                          <a:gd name="connsiteX99" fmla="*/ 115294 w 624177"/>
                                                                                          <a:gd name="connsiteY99" fmla="*/ 552616 h 906449"/>
                                                                                          <a:gd name="connsiteX100" fmla="*/ 111318 w 624177"/>
                                                                                          <a:gd name="connsiteY100" fmla="*/ 532737 h 906449"/>
                                                                                          <a:gd name="connsiteX101" fmla="*/ 91440 w 624177"/>
                                                                                          <a:gd name="connsiteY101" fmla="*/ 536713 h 906449"/>
                                                                                          <a:gd name="connsiteX102" fmla="*/ 55659 w 624177"/>
                                                                                          <a:gd name="connsiteY102" fmla="*/ 528762 h 906449"/>
                                                                                          <a:gd name="connsiteX103" fmla="*/ 43732 w 624177"/>
                                                                                          <a:gd name="connsiteY103" fmla="*/ 508883 h 906449"/>
                                                                                          <a:gd name="connsiteX104" fmla="*/ 55659 w 624177"/>
                                                                                          <a:gd name="connsiteY104" fmla="*/ 500932 h 906449"/>
                                                                                          <a:gd name="connsiteX105" fmla="*/ 71562 w 624177"/>
                                                                                          <a:gd name="connsiteY105" fmla="*/ 465151 h 906449"/>
                                                                                          <a:gd name="connsiteX106" fmla="*/ 83489 w 624177"/>
                                                                                          <a:gd name="connsiteY106" fmla="*/ 445273 h 906449"/>
                                                                                          <a:gd name="connsiteX107" fmla="*/ 95416 w 624177"/>
                                                                                          <a:gd name="connsiteY107" fmla="*/ 425395 h 906449"/>
                                                                                          <a:gd name="connsiteX108" fmla="*/ 119269 w 624177"/>
                                                                                          <a:gd name="connsiteY108" fmla="*/ 417443 h 906449"/>
                                                                                          <a:gd name="connsiteX109" fmla="*/ 135172 w 624177"/>
                                                                                          <a:gd name="connsiteY109" fmla="*/ 397565 h 906449"/>
                                                                                          <a:gd name="connsiteX110" fmla="*/ 139148 w 624177"/>
                                                                                          <a:gd name="connsiteY110" fmla="*/ 385638 h 906449"/>
                                                                                          <a:gd name="connsiteX111" fmla="*/ 151075 w 624177"/>
                                                                                          <a:gd name="connsiteY111" fmla="*/ 377687 h 906449"/>
                                                                                          <a:gd name="connsiteX112" fmla="*/ 155050 w 624177"/>
                                                                                          <a:gd name="connsiteY112" fmla="*/ 365760 h 906449"/>
                                                                                          <a:gd name="connsiteX113" fmla="*/ 174929 w 624177"/>
                                                                                          <a:gd name="connsiteY113" fmla="*/ 353833 h 906449"/>
                                                                                          <a:gd name="connsiteX114" fmla="*/ 186856 w 624177"/>
                                                                                          <a:gd name="connsiteY114" fmla="*/ 345882 h 906449"/>
                                                                                          <a:gd name="connsiteX115" fmla="*/ 190831 w 624177"/>
                                                                                          <a:gd name="connsiteY115" fmla="*/ 333955 h 906449"/>
                                                                                          <a:gd name="connsiteX116" fmla="*/ 198782 w 624177"/>
                                                                                          <a:gd name="connsiteY116" fmla="*/ 326003 h 906449"/>
                                                                                          <a:gd name="connsiteX117" fmla="*/ 206734 w 624177"/>
                                                                                          <a:gd name="connsiteY117" fmla="*/ 302150 h 906449"/>
                                                                                          <a:gd name="connsiteX118" fmla="*/ 222636 w 624177"/>
                                                                                          <a:gd name="connsiteY118" fmla="*/ 282271 h 906449"/>
                                                                                          <a:gd name="connsiteX119" fmla="*/ 226612 w 624177"/>
                                                                                          <a:gd name="connsiteY119" fmla="*/ 270344 h 906449"/>
                                                                                          <a:gd name="connsiteX120" fmla="*/ 242515 w 624177"/>
                                                                                          <a:gd name="connsiteY120" fmla="*/ 254442 h 906449"/>
                                                                                          <a:gd name="connsiteX121" fmla="*/ 242515 w 624177"/>
                                                                                          <a:gd name="connsiteY121" fmla="*/ 254442 h 906449"/>
                                                                                          <a:gd name="connsiteX122" fmla="*/ 266369 w 624177"/>
                                                                                          <a:gd name="connsiteY122" fmla="*/ 226612 h 906449"/>
                                                                                          <a:gd name="connsiteX123" fmla="*/ 258417 w 624177"/>
                                                                                          <a:gd name="connsiteY123" fmla="*/ 218661 h 906449"/>
                                                                                          <a:gd name="connsiteX124" fmla="*/ 286247 w 624177"/>
                                                                                          <a:gd name="connsiteY124" fmla="*/ 194807 h 906449"/>
                                                                                          <a:gd name="connsiteX125" fmla="*/ 290222 w 624177"/>
                                                                                          <a:gd name="connsiteY125" fmla="*/ 178904 h 906449"/>
                                                                                          <a:gd name="connsiteX126" fmla="*/ 294198 w 624177"/>
                                                                                          <a:gd name="connsiteY126" fmla="*/ 127221 h 906449"/>
                                                                                          <a:gd name="connsiteX127" fmla="*/ 302149 w 624177"/>
                                                                                          <a:gd name="connsiteY127" fmla="*/ 103367 h 906449"/>
                                                                                          <a:gd name="connsiteX128" fmla="*/ 306125 w 624177"/>
                                                                                          <a:gd name="connsiteY128" fmla="*/ 75537 h 906449"/>
                                                                                          <a:gd name="connsiteX129" fmla="*/ 314076 w 624177"/>
                                                                                          <a:gd name="connsiteY129" fmla="*/ 27830 h 906449"/>
                                                                                          <a:gd name="connsiteX130" fmla="*/ 322028 w 624177"/>
                                                                                          <a:gd name="connsiteY130" fmla="*/ 19878 h 906449"/>
                                                                                          <a:gd name="connsiteX131" fmla="*/ 314076 w 624177"/>
                                                                                          <a:gd name="connsiteY131" fmla="*/ 0 h 90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624177" h="906449">
                                                                                            <a:moveTo>
                                                                                              <a:pt x="314076" y="0"/>
                                                                                            </a:moveTo>
                                                                                            <a:lnTo>
                                                                                              <a:pt x="314076" y="0"/>
                                                                                            </a:lnTo>
                                                                                            <a:cubicBezTo>
                                                                                              <a:pt x="326003" y="1325"/>
                                                                                              <a:pt x="337898" y="2979"/>
                                                                                              <a:pt x="349857" y="3976"/>
                                                                                            </a:cubicBezTo>
                                                                                            <a:cubicBezTo>
                                                                                              <a:pt x="414385" y="9353"/>
                                                                                              <a:pt x="395189" y="-6354"/>
                                                                                              <a:pt x="417443" y="15903"/>
                                                                                            </a:cubicBezTo>
                                                                                            <a:cubicBezTo>
                                                                                              <a:pt x="416118" y="22529"/>
                                                                                              <a:pt x="416130" y="29570"/>
                                                                                              <a:pt x="413468" y="35781"/>
                                                                                            </a:cubicBezTo>
                                                                                            <a:cubicBezTo>
                                                                                              <a:pt x="411991" y="39226"/>
                                                                                              <a:pt x="407192" y="40379"/>
                                                                                              <a:pt x="405516" y="43732"/>
                                                                                            </a:cubicBezTo>
                                                                                            <a:cubicBezTo>
                                                                                              <a:pt x="401768" y="51229"/>
                                                                                              <a:pt x="397565" y="67586"/>
                                                                                              <a:pt x="397565" y="67586"/>
                                                                                            </a:cubicBezTo>
                                                                                            <a:cubicBezTo>
                                                                                              <a:pt x="424414" y="76537"/>
                                                                                              <a:pt x="391364" y="67586"/>
                                                                                              <a:pt x="433346" y="67586"/>
                                                                                            </a:cubicBezTo>
                                                                                            <a:cubicBezTo>
                                                                                              <a:pt x="437537" y="67586"/>
                                                                                              <a:pt x="441297" y="70237"/>
                                                                                              <a:pt x="445273" y="71562"/>
                                                                                            </a:cubicBezTo>
                                                                                            <a:cubicBezTo>
                                                                                              <a:pt x="447923" y="75538"/>
                                                                                              <a:pt x="449172" y="80957"/>
                                                                                              <a:pt x="453224" y="83489"/>
                                                                                            </a:cubicBezTo>
                                                                                            <a:cubicBezTo>
                                                                                              <a:pt x="460331" y="87931"/>
                                                                                              <a:pt x="469581" y="87692"/>
                                                                                              <a:pt x="477078" y="91440"/>
                                                                                            </a:cubicBezTo>
                                                                                            <a:cubicBezTo>
                                                                                              <a:pt x="482379" y="94090"/>
                                                                                              <a:pt x="487478" y="97190"/>
                                                                                              <a:pt x="492981" y="99391"/>
                                                                                            </a:cubicBezTo>
                                                                                            <a:cubicBezTo>
                                                                                              <a:pt x="500763" y="102504"/>
                                                                                              <a:pt x="516835" y="107343"/>
                                                                                              <a:pt x="516835" y="107343"/>
                                                                                            </a:cubicBezTo>
                                                                                            <a:cubicBezTo>
                                                                                              <a:pt x="524786" y="104692"/>
                                                                                              <a:pt x="532738" y="96740"/>
                                                                                              <a:pt x="540689" y="99391"/>
                                                                                            </a:cubicBezTo>
                                                                                            <a:cubicBezTo>
                                                                                              <a:pt x="548640" y="102042"/>
                                                                                              <a:pt x="556411" y="105311"/>
                                                                                              <a:pt x="564542" y="107343"/>
                                                                                            </a:cubicBezTo>
                                                                                            <a:cubicBezTo>
                                                                                              <a:pt x="569643" y="108618"/>
                                                                                              <a:pt x="586664" y="112440"/>
                                                                                              <a:pt x="592372" y="115294"/>
                                                                                            </a:cubicBezTo>
                                                                                            <a:cubicBezTo>
                                                                                              <a:pt x="596646" y="117431"/>
                                                                                              <a:pt x="600323" y="120595"/>
                                                                                              <a:pt x="604299" y="123245"/>
                                                                                            </a:cubicBezTo>
                                                                                            <a:cubicBezTo>
                                                                                              <a:pt x="605624" y="127221"/>
                                                                                              <a:pt x="608275" y="130981"/>
                                                                                              <a:pt x="608275" y="135172"/>
                                                                                            </a:cubicBezTo>
                                                                                            <a:cubicBezTo>
                                                                                              <a:pt x="608275" y="154257"/>
                                                                                              <a:pt x="597672" y="139941"/>
                                                                                              <a:pt x="608275" y="159026"/>
                                                                                            </a:cubicBezTo>
                                                                                            <a:cubicBezTo>
                                                                                              <a:pt x="612916" y="167380"/>
                                                                                              <a:pt x="624177" y="182880"/>
                                                                                              <a:pt x="624177" y="182880"/>
                                                                                            </a:cubicBezTo>
                                                                                            <a:cubicBezTo>
                                                                                              <a:pt x="622852" y="188181"/>
                                                                                              <a:pt x="623615" y="194516"/>
                                                                                              <a:pt x="620202" y="198783"/>
                                                                                            </a:cubicBezTo>
                                                                                            <a:cubicBezTo>
                                                                                              <a:pt x="617584" y="202055"/>
                                                                                              <a:pt x="611868" y="200602"/>
                                                                                              <a:pt x="608275" y="202758"/>
                                                                                            </a:cubicBezTo>
                                                                                            <a:cubicBezTo>
                                                                                              <a:pt x="580988" y="219129"/>
                                                                                              <a:pt x="622181" y="203425"/>
                                                                                              <a:pt x="588396" y="214685"/>
                                                                                            </a:cubicBezTo>
                                                                                            <a:cubicBezTo>
                                                                                              <a:pt x="583078" y="230640"/>
                                                                                              <a:pt x="585057" y="240977"/>
                                                                                              <a:pt x="568518" y="246490"/>
                                                                                            </a:cubicBezTo>
                                                                                            <a:cubicBezTo>
                                                                                              <a:pt x="560871" y="249039"/>
                                                                                              <a:pt x="552484" y="248511"/>
                                                                                              <a:pt x="544664" y="250466"/>
                                                                                            </a:cubicBezTo>
                                                                                            <a:cubicBezTo>
                                                                                              <a:pt x="536533" y="252499"/>
                                                                                              <a:pt x="520810" y="258417"/>
                                                                                              <a:pt x="520810" y="258417"/>
                                                                                            </a:cubicBezTo>
                                                                                            <a:cubicBezTo>
                                                                                              <a:pt x="519485" y="262393"/>
                                                                                              <a:pt x="516835" y="266153"/>
                                                                                              <a:pt x="516835" y="270344"/>
                                                                                            </a:cubicBezTo>
                                                                                            <a:cubicBezTo>
                                                                                              <a:pt x="516835" y="277102"/>
                                                                                              <a:pt x="520810" y="283465"/>
                                                                                              <a:pt x="520810" y="290223"/>
                                                                                            </a:cubicBezTo>
                                                                                            <a:cubicBezTo>
                                                                                              <a:pt x="520810" y="299593"/>
                                                                                              <a:pt x="518673" y="308863"/>
                                                                                              <a:pt x="516835" y="318052"/>
                                                                                            </a:cubicBezTo>
                                                                                            <a:cubicBezTo>
                                                                                              <a:pt x="516013" y="322161"/>
                                                                                              <a:pt x="515477" y="326707"/>
                                                                                              <a:pt x="512859" y="329979"/>
                                                                                            </a:cubicBezTo>
                                                                                            <a:cubicBezTo>
                                                                                              <a:pt x="509874" y="333710"/>
                                                                                              <a:pt x="504560" y="334820"/>
                                                                                              <a:pt x="500932" y="337930"/>
                                                                                            </a:cubicBezTo>
                                                                                            <a:cubicBezTo>
                                                                                              <a:pt x="495240" y="342809"/>
                                                                                              <a:pt x="490330" y="348532"/>
                                                                                              <a:pt x="485029" y="353833"/>
                                                                                            </a:cubicBezTo>
                                                                                            <a:lnTo>
                                                                                              <a:pt x="485029" y="353833"/>
                                                                                            </a:lnTo>
                                                                                            <a:cubicBezTo>
                                                                                              <a:pt x="482379" y="357809"/>
                                                                                              <a:pt x="479215" y="361486"/>
                                                                                              <a:pt x="477078" y="365760"/>
                                                                                            </a:cubicBezTo>
                                                                                            <a:cubicBezTo>
                                                                                              <a:pt x="475204" y="369508"/>
                                                                                              <a:pt x="476512" y="375251"/>
                                                                                              <a:pt x="473102" y="377687"/>
                                                                                            </a:cubicBezTo>
                                                                                            <a:cubicBezTo>
                                                                                              <a:pt x="466282" y="382558"/>
                                                                                              <a:pt x="449249" y="385638"/>
                                                                                              <a:pt x="449249" y="385638"/>
                                                                                            </a:cubicBezTo>
                                                                                            <a:cubicBezTo>
                                                                                              <a:pt x="446598" y="388289"/>
                                                                                              <a:pt x="442032" y="389914"/>
                                                                                              <a:pt x="441297" y="393590"/>
                                                                                            </a:cubicBezTo>
                                                                                            <a:cubicBezTo>
                                                                                              <a:pt x="439577" y="402190"/>
                                                                                              <a:pt x="448466" y="408709"/>
                                                                                              <a:pt x="453224" y="413468"/>
                                                                                            </a:cubicBezTo>
                                                                                            <a:cubicBezTo>
                                                                                              <a:pt x="451899" y="424070"/>
                                                                                              <a:pt x="453358" y="435411"/>
                                                                                              <a:pt x="449249" y="445273"/>
                                                                                            </a:cubicBezTo>
                                                                                            <a:cubicBezTo>
                                                                                              <a:pt x="446366" y="452193"/>
                                                                                              <a:pt x="433346" y="461176"/>
                                                                                              <a:pt x="433346" y="461176"/>
                                                                                            </a:cubicBezTo>
                                                                                            <a:cubicBezTo>
                                                                                              <a:pt x="432021" y="465152"/>
                                                                                              <a:pt x="432333" y="470140"/>
                                                                                              <a:pt x="429370" y="473103"/>
                                                                                            </a:cubicBezTo>
                                                                                            <a:cubicBezTo>
                                                                                              <a:pt x="422613" y="479860"/>
                                                                                              <a:pt x="405516" y="489005"/>
                                                                                              <a:pt x="405516" y="489005"/>
                                                                                            </a:cubicBezTo>
                                                                                            <a:cubicBezTo>
                                                                                              <a:pt x="398890" y="487680"/>
                                                                                              <a:pt x="391849" y="487692"/>
                                                                                              <a:pt x="385638" y="485030"/>
                                                                                            </a:cubicBezTo>
                                                                                            <a:cubicBezTo>
                                                                                              <a:pt x="382193" y="483553"/>
                                                                                              <a:pt x="381384" y="477694"/>
                                                                                              <a:pt x="377687" y="477078"/>
                                                                                            </a:cubicBezTo>
                                                                                            <a:cubicBezTo>
                                                                                              <a:pt x="372297" y="476180"/>
                                                                                              <a:pt x="367085" y="479729"/>
                                                                                              <a:pt x="361784" y="481054"/>
                                                                                            </a:cubicBezTo>
                                                                                            <a:cubicBezTo>
                                                                                              <a:pt x="363109" y="487680"/>
                                                                                              <a:pt x="365053" y="494212"/>
                                                                                              <a:pt x="365760" y="500932"/>
                                                                                            </a:cubicBezTo>
                                                                                            <a:cubicBezTo>
                                                                                              <a:pt x="367707" y="519430"/>
                                                                                              <a:pt x="366977" y="538197"/>
                                                                                              <a:pt x="369736" y="556591"/>
                                                                                            </a:cubicBezTo>
                                                                                            <a:cubicBezTo>
                                                                                              <a:pt x="374132" y="585895"/>
                                                                                              <a:pt x="375926" y="572948"/>
                                                                                              <a:pt x="385638" y="592372"/>
                                                                                            </a:cubicBezTo>
                                                                                            <a:cubicBezTo>
                                                                                              <a:pt x="387512" y="596120"/>
                                                                                              <a:pt x="388289" y="600323"/>
                                                                                              <a:pt x="389614" y="604299"/>
                                                                                            </a:cubicBezTo>
                                                                                            <a:cubicBezTo>
                                                                                              <a:pt x="362204" y="613435"/>
                                                                                              <a:pt x="371686" y="606323"/>
                                                                                              <a:pt x="357809" y="620202"/>
                                                                                            </a:cubicBezTo>
                                                                                            <a:cubicBezTo>
                                                                                              <a:pt x="355190" y="628058"/>
                                                                                              <a:pt x="352887" y="638452"/>
                                                                                              <a:pt x="345882" y="644056"/>
                                                                                            </a:cubicBezTo>
                                                                                            <a:cubicBezTo>
                                                                                              <a:pt x="342610" y="646674"/>
                                                                                              <a:pt x="337931" y="646706"/>
                                                                                              <a:pt x="333955" y="648031"/>
                                                                                            </a:cubicBezTo>
                                                                                            <a:cubicBezTo>
                                                                                              <a:pt x="329979" y="650682"/>
                                                                                              <a:pt x="325013" y="652252"/>
                                                                                              <a:pt x="322028" y="655983"/>
                                                                                            </a:cubicBezTo>
                                                                                            <a:cubicBezTo>
                                                                                              <a:pt x="319410" y="659255"/>
                                                                                              <a:pt x="319926" y="664162"/>
                                                                                              <a:pt x="318052" y="667910"/>
                                                                                            </a:cubicBezTo>
                                                                                            <a:cubicBezTo>
                                                                                              <a:pt x="315915" y="672183"/>
                                                                                              <a:pt x="312751" y="675861"/>
                                                                                              <a:pt x="310101" y="679836"/>
                                                                                            </a:cubicBezTo>
                                                                                            <a:cubicBezTo>
                                                                                              <a:pt x="311426" y="693088"/>
                                                                                              <a:pt x="312051" y="706429"/>
                                                                                              <a:pt x="314076" y="719593"/>
                                                                                            </a:cubicBezTo>
                                                                                            <a:cubicBezTo>
                                                                                              <a:pt x="314713" y="723735"/>
                                                                                              <a:pt x="315434" y="728248"/>
                                                                                              <a:pt x="318052" y="731520"/>
                                                                                            </a:cubicBezTo>
                                                                                            <a:cubicBezTo>
                                                                                              <a:pt x="321037" y="735251"/>
                                                                                              <a:pt x="325705" y="737334"/>
                                                                                              <a:pt x="329979" y="739471"/>
                                                                                            </a:cubicBezTo>
                                                                                            <a:cubicBezTo>
                                                                                              <a:pt x="333727" y="741345"/>
                                                                                              <a:pt x="337930" y="742122"/>
                                                                                              <a:pt x="341906" y="743447"/>
                                                                                            </a:cubicBezTo>
                                                                                            <a:cubicBezTo>
                                                                                              <a:pt x="334604" y="787253"/>
                                                                                              <a:pt x="348008" y="753825"/>
                                                                                              <a:pt x="306125" y="771276"/>
                                                                                            </a:cubicBezTo>
                                                                                            <a:cubicBezTo>
                                                                                              <a:pt x="299205" y="774159"/>
                                                                                              <a:pt x="297334" y="784808"/>
                                                                                              <a:pt x="290222" y="787179"/>
                                                                                            </a:cubicBezTo>
                                                                                            <a:lnTo>
                                                                                              <a:pt x="278296" y="791155"/>
                                                                                            </a:lnTo>
                                                                                            <a:cubicBezTo>
                                                                                              <a:pt x="275645" y="793805"/>
                                                                                              <a:pt x="273558" y="797178"/>
                                                                                              <a:pt x="270344" y="799106"/>
                                                                                            </a:cubicBezTo>
                                                                                            <a:cubicBezTo>
                                                                                              <a:pt x="266750" y="801262"/>
                                                                                              <a:pt x="262165" y="801208"/>
                                                                                              <a:pt x="258417" y="803082"/>
                                                                                            </a:cubicBezTo>
                                                                                            <a:cubicBezTo>
                                                                                              <a:pt x="254143" y="805219"/>
                                                                                              <a:pt x="250466" y="808383"/>
                                                                                              <a:pt x="246490" y="811033"/>
                                                                                            </a:cubicBezTo>
                                                                                            <a:cubicBezTo>
                                                                                              <a:pt x="245165" y="816334"/>
                                                                                              <a:pt x="243237" y="821520"/>
                                                                                              <a:pt x="242515" y="826936"/>
                                                                                            </a:cubicBezTo>
                                                                                            <a:cubicBezTo>
                                                                                              <a:pt x="239832" y="847058"/>
                                                                                              <a:pt x="243648" y="877486"/>
                                                                                              <a:pt x="226612" y="894522"/>
                                                                                            </a:cubicBezTo>
                                                                                            <a:cubicBezTo>
                                                                                              <a:pt x="218906" y="902228"/>
                                                                                              <a:pt x="212457" y="903216"/>
                                                                                              <a:pt x="202758" y="906449"/>
                                                                                            </a:cubicBezTo>
                                                                                            <a:cubicBezTo>
                                                                                              <a:pt x="178904" y="905124"/>
                                                                                              <a:pt x="154623" y="907158"/>
                                                                                              <a:pt x="131196" y="902473"/>
                                                                                            </a:cubicBezTo>
                                                                                            <a:cubicBezTo>
                                                                                              <a:pt x="126511" y="901536"/>
                                                                                              <a:pt x="126624" y="893925"/>
                                                                                              <a:pt x="123245" y="890546"/>
                                                                                            </a:cubicBezTo>
                                                                                            <a:cubicBezTo>
                                                                                              <a:pt x="119866" y="887167"/>
                                                                                              <a:pt x="115684" y="884536"/>
                                                                                              <a:pt x="111318" y="882595"/>
                                                                                            </a:cubicBezTo>
                                                                                            <a:cubicBezTo>
                                                                                              <a:pt x="103659" y="879191"/>
                                                                                              <a:pt x="95415" y="877293"/>
                                                                                              <a:pt x="87464" y="874643"/>
                                                                                            </a:cubicBezTo>
                                                                                            <a:lnTo>
                                                                                              <a:pt x="63610" y="866692"/>
                                                                                            </a:lnTo>
                                                                                            <a:cubicBezTo>
                                                                                              <a:pt x="59634" y="865367"/>
                                                                                              <a:pt x="55817" y="863405"/>
                                                                                              <a:pt x="51683" y="862716"/>
                                                                                            </a:cubicBezTo>
                                                                                            <a:cubicBezTo>
                                                                                              <a:pt x="18586" y="857201"/>
                                                                                              <a:pt x="35809" y="859881"/>
                                                                                              <a:pt x="0" y="854765"/>
                                                                                            </a:cubicBezTo>
                                                                                            <a:cubicBezTo>
                                                                                              <a:pt x="2650" y="850789"/>
                                                                                              <a:pt x="4572" y="846217"/>
                                                                                              <a:pt x="7951" y="842838"/>
                                                                                            </a:cubicBezTo>
                                                                                            <a:cubicBezTo>
                                                                                              <a:pt x="11330" y="839459"/>
                                                                                              <a:pt x="16893" y="838618"/>
                                                                                              <a:pt x="19878" y="834887"/>
                                                                                            </a:cubicBezTo>
                                                                                            <a:cubicBezTo>
                                                                                              <a:pt x="22496" y="831615"/>
                                                                                              <a:pt x="21819" y="826623"/>
                                                                                              <a:pt x="23854" y="822960"/>
                                                                                            </a:cubicBezTo>
                                                                                            <a:cubicBezTo>
                                                                                              <a:pt x="28495" y="814606"/>
                                                                                              <a:pt x="36734" y="808172"/>
                                                                                              <a:pt x="39756" y="799106"/>
                                                                                            </a:cubicBezTo>
                                                                                            <a:lnTo>
                                                                                              <a:pt x="47708" y="775252"/>
                                                                                            </a:lnTo>
                                                                                            <a:cubicBezTo>
                                                                                              <a:pt x="49033" y="771276"/>
                                                                                              <a:pt x="47707" y="764650"/>
                                                                                              <a:pt x="51683" y="763325"/>
                                                                                            </a:cubicBezTo>
                                                                                            <a:lnTo>
                                                                                              <a:pt x="63610" y="759350"/>
                                                                                            </a:lnTo>
                                                                                            <a:cubicBezTo>
                                                                                              <a:pt x="66261" y="756699"/>
                                                                                              <a:pt x="68348" y="753327"/>
                                                                                              <a:pt x="71562" y="751398"/>
                                                                                            </a:cubicBezTo>
                                                                                            <a:cubicBezTo>
                                                                                              <a:pt x="75155" y="749242"/>
                                                                                              <a:pt x="82896" y="751572"/>
                                                                                              <a:pt x="83489" y="747423"/>
                                                                                            </a:cubicBezTo>
                                                                                            <a:cubicBezTo>
                                                                                              <a:pt x="84674" y="739126"/>
                                                                                              <a:pt x="78187" y="731520"/>
                                                                                              <a:pt x="75537" y="723569"/>
                                                                                            </a:cubicBezTo>
                                                                                            <a:cubicBezTo>
                                                                                              <a:pt x="74212" y="719593"/>
                                                                                              <a:pt x="73887" y="715129"/>
                                                                                              <a:pt x="71562" y="711642"/>
                                                                                            </a:cubicBezTo>
                                                                                            <a:lnTo>
                                                                                              <a:pt x="55659" y="687788"/>
                                                                                            </a:lnTo>
                                                                                            <a:cubicBezTo>
                                                                                              <a:pt x="56984" y="683812"/>
                                                                                              <a:pt x="56672" y="678824"/>
                                                                                              <a:pt x="59635" y="675861"/>
                                                                                            </a:cubicBezTo>
                                                                                            <a:cubicBezTo>
                                                                                              <a:pt x="62598" y="672898"/>
                                                                                              <a:pt x="67814" y="673759"/>
                                                                                              <a:pt x="71562" y="671885"/>
                                                                                            </a:cubicBezTo>
                                                                                            <a:cubicBezTo>
                                                                                              <a:pt x="75836" y="669748"/>
                                                                                              <a:pt x="79513" y="666584"/>
                                                                                              <a:pt x="83489" y="663934"/>
                                                                                            </a:cubicBezTo>
                                                                                            <a:cubicBezTo>
                                                                                              <a:pt x="86139" y="659958"/>
                                                                                              <a:pt x="89303" y="656281"/>
                                                                                              <a:pt x="91440" y="652007"/>
                                                                                            </a:cubicBezTo>
                                                                                            <a:cubicBezTo>
                                                                                              <a:pt x="93314" y="648259"/>
                                                                                              <a:pt x="93091" y="643567"/>
                                                                                              <a:pt x="95416" y="640080"/>
                                                                                            </a:cubicBezTo>
                                                                                            <a:cubicBezTo>
                                                                                              <a:pt x="98535" y="635402"/>
                                                                                              <a:pt x="103367" y="632129"/>
                                                                                              <a:pt x="107342" y="628153"/>
                                                                                            </a:cubicBezTo>
                                                                                            <a:lnTo>
                                                                                              <a:pt x="115294" y="604299"/>
                                                                                            </a:lnTo>
                                                                                            <a:lnTo>
                                                                                              <a:pt x="119269" y="592372"/>
                                                                                            </a:lnTo>
                                                                                            <a:cubicBezTo>
                                                                                              <a:pt x="108667" y="591047"/>
                                                                                              <a:pt x="98003" y="590152"/>
                                                                                              <a:pt x="87464" y="588396"/>
                                                                                            </a:cubicBezTo>
                                                                                            <a:cubicBezTo>
                                                                                              <a:pt x="82075" y="587498"/>
                                                                                              <a:pt x="73714" y="589443"/>
                                                                                              <a:pt x="71562" y="584421"/>
                                                                                            </a:cubicBezTo>
                                                                                            <a:cubicBezTo>
                                                                                              <a:pt x="68387" y="577012"/>
                                                                                              <a:pt x="74212" y="568518"/>
                                                                                              <a:pt x="75537" y="560567"/>
                                                                                            </a:cubicBezTo>
                                                                                            <a:cubicBezTo>
                                                                                              <a:pt x="89674" y="564101"/>
                                                                                              <a:pt x="93206" y="567635"/>
                                                                                              <a:pt x="107342" y="560567"/>
                                                                                            </a:cubicBezTo>
                                                                                            <a:cubicBezTo>
                                                                                              <a:pt x="110695" y="558891"/>
                                                                                              <a:pt x="112643" y="555266"/>
                                                                                              <a:pt x="115294" y="552616"/>
                                                                                            </a:cubicBezTo>
                                                                                            <a:cubicBezTo>
                                                                                              <a:pt x="113969" y="545990"/>
                                                                                              <a:pt x="116941" y="536485"/>
                                                                                              <a:pt x="111318" y="532737"/>
                                                                                            </a:cubicBezTo>
                                                                                            <a:cubicBezTo>
                                                                                              <a:pt x="105696" y="528989"/>
                                                                                              <a:pt x="98197" y="536713"/>
                                                                                              <a:pt x="91440" y="536713"/>
                                                                                            </a:cubicBezTo>
                                                                                            <a:cubicBezTo>
                                                                                              <a:pt x="77450" y="536713"/>
                                                                                              <a:pt x="67957" y="532861"/>
                                                                                              <a:pt x="55659" y="528762"/>
                                                                                            </a:cubicBezTo>
                                                                                            <a:cubicBezTo>
                                                                                              <a:pt x="51999" y="525101"/>
                                                                                              <a:pt x="40783" y="516255"/>
                                                                                              <a:pt x="43732" y="508883"/>
                                                                                            </a:cubicBezTo>
                                                                                            <a:cubicBezTo>
                                                                                              <a:pt x="45507" y="504447"/>
                                                                                              <a:pt x="51683" y="503582"/>
                                                                                              <a:pt x="55659" y="500932"/>
                                                                                            </a:cubicBezTo>
                                                                                            <a:cubicBezTo>
                                                                                              <a:pt x="65121" y="472545"/>
                                                                                              <a:pt x="58961" y="484052"/>
                                                                                              <a:pt x="71562" y="465151"/>
                                                                                            </a:cubicBezTo>
                                                                                            <a:cubicBezTo>
                                                                                              <a:pt x="82822" y="431364"/>
                                                                                              <a:pt x="67117" y="472559"/>
                                                                                              <a:pt x="83489" y="445273"/>
                                                                                            </a:cubicBezTo>
                                                                                            <a:cubicBezTo>
                                                                                              <a:pt x="89320" y="435554"/>
                                                                                              <a:pt x="83900" y="431153"/>
                                                                                              <a:pt x="95416" y="425395"/>
                                                                                            </a:cubicBezTo>
                                                                                            <a:cubicBezTo>
                                                                                              <a:pt x="102912" y="421647"/>
                                                                                              <a:pt x="119269" y="417443"/>
                                                                                              <a:pt x="119269" y="417443"/>
                                                                                            </a:cubicBezTo>
                                                                                            <a:cubicBezTo>
                                                                                              <a:pt x="126667" y="410046"/>
                                                                                              <a:pt x="130156" y="407598"/>
                                                                                              <a:pt x="135172" y="397565"/>
                                                                                            </a:cubicBezTo>
                                                                                            <a:cubicBezTo>
                                                                                              <a:pt x="137046" y="393817"/>
                                                                                              <a:pt x="136530" y="388910"/>
                                                                                              <a:pt x="139148" y="385638"/>
                                                                                            </a:cubicBezTo>
                                                                                            <a:cubicBezTo>
                                                                                              <a:pt x="142133" y="381907"/>
                                                                                              <a:pt x="147099" y="380337"/>
                                                                                              <a:pt x="151075" y="377687"/>
                                                                                            </a:cubicBezTo>
                                                                                            <a:cubicBezTo>
                                                                                              <a:pt x="152400" y="373711"/>
                                                                                              <a:pt x="152894" y="369353"/>
                                                                                              <a:pt x="155050" y="365760"/>
                                                                                            </a:cubicBezTo>
                                                                                            <a:cubicBezTo>
                                                                                              <a:pt x="161705" y="354668"/>
                                                                                              <a:pt x="164209" y="359193"/>
                                                                                              <a:pt x="174929" y="353833"/>
                                                                                            </a:cubicBezTo>
                                                                                            <a:cubicBezTo>
                                                                                              <a:pt x="179203" y="351696"/>
                                                                                              <a:pt x="182880" y="348532"/>
                                                                                              <a:pt x="186856" y="345882"/>
                                                                                            </a:cubicBezTo>
                                                                                            <a:cubicBezTo>
                                                                                              <a:pt x="188181" y="341906"/>
                                                                                              <a:pt x="188675" y="337549"/>
                                                                                              <a:pt x="190831" y="333955"/>
                                                                                            </a:cubicBezTo>
                                                                                            <a:cubicBezTo>
                                                                                              <a:pt x="192759" y="330741"/>
                                                                                              <a:pt x="197106" y="329356"/>
                                                                                              <a:pt x="198782" y="326003"/>
                                                                                            </a:cubicBezTo>
                                                                                            <a:cubicBezTo>
                                                                                              <a:pt x="202530" y="318507"/>
                                                                                              <a:pt x="200808" y="308077"/>
                                                                                              <a:pt x="206734" y="302150"/>
                                                                                            </a:cubicBezTo>
                                                                                            <a:cubicBezTo>
                                                                                              <a:pt x="214129" y="294754"/>
                                                                                              <a:pt x="217621" y="292301"/>
                                                                                              <a:pt x="222636" y="282271"/>
                                                                                            </a:cubicBezTo>
                                                                                            <a:cubicBezTo>
                                                                                              <a:pt x="224510" y="278523"/>
                                                                                              <a:pt x="223994" y="273616"/>
                                                                                              <a:pt x="226612" y="270344"/>
                                                                                            </a:cubicBezTo>
                                                                                            <a:cubicBezTo>
                                                                                              <a:pt x="252202" y="238358"/>
                                                                                              <a:pt x="229458" y="280553"/>
                                                                                              <a:pt x="242515" y="254442"/>
                                                                                            </a:cubicBezTo>
                                                                                            <a:lnTo>
                                                                                              <a:pt x="242515" y="254442"/>
                                                                                            </a:lnTo>
                                                                                            <a:cubicBezTo>
                                                                                              <a:pt x="250466" y="245165"/>
                                                                                              <a:pt x="261407" y="237777"/>
                                                                                              <a:pt x="266369" y="226612"/>
                                                                                            </a:cubicBezTo>
                                                                                            <a:cubicBezTo>
                                                                                              <a:pt x="267891" y="223187"/>
                                                                                              <a:pt x="257232" y="222217"/>
                                                                                              <a:pt x="258417" y="218661"/>
                                                                                            </a:cubicBezTo>
                                                                                            <a:cubicBezTo>
                                                                                              <a:pt x="261172" y="210397"/>
                                                                                              <a:pt x="278616" y="199894"/>
                                                                                              <a:pt x="286247" y="194807"/>
                                                                                            </a:cubicBezTo>
                                                                                            <a:cubicBezTo>
                                                                                              <a:pt x="287572" y="189506"/>
                                                                                              <a:pt x="289584" y="184331"/>
                                                                                              <a:pt x="290222" y="178904"/>
                                                                                            </a:cubicBezTo>
                                                                                            <a:cubicBezTo>
                                                                                              <a:pt x="292241" y="161744"/>
                                                                                              <a:pt x="291503" y="144288"/>
                                                                                              <a:pt x="294198" y="127221"/>
                                                                                            </a:cubicBezTo>
                                                                                            <a:cubicBezTo>
                                                                                              <a:pt x="295505" y="118942"/>
                                                                                              <a:pt x="302149" y="103367"/>
                                                                                              <a:pt x="302149" y="103367"/>
                                                                                            </a:cubicBezTo>
                                                                                            <a:cubicBezTo>
                                                                                              <a:pt x="303474" y="94090"/>
                                                                                              <a:pt x="304963" y="84835"/>
                                                                                              <a:pt x="306125" y="75537"/>
                                                                                            </a:cubicBezTo>
                                                                                            <a:cubicBezTo>
                                                                                              <a:pt x="306579" y="71907"/>
                                                                                              <a:pt x="307698" y="38460"/>
                                                                                              <a:pt x="314076" y="27830"/>
                                                                                            </a:cubicBezTo>
                                                                                            <a:cubicBezTo>
                                                                                              <a:pt x="316005" y="24616"/>
                                                                                              <a:pt x="319377" y="22529"/>
                                                                                              <a:pt x="322028" y="19878"/>
                                                                                            </a:cubicBezTo>
                                                                                            <a:lnTo>
                                                                                              <a:pt x="314076" y="0"/>
                                                                                            </a:ln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4" name="Group 293"/>
                                                                                      <p:cNvGrpSpPr/>
                                                                                      <p:nvPr/>
                                                                                    </p:nvGrpSpPr>
                                                                                    <p:grpSpPr>
                                                                                      <a:xfrm>
                                                                                        <a:off x="715617" y="4603805"/>
                                                                                        <a:ext cx="1725433" cy="1474967"/>
                                                                                        <a:chOff x="715617" y="4603805"/>
                                                                                        <a:chExt cx="1725433" cy="1474967"/>
                                                                                      </a:xfrm>
                                                                                      <a:grpFill/>
                                                                                    </p:grpSpPr>
                                                                                    <p:sp>
                                                                                      <p:nvSpPr>
                                                                                        <p:cNvPr id="295" name="Freeform 294"/>
                                                                                        <p:cNvSpPr/>
                                                                                        <p:nvPr/>
                                                                                      </p:nvSpPr>
                                                                                      <p:spPr>
                                                                                        <a:xfrm>
                                                                                          <a:off x="2158778" y="5154482"/>
                                                                                          <a:ext cx="45719" cy="45719"/>
                                                                                        </a:xfrm>
                                                                                        <a:custGeom>
                                                                                          <a:avLst/>
                                                                                          <a:gdLst>
                                                                                            <a:gd name="connsiteX0" fmla="*/ 0 w 29788"/>
                                                                                            <a:gd name="connsiteY0" fmla="*/ 12254 h 32180"/>
                                                                                            <a:gd name="connsiteX1" fmla="*/ 0 w 29788"/>
                                                                                            <a:gd name="connsiteY1" fmla="*/ 12254 h 32180"/>
                                                                                            <a:gd name="connsiteX2" fmla="*/ 27830 w 29788"/>
                                                                                            <a:gd name="connsiteY2" fmla="*/ 32132 h 32180"/>
                                                                                            <a:gd name="connsiteX3" fmla="*/ 23854 w 29788"/>
                                                                                            <a:gd name="connsiteY3" fmla="*/ 16229 h 32180"/>
                                                                                            <a:gd name="connsiteX4" fmla="*/ 3976 w 29788"/>
                                                                                            <a:gd name="connsiteY4" fmla="*/ 327 h 32180"/>
                                                                                            <a:gd name="connsiteX5" fmla="*/ 0 w 29788"/>
                                                                                            <a:gd name="connsiteY5" fmla="*/ 12254 h 3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8" h="32180">
                                                                                              <a:moveTo>
                                                                                                <a:pt x="0" y="12254"/>
                                                                                              </a:moveTo>
                                                                                              <a:lnTo>
                                                                                                <a:pt x="0" y="12254"/>
                                                                                              </a:lnTo>
                                                                                              <a:cubicBezTo>
                                                                                                <a:pt x="9277" y="18880"/>
                                                                                                <a:pt x="16585" y="30258"/>
                                                                                                <a:pt x="27830" y="32132"/>
                                                                                              </a:cubicBezTo>
                                                                                              <a:cubicBezTo>
                                                                                                <a:pt x="33220" y="33030"/>
                                                                                                <a:pt x="26006" y="21251"/>
                                                                                                <a:pt x="23854" y="16229"/>
                                                                                              </a:cubicBezTo>
                                                                                              <a:cubicBezTo>
                                                                                                <a:pt x="21130" y="9874"/>
                                                                                                <a:pt x="13813" y="-2132"/>
                                                                                                <a:pt x="3976" y="327"/>
                                                                                              </a:cubicBezTo>
                                                                                              <a:cubicBezTo>
                                                                                                <a:pt x="1101" y="1046"/>
                                                                                                <a:pt x="663" y="10266"/>
                                                                                                <a:pt x="0" y="12254"/>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6" name="Group 295"/>
                                                                                        <p:cNvGrpSpPr/>
                                                                                        <p:nvPr/>
                                                                                      </p:nvGrpSpPr>
                                                                                      <p:grpSpPr>
                                                                                        <a:xfrm>
                                                                                          <a:off x="715617" y="4603805"/>
                                                                                          <a:ext cx="1725433" cy="1474967"/>
                                                                                          <a:chOff x="715617" y="4603805"/>
                                                                                          <a:chExt cx="1725433" cy="1474967"/>
                                                                                        </a:xfrm>
                                                                                        <a:grpFill/>
                                                                                      </p:grpSpPr>
                                                                                      <p:sp>
                                                                                        <p:nvSpPr>
                                                                                          <p:cNvPr id="297" name="Freeform 296"/>
                                                                                          <p:cNvSpPr/>
                                                                                          <p:nvPr/>
                                                                                        </p:nvSpPr>
                                                                                        <p:spPr>
                                                                                          <a:xfrm>
                                                                                            <a:off x="715617" y="4603805"/>
                                                                                            <a:ext cx="1669774" cy="1474967"/>
                                                                                          </a:xfrm>
                                                                                          <a:custGeom>
                                                                                            <a:avLst/>
                                                                                            <a:gdLst>
                                                                                              <a:gd name="connsiteX0" fmla="*/ 11927 w 1669774"/>
                                                                                              <a:gd name="connsiteY0" fmla="*/ 1156915 h 1474967"/>
                                                                                              <a:gd name="connsiteX1" fmla="*/ 11927 w 1669774"/>
                                                                                              <a:gd name="connsiteY1" fmla="*/ 1156915 h 1474967"/>
                                                                                              <a:gd name="connsiteX2" fmla="*/ 43733 w 1669774"/>
                                                                                              <a:gd name="connsiteY2" fmla="*/ 1172818 h 1474967"/>
                                                                                              <a:gd name="connsiteX3" fmla="*/ 63611 w 1669774"/>
                                                                                              <a:gd name="connsiteY3" fmla="*/ 1168842 h 1474967"/>
                                                                                              <a:gd name="connsiteX4" fmla="*/ 67586 w 1669774"/>
                                                                                              <a:gd name="connsiteY4" fmla="*/ 1180769 h 1474967"/>
                                                                                              <a:gd name="connsiteX5" fmla="*/ 71562 w 1669774"/>
                                                                                              <a:gd name="connsiteY5" fmla="*/ 1200647 h 1474967"/>
                                                                                              <a:gd name="connsiteX6" fmla="*/ 87465 w 1669774"/>
                                                                                              <a:gd name="connsiteY6" fmla="*/ 1220525 h 1474967"/>
                                                                                              <a:gd name="connsiteX7" fmla="*/ 95416 w 1669774"/>
                                                                                              <a:gd name="connsiteY7" fmla="*/ 1232452 h 1474967"/>
                                                                                              <a:gd name="connsiteX8" fmla="*/ 119270 w 1669774"/>
                                                                                              <a:gd name="connsiteY8" fmla="*/ 1260282 h 1474967"/>
                                                                                              <a:gd name="connsiteX9" fmla="*/ 123246 w 1669774"/>
                                                                                              <a:gd name="connsiteY9" fmla="*/ 1272209 h 1474967"/>
                                                                                              <a:gd name="connsiteX10" fmla="*/ 119270 w 1669774"/>
                                                                                              <a:gd name="connsiteY10" fmla="*/ 1284136 h 1474967"/>
                                                                                              <a:gd name="connsiteX11" fmla="*/ 111319 w 1669774"/>
                                                                                              <a:gd name="connsiteY11" fmla="*/ 1296063 h 1474967"/>
                                                                                              <a:gd name="connsiteX12" fmla="*/ 127221 w 1669774"/>
                                                                                              <a:gd name="connsiteY12" fmla="*/ 1331844 h 1474967"/>
                                                                                              <a:gd name="connsiteX13" fmla="*/ 119270 w 1669774"/>
                                                                                              <a:gd name="connsiteY13" fmla="*/ 1355698 h 1474967"/>
                                                                                              <a:gd name="connsiteX14" fmla="*/ 115294 w 1669774"/>
                                                                                              <a:gd name="connsiteY14" fmla="*/ 1367625 h 1474967"/>
                                                                                              <a:gd name="connsiteX15" fmla="*/ 131197 w 1669774"/>
                                                                                              <a:gd name="connsiteY15" fmla="*/ 1387503 h 1474967"/>
                                                                                              <a:gd name="connsiteX16" fmla="*/ 135173 w 1669774"/>
                                                                                              <a:gd name="connsiteY16" fmla="*/ 1399430 h 1474967"/>
                                                                                              <a:gd name="connsiteX17" fmla="*/ 155051 w 1669774"/>
                                                                                              <a:gd name="connsiteY17" fmla="*/ 1423284 h 1474967"/>
                                                                                              <a:gd name="connsiteX18" fmla="*/ 182880 w 1669774"/>
                                                                                              <a:gd name="connsiteY18" fmla="*/ 1451113 h 1474967"/>
                                                                                              <a:gd name="connsiteX19" fmla="*/ 210710 w 1669774"/>
                                                                                              <a:gd name="connsiteY19" fmla="*/ 1447138 h 1474967"/>
                                                                                              <a:gd name="connsiteX20" fmla="*/ 214686 w 1669774"/>
                                                                                              <a:gd name="connsiteY20" fmla="*/ 1435211 h 1474967"/>
                                                                                              <a:gd name="connsiteX21" fmla="*/ 234564 w 1669774"/>
                                                                                              <a:gd name="connsiteY21" fmla="*/ 1419308 h 1474967"/>
                                                                                              <a:gd name="connsiteX22" fmla="*/ 238540 w 1669774"/>
                                                                                              <a:gd name="connsiteY22" fmla="*/ 1407381 h 1474967"/>
                                                                                              <a:gd name="connsiteX23" fmla="*/ 262393 w 1669774"/>
                                                                                              <a:gd name="connsiteY23" fmla="*/ 1399430 h 1474967"/>
                                                                                              <a:gd name="connsiteX24" fmla="*/ 302150 w 1669774"/>
                                                                                              <a:gd name="connsiteY24" fmla="*/ 1403405 h 1474967"/>
                                                                                              <a:gd name="connsiteX25" fmla="*/ 326004 w 1669774"/>
                                                                                              <a:gd name="connsiteY25" fmla="*/ 1411357 h 1474967"/>
                                                                                              <a:gd name="connsiteX26" fmla="*/ 337931 w 1669774"/>
                                                                                              <a:gd name="connsiteY26" fmla="*/ 1415332 h 1474967"/>
                                                                                              <a:gd name="connsiteX27" fmla="*/ 357809 w 1669774"/>
                                                                                              <a:gd name="connsiteY27" fmla="*/ 1403405 h 1474967"/>
                                                                                              <a:gd name="connsiteX28" fmla="*/ 373712 w 1669774"/>
                                                                                              <a:gd name="connsiteY28" fmla="*/ 1379552 h 1474967"/>
                                                                                              <a:gd name="connsiteX29" fmla="*/ 425395 w 1669774"/>
                                                                                              <a:gd name="connsiteY29" fmla="*/ 1383527 h 1474967"/>
                                                                                              <a:gd name="connsiteX30" fmla="*/ 441298 w 1669774"/>
                                                                                              <a:gd name="connsiteY30" fmla="*/ 1387503 h 1474967"/>
                                                                                              <a:gd name="connsiteX31" fmla="*/ 465152 w 1669774"/>
                                                                                              <a:gd name="connsiteY31" fmla="*/ 1403405 h 1474967"/>
                                                                                              <a:gd name="connsiteX32" fmla="*/ 489006 w 1669774"/>
                                                                                              <a:gd name="connsiteY32" fmla="*/ 1411357 h 1474967"/>
                                                                                              <a:gd name="connsiteX33" fmla="*/ 500933 w 1669774"/>
                                                                                              <a:gd name="connsiteY33" fmla="*/ 1415332 h 1474967"/>
                                                                                              <a:gd name="connsiteX34" fmla="*/ 536713 w 1669774"/>
                                                                                              <a:gd name="connsiteY34" fmla="*/ 1435211 h 1474967"/>
                                                                                              <a:gd name="connsiteX35" fmla="*/ 568519 w 1669774"/>
                                                                                              <a:gd name="connsiteY35" fmla="*/ 1439186 h 1474967"/>
                                                                                              <a:gd name="connsiteX36" fmla="*/ 580446 w 1669774"/>
                                                                                              <a:gd name="connsiteY36" fmla="*/ 1443162 h 1474967"/>
                                                                                              <a:gd name="connsiteX37" fmla="*/ 592373 w 1669774"/>
                                                                                              <a:gd name="connsiteY37" fmla="*/ 1451113 h 1474967"/>
                                                                                              <a:gd name="connsiteX38" fmla="*/ 616226 w 1669774"/>
                                                                                              <a:gd name="connsiteY38" fmla="*/ 1459065 h 1474967"/>
                                                                                              <a:gd name="connsiteX39" fmla="*/ 648032 w 1669774"/>
                                                                                              <a:gd name="connsiteY39" fmla="*/ 1455089 h 1474967"/>
                                                                                              <a:gd name="connsiteX40" fmla="*/ 671886 w 1669774"/>
                                                                                              <a:gd name="connsiteY40" fmla="*/ 1447138 h 1474967"/>
                                                                                              <a:gd name="connsiteX41" fmla="*/ 683813 w 1669774"/>
                                                                                              <a:gd name="connsiteY41" fmla="*/ 1451113 h 1474967"/>
                                                                                              <a:gd name="connsiteX42" fmla="*/ 695740 w 1669774"/>
                                                                                              <a:gd name="connsiteY42" fmla="*/ 1470992 h 1474967"/>
                                                                                              <a:gd name="connsiteX43" fmla="*/ 707666 w 1669774"/>
                                                                                              <a:gd name="connsiteY43" fmla="*/ 1474967 h 1474967"/>
                                                                                              <a:gd name="connsiteX44" fmla="*/ 723569 w 1669774"/>
                                                                                              <a:gd name="connsiteY44" fmla="*/ 1470992 h 1474967"/>
                                                                                              <a:gd name="connsiteX45" fmla="*/ 735496 w 1669774"/>
                                                                                              <a:gd name="connsiteY45" fmla="*/ 1451113 h 1474967"/>
                                                                                              <a:gd name="connsiteX46" fmla="*/ 743447 w 1669774"/>
                                                                                              <a:gd name="connsiteY46" fmla="*/ 1439186 h 1474967"/>
                                                                                              <a:gd name="connsiteX47" fmla="*/ 763326 w 1669774"/>
                                                                                              <a:gd name="connsiteY47" fmla="*/ 1423284 h 1474967"/>
                                                                                              <a:gd name="connsiteX48" fmla="*/ 771277 w 1669774"/>
                                                                                              <a:gd name="connsiteY48" fmla="*/ 1415332 h 1474967"/>
                                                                                              <a:gd name="connsiteX49" fmla="*/ 775253 w 1669774"/>
                                                                                              <a:gd name="connsiteY49" fmla="*/ 1403405 h 1474967"/>
                                                                                              <a:gd name="connsiteX50" fmla="*/ 787180 w 1669774"/>
                                                                                              <a:gd name="connsiteY50" fmla="*/ 1399430 h 1474967"/>
                                                                                              <a:gd name="connsiteX51" fmla="*/ 811033 w 1669774"/>
                                                                                              <a:gd name="connsiteY51" fmla="*/ 1387503 h 1474967"/>
                                                                                              <a:gd name="connsiteX52" fmla="*/ 818985 w 1669774"/>
                                                                                              <a:gd name="connsiteY52" fmla="*/ 1379552 h 1474967"/>
                                                                                              <a:gd name="connsiteX53" fmla="*/ 846814 w 1669774"/>
                                                                                              <a:gd name="connsiteY53" fmla="*/ 1371600 h 1474967"/>
                                                                                              <a:gd name="connsiteX54" fmla="*/ 950181 w 1669774"/>
                                                                                              <a:gd name="connsiteY54" fmla="*/ 1371600 h 1474967"/>
                                                                                              <a:gd name="connsiteX55" fmla="*/ 958133 w 1669774"/>
                                                                                              <a:gd name="connsiteY55" fmla="*/ 1363649 h 1474967"/>
                                                                                              <a:gd name="connsiteX56" fmla="*/ 954157 w 1669774"/>
                                                                                              <a:gd name="connsiteY56" fmla="*/ 1347746 h 1474967"/>
                                                                                              <a:gd name="connsiteX57" fmla="*/ 950181 w 1669774"/>
                                                                                              <a:gd name="connsiteY57" fmla="*/ 1335819 h 1474967"/>
                                                                                              <a:gd name="connsiteX58" fmla="*/ 962108 w 1669774"/>
                                                                                              <a:gd name="connsiteY58" fmla="*/ 1327868 h 1474967"/>
                                                                                              <a:gd name="connsiteX59" fmla="*/ 970060 w 1669774"/>
                                                                                              <a:gd name="connsiteY59" fmla="*/ 1319917 h 1474967"/>
                                                                                              <a:gd name="connsiteX60" fmla="*/ 978011 w 1669774"/>
                                                                                              <a:gd name="connsiteY60" fmla="*/ 1307990 h 1474967"/>
                                                                                              <a:gd name="connsiteX61" fmla="*/ 993913 w 1669774"/>
                                                                                              <a:gd name="connsiteY61" fmla="*/ 1288112 h 1474967"/>
                                                                                              <a:gd name="connsiteX62" fmla="*/ 1005840 w 1669774"/>
                                                                                              <a:gd name="connsiteY62" fmla="*/ 1268233 h 1474967"/>
                                                                                              <a:gd name="connsiteX63" fmla="*/ 1009816 w 1669774"/>
                                                                                              <a:gd name="connsiteY63" fmla="*/ 1256306 h 1474967"/>
                                                                                              <a:gd name="connsiteX64" fmla="*/ 1033670 w 1669774"/>
                                                                                              <a:gd name="connsiteY64" fmla="*/ 1240404 h 1474967"/>
                                                                                              <a:gd name="connsiteX65" fmla="*/ 1049573 w 1669774"/>
                                                                                              <a:gd name="connsiteY65" fmla="*/ 1224501 h 1474967"/>
                                                                                              <a:gd name="connsiteX66" fmla="*/ 1101256 w 1669774"/>
                                                                                              <a:gd name="connsiteY66" fmla="*/ 1220525 h 1474967"/>
                                                                                              <a:gd name="connsiteX67" fmla="*/ 1109207 w 1669774"/>
                                                                                              <a:gd name="connsiteY67" fmla="*/ 1208598 h 1474967"/>
                                                                                              <a:gd name="connsiteX68" fmla="*/ 1097280 w 1669774"/>
                                                                                              <a:gd name="connsiteY68" fmla="*/ 1172818 h 1474967"/>
                                                                                              <a:gd name="connsiteX69" fmla="*/ 1085353 w 1669774"/>
                                                                                              <a:gd name="connsiteY69" fmla="*/ 1137037 h 1474967"/>
                                                                                              <a:gd name="connsiteX70" fmla="*/ 1081378 w 1669774"/>
                                                                                              <a:gd name="connsiteY70" fmla="*/ 1125110 h 1474967"/>
                                                                                              <a:gd name="connsiteX71" fmla="*/ 1077402 w 1669774"/>
                                                                                              <a:gd name="connsiteY71" fmla="*/ 1113183 h 1474967"/>
                                                                                              <a:gd name="connsiteX72" fmla="*/ 1085353 w 1669774"/>
                                                                                              <a:gd name="connsiteY72" fmla="*/ 1057524 h 1474967"/>
                                                                                              <a:gd name="connsiteX73" fmla="*/ 1093305 w 1669774"/>
                                                                                              <a:gd name="connsiteY73" fmla="*/ 1049572 h 1474967"/>
                                                                                              <a:gd name="connsiteX74" fmla="*/ 1097280 w 1669774"/>
                                                                                              <a:gd name="connsiteY74" fmla="*/ 1037645 h 1474967"/>
                                                                                              <a:gd name="connsiteX75" fmla="*/ 1117159 w 1669774"/>
                                                                                              <a:gd name="connsiteY75" fmla="*/ 1021743 h 1474967"/>
                                                                                              <a:gd name="connsiteX76" fmla="*/ 1137037 w 1669774"/>
                                                                                              <a:gd name="connsiteY76" fmla="*/ 993913 h 1474967"/>
                                                                                              <a:gd name="connsiteX77" fmla="*/ 1152940 w 1669774"/>
                                                                                              <a:gd name="connsiteY77" fmla="*/ 974035 h 1474967"/>
                                                                                              <a:gd name="connsiteX78" fmla="*/ 1164866 w 1669774"/>
                                                                                              <a:gd name="connsiteY78" fmla="*/ 966084 h 1474967"/>
                                                                                              <a:gd name="connsiteX79" fmla="*/ 1172818 w 1669774"/>
                                                                                              <a:gd name="connsiteY79" fmla="*/ 958132 h 1474967"/>
                                                                                              <a:gd name="connsiteX80" fmla="*/ 1180769 w 1669774"/>
                                                                                              <a:gd name="connsiteY80" fmla="*/ 946205 h 1474967"/>
                                                                                              <a:gd name="connsiteX81" fmla="*/ 1192696 w 1669774"/>
                                                                                              <a:gd name="connsiteY81" fmla="*/ 942230 h 1474967"/>
                                                                                              <a:gd name="connsiteX82" fmla="*/ 1208599 w 1669774"/>
                                                                                              <a:gd name="connsiteY82" fmla="*/ 926327 h 1474967"/>
                                                                                              <a:gd name="connsiteX83" fmla="*/ 1232453 w 1669774"/>
                                                                                              <a:gd name="connsiteY83" fmla="*/ 910425 h 1474967"/>
                                                                                              <a:gd name="connsiteX84" fmla="*/ 1240404 w 1669774"/>
                                                                                              <a:gd name="connsiteY84" fmla="*/ 902473 h 1474967"/>
                                                                                              <a:gd name="connsiteX85" fmla="*/ 1264258 w 1669774"/>
                                                                                              <a:gd name="connsiteY85" fmla="*/ 894522 h 1474967"/>
                                                                                              <a:gd name="connsiteX86" fmla="*/ 1292087 w 1669774"/>
                                                                                              <a:gd name="connsiteY86" fmla="*/ 886571 h 1474967"/>
                                                                                              <a:gd name="connsiteX87" fmla="*/ 1288112 w 1669774"/>
                                                                                              <a:gd name="connsiteY87" fmla="*/ 850790 h 1474967"/>
                                                                                              <a:gd name="connsiteX88" fmla="*/ 1300039 w 1669774"/>
                                                                                              <a:gd name="connsiteY88" fmla="*/ 846814 h 1474967"/>
                                                                                              <a:gd name="connsiteX89" fmla="*/ 1307990 w 1669774"/>
                                                                                              <a:gd name="connsiteY89" fmla="*/ 834887 h 1474967"/>
                                                                                              <a:gd name="connsiteX90" fmla="*/ 1347746 w 1669774"/>
                                                                                              <a:gd name="connsiteY90" fmla="*/ 826936 h 1474967"/>
                                                                                              <a:gd name="connsiteX91" fmla="*/ 1482919 w 1669774"/>
                                                                                              <a:gd name="connsiteY91" fmla="*/ 822960 h 1474967"/>
                                                                                              <a:gd name="connsiteX92" fmla="*/ 1506773 w 1669774"/>
                                                                                              <a:gd name="connsiteY92" fmla="*/ 818985 h 1474967"/>
                                                                                              <a:gd name="connsiteX93" fmla="*/ 1514724 w 1669774"/>
                                                                                              <a:gd name="connsiteY93" fmla="*/ 807058 h 1474967"/>
                                                                                              <a:gd name="connsiteX94" fmla="*/ 1522675 w 1669774"/>
                                                                                              <a:gd name="connsiteY94" fmla="*/ 799106 h 1474967"/>
                                                                                              <a:gd name="connsiteX95" fmla="*/ 1546529 w 1669774"/>
                                                                                              <a:gd name="connsiteY95" fmla="*/ 791155 h 1474967"/>
                                                                                              <a:gd name="connsiteX96" fmla="*/ 1570383 w 1669774"/>
                                                                                              <a:gd name="connsiteY96" fmla="*/ 783204 h 1474967"/>
                                                                                              <a:gd name="connsiteX97" fmla="*/ 1582310 w 1669774"/>
                                                                                              <a:gd name="connsiteY97" fmla="*/ 779228 h 1474967"/>
                                                                                              <a:gd name="connsiteX98" fmla="*/ 1594237 w 1669774"/>
                                                                                              <a:gd name="connsiteY98" fmla="*/ 775252 h 1474967"/>
                                                                                              <a:gd name="connsiteX99" fmla="*/ 1618091 w 1669774"/>
                                                                                              <a:gd name="connsiteY99" fmla="*/ 759350 h 1474967"/>
                                                                                              <a:gd name="connsiteX100" fmla="*/ 1653872 w 1669774"/>
                                                                                              <a:gd name="connsiteY100" fmla="*/ 743447 h 1474967"/>
                                                                                              <a:gd name="connsiteX101" fmla="*/ 1661823 w 1669774"/>
                                                                                              <a:gd name="connsiteY101" fmla="*/ 731520 h 1474967"/>
                                                                                              <a:gd name="connsiteX102" fmla="*/ 1669774 w 1669774"/>
                                                                                              <a:gd name="connsiteY102" fmla="*/ 683812 h 1474967"/>
                                                                                              <a:gd name="connsiteX103" fmla="*/ 1665799 w 1669774"/>
                                                                                              <a:gd name="connsiteY103" fmla="*/ 655983 h 1474967"/>
                                                                                              <a:gd name="connsiteX104" fmla="*/ 1657847 w 1669774"/>
                                                                                              <a:gd name="connsiteY104" fmla="*/ 648032 h 1474967"/>
                                                                                              <a:gd name="connsiteX105" fmla="*/ 1630018 w 1669774"/>
                                                                                              <a:gd name="connsiteY105" fmla="*/ 636105 h 1474967"/>
                                                                                              <a:gd name="connsiteX106" fmla="*/ 1590261 w 1669774"/>
                                                                                              <a:gd name="connsiteY106" fmla="*/ 640080 h 1474967"/>
                                                                                              <a:gd name="connsiteX107" fmla="*/ 1562432 w 1669774"/>
                                                                                              <a:gd name="connsiteY107" fmla="*/ 632129 h 1474967"/>
                                                                                              <a:gd name="connsiteX108" fmla="*/ 1542553 w 1669774"/>
                                                                                              <a:gd name="connsiteY108" fmla="*/ 628153 h 1474967"/>
                                                                                              <a:gd name="connsiteX109" fmla="*/ 1514724 w 1669774"/>
                                                                                              <a:gd name="connsiteY109" fmla="*/ 624178 h 1474967"/>
                                                                                              <a:gd name="connsiteX110" fmla="*/ 1502797 w 1669774"/>
                                                                                              <a:gd name="connsiteY110" fmla="*/ 604299 h 1474967"/>
                                                                                              <a:gd name="connsiteX111" fmla="*/ 1498821 w 1669774"/>
                                                                                              <a:gd name="connsiteY111" fmla="*/ 592372 h 1474967"/>
                                                                                              <a:gd name="connsiteX112" fmla="*/ 1486894 w 1669774"/>
                                                                                              <a:gd name="connsiteY112" fmla="*/ 588397 h 1474967"/>
                                                                                              <a:gd name="connsiteX113" fmla="*/ 1455089 w 1669774"/>
                                                                                              <a:gd name="connsiteY113" fmla="*/ 588397 h 1474967"/>
                                                                                              <a:gd name="connsiteX114" fmla="*/ 1435211 w 1669774"/>
                                                                                              <a:gd name="connsiteY114" fmla="*/ 560567 h 1474967"/>
                                                                                              <a:gd name="connsiteX115" fmla="*/ 1439186 w 1669774"/>
                                                                                              <a:gd name="connsiteY115" fmla="*/ 548640 h 1474967"/>
                                                                                              <a:gd name="connsiteX116" fmla="*/ 1415333 w 1669774"/>
                                                                                              <a:gd name="connsiteY116" fmla="*/ 536713 h 1474967"/>
                                                                                              <a:gd name="connsiteX117" fmla="*/ 1395454 w 1669774"/>
                                                                                              <a:gd name="connsiteY117" fmla="*/ 524786 h 1474967"/>
                                                                                              <a:gd name="connsiteX118" fmla="*/ 1371600 w 1669774"/>
                                                                                              <a:gd name="connsiteY118" fmla="*/ 512859 h 1474967"/>
                                                                                              <a:gd name="connsiteX119" fmla="*/ 1347746 w 1669774"/>
                                                                                              <a:gd name="connsiteY119" fmla="*/ 524786 h 1474967"/>
                                                                                              <a:gd name="connsiteX120" fmla="*/ 1323893 w 1669774"/>
                                                                                              <a:gd name="connsiteY120" fmla="*/ 520811 h 1474967"/>
                                                                                              <a:gd name="connsiteX121" fmla="*/ 1315941 w 1669774"/>
                                                                                              <a:gd name="connsiteY121" fmla="*/ 512859 h 1474967"/>
                                                                                              <a:gd name="connsiteX122" fmla="*/ 1307990 w 1669774"/>
                                                                                              <a:gd name="connsiteY122" fmla="*/ 500932 h 1474967"/>
                                                                                              <a:gd name="connsiteX123" fmla="*/ 1296063 w 1669774"/>
                                                                                              <a:gd name="connsiteY123" fmla="*/ 492981 h 1474967"/>
                                                                                              <a:gd name="connsiteX124" fmla="*/ 1280160 w 1669774"/>
                                                                                              <a:gd name="connsiteY124" fmla="*/ 496957 h 1474967"/>
                                                                                              <a:gd name="connsiteX125" fmla="*/ 1268233 w 1669774"/>
                                                                                              <a:gd name="connsiteY125" fmla="*/ 500932 h 1474967"/>
                                                                                              <a:gd name="connsiteX126" fmla="*/ 1252331 w 1669774"/>
                                                                                              <a:gd name="connsiteY126" fmla="*/ 477078 h 1474967"/>
                                                                                              <a:gd name="connsiteX127" fmla="*/ 1240404 w 1669774"/>
                                                                                              <a:gd name="connsiteY127" fmla="*/ 473103 h 1474967"/>
                                                                                              <a:gd name="connsiteX128" fmla="*/ 1200647 w 1669774"/>
                                                                                              <a:gd name="connsiteY128" fmla="*/ 457200 h 1474967"/>
                                                                                              <a:gd name="connsiteX129" fmla="*/ 1180769 w 1669774"/>
                                                                                              <a:gd name="connsiteY129" fmla="*/ 421419 h 1474967"/>
                                                                                              <a:gd name="connsiteX130" fmla="*/ 1168842 w 1669774"/>
                                                                                              <a:gd name="connsiteY130" fmla="*/ 413468 h 1474967"/>
                                                                                              <a:gd name="connsiteX131" fmla="*/ 1144988 w 1669774"/>
                                                                                              <a:gd name="connsiteY131" fmla="*/ 405517 h 1474967"/>
                                                                                              <a:gd name="connsiteX132" fmla="*/ 1137037 w 1669774"/>
                                                                                              <a:gd name="connsiteY132" fmla="*/ 397565 h 1474967"/>
                                                                                              <a:gd name="connsiteX133" fmla="*/ 1129086 w 1669774"/>
                                                                                              <a:gd name="connsiteY133" fmla="*/ 385638 h 1474967"/>
                                                                                              <a:gd name="connsiteX134" fmla="*/ 1101256 w 1669774"/>
                                                                                              <a:gd name="connsiteY134" fmla="*/ 389614 h 1474967"/>
                                                                                              <a:gd name="connsiteX135" fmla="*/ 1093305 w 1669774"/>
                                                                                              <a:gd name="connsiteY135" fmla="*/ 377687 h 1474967"/>
                                                                                              <a:gd name="connsiteX136" fmla="*/ 1101256 w 1669774"/>
                                                                                              <a:gd name="connsiteY136" fmla="*/ 365760 h 1474967"/>
                                                                                              <a:gd name="connsiteX137" fmla="*/ 1105232 w 1669774"/>
                                                                                              <a:gd name="connsiteY137" fmla="*/ 353833 h 1474967"/>
                                                                                              <a:gd name="connsiteX138" fmla="*/ 1089329 w 1669774"/>
                                                                                              <a:gd name="connsiteY138" fmla="*/ 349858 h 1474967"/>
                                                                                              <a:gd name="connsiteX139" fmla="*/ 1077402 w 1669774"/>
                                                                                              <a:gd name="connsiteY139" fmla="*/ 329979 h 1474967"/>
                                                                                              <a:gd name="connsiteX140" fmla="*/ 1053548 w 1669774"/>
                                                                                              <a:gd name="connsiteY140" fmla="*/ 322028 h 1474967"/>
                                                                                              <a:gd name="connsiteX141" fmla="*/ 997889 w 1669774"/>
                                                                                              <a:gd name="connsiteY141" fmla="*/ 314077 h 1474967"/>
                                                                                              <a:gd name="connsiteX142" fmla="*/ 981986 w 1669774"/>
                                                                                              <a:gd name="connsiteY142" fmla="*/ 298174 h 1474967"/>
                                                                                              <a:gd name="connsiteX143" fmla="*/ 954157 w 1669774"/>
                                                                                              <a:gd name="connsiteY143" fmla="*/ 274320 h 1474967"/>
                                                                                              <a:gd name="connsiteX144" fmla="*/ 942230 w 1669774"/>
                                                                                              <a:gd name="connsiteY144" fmla="*/ 262393 h 1474967"/>
                                                                                              <a:gd name="connsiteX145" fmla="*/ 922352 w 1669774"/>
                                                                                              <a:gd name="connsiteY145" fmla="*/ 266369 h 1474967"/>
                                                                                              <a:gd name="connsiteX146" fmla="*/ 902473 w 1669774"/>
                                                                                              <a:gd name="connsiteY146" fmla="*/ 274320 h 1474967"/>
                                                                                              <a:gd name="connsiteX147" fmla="*/ 874644 w 1669774"/>
                                                                                              <a:gd name="connsiteY147" fmla="*/ 254442 h 1474967"/>
                                                                                              <a:gd name="connsiteX148" fmla="*/ 850790 w 1669774"/>
                                                                                              <a:gd name="connsiteY148" fmla="*/ 246491 h 1474967"/>
                                                                                              <a:gd name="connsiteX149" fmla="*/ 846814 w 1669774"/>
                                                                                              <a:gd name="connsiteY149" fmla="*/ 234564 h 1474967"/>
                                                                                              <a:gd name="connsiteX150" fmla="*/ 822960 w 1669774"/>
                                                                                              <a:gd name="connsiteY150" fmla="*/ 222637 h 1474967"/>
                                                                                              <a:gd name="connsiteX151" fmla="*/ 815009 w 1669774"/>
                                                                                              <a:gd name="connsiteY151" fmla="*/ 214685 h 1474967"/>
                                                                                              <a:gd name="connsiteX152" fmla="*/ 803082 w 1669774"/>
                                                                                              <a:gd name="connsiteY152" fmla="*/ 210710 h 1474967"/>
                                                                                              <a:gd name="connsiteX153" fmla="*/ 755374 w 1669774"/>
                                                                                              <a:gd name="connsiteY153" fmla="*/ 206734 h 1474967"/>
                                                                                              <a:gd name="connsiteX154" fmla="*/ 731520 w 1669774"/>
                                                                                              <a:gd name="connsiteY154" fmla="*/ 198783 h 1474967"/>
                                                                                              <a:gd name="connsiteX155" fmla="*/ 695740 w 1669774"/>
                                                                                              <a:gd name="connsiteY155" fmla="*/ 170953 h 1474967"/>
                                                                                              <a:gd name="connsiteX156" fmla="*/ 683813 w 1669774"/>
                                                                                              <a:gd name="connsiteY156" fmla="*/ 166978 h 1474967"/>
                                                                                              <a:gd name="connsiteX157" fmla="*/ 663934 w 1669774"/>
                                                                                              <a:gd name="connsiteY157" fmla="*/ 155051 h 1474967"/>
                                                                                              <a:gd name="connsiteX158" fmla="*/ 640080 w 1669774"/>
                                                                                              <a:gd name="connsiteY158" fmla="*/ 139148 h 1474967"/>
                                                                                              <a:gd name="connsiteX159" fmla="*/ 628153 w 1669774"/>
                                                                                              <a:gd name="connsiteY159" fmla="*/ 135172 h 1474967"/>
                                                                                              <a:gd name="connsiteX160" fmla="*/ 604300 w 1669774"/>
                                                                                              <a:gd name="connsiteY160" fmla="*/ 123245 h 1474967"/>
                                                                                              <a:gd name="connsiteX161" fmla="*/ 596348 w 1669774"/>
                                                                                              <a:gd name="connsiteY161" fmla="*/ 115294 h 1474967"/>
                                                                                              <a:gd name="connsiteX162" fmla="*/ 588397 w 1669774"/>
                                                                                              <a:gd name="connsiteY162" fmla="*/ 103367 h 1474967"/>
                                                                                              <a:gd name="connsiteX163" fmla="*/ 576470 w 1669774"/>
                                                                                              <a:gd name="connsiteY163" fmla="*/ 99392 h 1474967"/>
                                                                                              <a:gd name="connsiteX164" fmla="*/ 528762 w 1669774"/>
                                                                                              <a:gd name="connsiteY164" fmla="*/ 95416 h 1474967"/>
                                                                                              <a:gd name="connsiteX165" fmla="*/ 492981 w 1669774"/>
                                                                                              <a:gd name="connsiteY165" fmla="*/ 87465 h 1474967"/>
                                                                                              <a:gd name="connsiteX166" fmla="*/ 485030 w 1669774"/>
                                                                                              <a:gd name="connsiteY166" fmla="*/ 79513 h 1474967"/>
                                                                                              <a:gd name="connsiteX167" fmla="*/ 461176 w 1669774"/>
                                                                                              <a:gd name="connsiteY167" fmla="*/ 71562 h 1474967"/>
                                                                                              <a:gd name="connsiteX168" fmla="*/ 449249 w 1669774"/>
                                                                                              <a:gd name="connsiteY168" fmla="*/ 67586 h 1474967"/>
                                                                                              <a:gd name="connsiteX169" fmla="*/ 437322 w 1669774"/>
                                                                                              <a:gd name="connsiteY169" fmla="*/ 59635 h 1474967"/>
                                                                                              <a:gd name="connsiteX170" fmla="*/ 409493 w 1669774"/>
                                                                                              <a:gd name="connsiteY170" fmla="*/ 51684 h 1474967"/>
                                                                                              <a:gd name="connsiteX171" fmla="*/ 397566 w 1669774"/>
                                                                                              <a:gd name="connsiteY171" fmla="*/ 47708 h 1474967"/>
                                                                                              <a:gd name="connsiteX172" fmla="*/ 385639 w 1669774"/>
                                                                                              <a:gd name="connsiteY172" fmla="*/ 27830 h 1474967"/>
                                                                                              <a:gd name="connsiteX173" fmla="*/ 377687 w 1669774"/>
                                                                                              <a:gd name="connsiteY173" fmla="*/ 19878 h 1474967"/>
                                                                                              <a:gd name="connsiteX174" fmla="*/ 361785 w 1669774"/>
                                                                                              <a:gd name="connsiteY174" fmla="*/ 0 h 1474967"/>
                                                                                              <a:gd name="connsiteX175" fmla="*/ 329980 w 1669774"/>
                                                                                              <a:gd name="connsiteY175" fmla="*/ 0 h 1474967"/>
                                                                                              <a:gd name="connsiteX176" fmla="*/ 270345 w 1669774"/>
                                                                                              <a:gd name="connsiteY176" fmla="*/ 7952 h 1474967"/>
                                                                                              <a:gd name="connsiteX177" fmla="*/ 262393 w 1669774"/>
                                                                                              <a:gd name="connsiteY177" fmla="*/ 15903 h 1474967"/>
                                                                                              <a:gd name="connsiteX178" fmla="*/ 258418 w 1669774"/>
                                                                                              <a:gd name="connsiteY178" fmla="*/ 39757 h 1474967"/>
                                                                                              <a:gd name="connsiteX179" fmla="*/ 246491 w 1669774"/>
                                                                                              <a:gd name="connsiteY179" fmla="*/ 31805 h 1474967"/>
                                                                                              <a:gd name="connsiteX180" fmla="*/ 198783 w 1669774"/>
                                                                                              <a:gd name="connsiteY180" fmla="*/ 27830 h 1474967"/>
                                                                                              <a:gd name="connsiteX181" fmla="*/ 186856 w 1669774"/>
                                                                                              <a:gd name="connsiteY181" fmla="*/ 23854 h 1474967"/>
                                                                                              <a:gd name="connsiteX182" fmla="*/ 174929 w 1669774"/>
                                                                                              <a:gd name="connsiteY182" fmla="*/ 15903 h 1474967"/>
                                                                                              <a:gd name="connsiteX183" fmla="*/ 139148 w 1669774"/>
                                                                                              <a:gd name="connsiteY183" fmla="*/ 31805 h 1474967"/>
                                                                                              <a:gd name="connsiteX184" fmla="*/ 131197 w 1669774"/>
                                                                                              <a:gd name="connsiteY184" fmla="*/ 39757 h 1474967"/>
                                                                                              <a:gd name="connsiteX185" fmla="*/ 127221 w 1669774"/>
                                                                                              <a:gd name="connsiteY185" fmla="*/ 51684 h 1474967"/>
                                                                                              <a:gd name="connsiteX186" fmla="*/ 119270 w 1669774"/>
                                                                                              <a:gd name="connsiteY186" fmla="*/ 63611 h 1474967"/>
                                                                                              <a:gd name="connsiteX187" fmla="*/ 123246 w 1669774"/>
                                                                                              <a:gd name="connsiteY187" fmla="*/ 75538 h 1474967"/>
                                                                                              <a:gd name="connsiteX188" fmla="*/ 135173 w 1669774"/>
                                                                                              <a:gd name="connsiteY188" fmla="*/ 103367 h 1474967"/>
                                                                                              <a:gd name="connsiteX189" fmla="*/ 131197 w 1669774"/>
                                                                                              <a:gd name="connsiteY189" fmla="*/ 115294 h 1474967"/>
                                                                                              <a:gd name="connsiteX190" fmla="*/ 127221 w 1669774"/>
                                                                                              <a:gd name="connsiteY190" fmla="*/ 139148 h 1474967"/>
                                                                                              <a:gd name="connsiteX191" fmla="*/ 147100 w 1669774"/>
                                                                                              <a:gd name="connsiteY191" fmla="*/ 143124 h 1474967"/>
                                                                                              <a:gd name="connsiteX192" fmla="*/ 143124 w 1669774"/>
                                                                                              <a:gd name="connsiteY192" fmla="*/ 155051 h 1474967"/>
                                                                                              <a:gd name="connsiteX193" fmla="*/ 131197 w 1669774"/>
                                                                                              <a:gd name="connsiteY193" fmla="*/ 163002 h 1474967"/>
                                                                                              <a:gd name="connsiteX194" fmla="*/ 135173 w 1669774"/>
                                                                                              <a:gd name="connsiteY194" fmla="*/ 174929 h 1474967"/>
                                                                                              <a:gd name="connsiteX195" fmla="*/ 131197 w 1669774"/>
                                                                                              <a:gd name="connsiteY195" fmla="*/ 186856 h 1474967"/>
                                                                                              <a:gd name="connsiteX196" fmla="*/ 123246 w 1669774"/>
                                                                                              <a:gd name="connsiteY196" fmla="*/ 198783 h 1474967"/>
                                                                                              <a:gd name="connsiteX197" fmla="*/ 147100 w 1669774"/>
                                                                                              <a:gd name="connsiteY197" fmla="*/ 206734 h 1474967"/>
                                                                                              <a:gd name="connsiteX198" fmla="*/ 135173 w 1669774"/>
                                                                                              <a:gd name="connsiteY198" fmla="*/ 210710 h 1474967"/>
                                                                                              <a:gd name="connsiteX199" fmla="*/ 127221 w 1669774"/>
                                                                                              <a:gd name="connsiteY199" fmla="*/ 218661 h 1474967"/>
                                                                                              <a:gd name="connsiteX200" fmla="*/ 103367 w 1669774"/>
                                                                                              <a:gd name="connsiteY200" fmla="*/ 226612 h 1474967"/>
                                                                                              <a:gd name="connsiteX201" fmla="*/ 87465 w 1669774"/>
                                                                                              <a:gd name="connsiteY201" fmla="*/ 246491 h 1474967"/>
                                                                                              <a:gd name="connsiteX202" fmla="*/ 83489 w 1669774"/>
                                                                                              <a:gd name="connsiteY202" fmla="*/ 258418 h 1474967"/>
                                                                                              <a:gd name="connsiteX203" fmla="*/ 139148 w 1669774"/>
                                                                                              <a:gd name="connsiteY203" fmla="*/ 266369 h 1474967"/>
                                                                                              <a:gd name="connsiteX204" fmla="*/ 151075 w 1669774"/>
                                                                                              <a:gd name="connsiteY204" fmla="*/ 270345 h 1474967"/>
                                                                                              <a:gd name="connsiteX205" fmla="*/ 178905 w 1669774"/>
                                                                                              <a:gd name="connsiteY205" fmla="*/ 266369 h 1474967"/>
                                                                                              <a:gd name="connsiteX206" fmla="*/ 190832 w 1669774"/>
                                                                                              <a:gd name="connsiteY206" fmla="*/ 262393 h 1474967"/>
                                                                                              <a:gd name="connsiteX207" fmla="*/ 198783 w 1669774"/>
                                                                                              <a:gd name="connsiteY207" fmla="*/ 270345 h 1474967"/>
                                                                                              <a:gd name="connsiteX208" fmla="*/ 194807 w 1669774"/>
                                                                                              <a:gd name="connsiteY208" fmla="*/ 286247 h 1474967"/>
                                                                                              <a:gd name="connsiteX209" fmla="*/ 186856 w 1669774"/>
                                                                                              <a:gd name="connsiteY209" fmla="*/ 310101 h 1474967"/>
                                                                                              <a:gd name="connsiteX210" fmla="*/ 222637 w 1669774"/>
                                                                                              <a:gd name="connsiteY210" fmla="*/ 329979 h 1474967"/>
                                                                                              <a:gd name="connsiteX211" fmla="*/ 226613 w 1669774"/>
                                                                                              <a:gd name="connsiteY211" fmla="*/ 341906 h 1474967"/>
                                                                                              <a:gd name="connsiteX212" fmla="*/ 250466 w 1669774"/>
                                                                                              <a:gd name="connsiteY212" fmla="*/ 349858 h 1474967"/>
                                                                                              <a:gd name="connsiteX213" fmla="*/ 270345 w 1669774"/>
                                                                                              <a:gd name="connsiteY213" fmla="*/ 365760 h 1474967"/>
                                                                                              <a:gd name="connsiteX214" fmla="*/ 294199 w 1669774"/>
                                                                                              <a:gd name="connsiteY214" fmla="*/ 373712 h 1474967"/>
                                                                                              <a:gd name="connsiteX215" fmla="*/ 306126 w 1669774"/>
                                                                                              <a:gd name="connsiteY215" fmla="*/ 369736 h 1474967"/>
                                                                                              <a:gd name="connsiteX216" fmla="*/ 314077 w 1669774"/>
                                                                                              <a:gd name="connsiteY216" fmla="*/ 357809 h 1474967"/>
                                                                                              <a:gd name="connsiteX217" fmla="*/ 337931 w 1669774"/>
                                                                                              <a:gd name="connsiteY217" fmla="*/ 365760 h 1474967"/>
                                                                                              <a:gd name="connsiteX218" fmla="*/ 357809 w 1669774"/>
                                                                                              <a:gd name="connsiteY218" fmla="*/ 377687 h 1474967"/>
                                                                                              <a:gd name="connsiteX219" fmla="*/ 381663 w 1669774"/>
                                                                                              <a:gd name="connsiteY219" fmla="*/ 389614 h 1474967"/>
                                                                                              <a:gd name="connsiteX220" fmla="*/ 389614 w 1669774"/>
                                                                                              <a:gd name="connsiteY220" fmla="*/ 401541 h 1474967"/>
                                                                                              <a:gd name="connsiteX221" fmla="*/ 401541 w 1669774"/>
                                                                                              <a:gd name="connsiteY221" fmla="*/ 429371 h 1474967"/>
                                                                                              <a:gd name="connsiteX222" fmla="*/ 397566 w 1669774"/>
                                                                                              <a:gd name="connsiteY222" fmla="*/ 453225 h 1474967"/>
                                                                                              <a:gd name="connsiteX223" fmla="*/ 385639 w 1669774"/>
                                                                                              <a:gd name="connsiteY223" fmla="*/ 461176 h 1474967"/>
                                                                                              <a:gd name="connsiteX224" fmla="*/ 377687 w 1669774"/>
                                                                                              <a:gd name="connsiteY224" fmla="*/ 469127 h 1474967"/>
                                                                                              <a:gd name="connsiteX225" fmla="*/ 357809 w 1669774"/>
                                                                                              <a:gd name="connsiteY225" fmla="*/ 489005 h 1474967"/>
                                                                                              <a:gd name="connsiteX226" fmla="*/ 329980 w 1669774"/>
                                                                                              <a:gd name="connsiteY226" fmla="*/ 508884 h 1474967"/>
                                                                                              <a:gd name="connsiteX227" fmla="*/ 306126 w 1669774"/>
                                                                                              <a:gd name="connsiteY227" fmla="*/ 504908 h 1474967"/>
                                                                                              <a:gd name="connsiteX228" fmla="*/ 310101 w 1669774"/>
                                                                                              <a:gd name="connsiteY228" fmla="*/ 528762 h 1474967"/>
                                                                                              <a:gd name="connsiteX229" fmla="*/ 290223 w 1669774"/>
                                                                                              <a:gd name="connsiteY229" fmla="*/ 552616 h 1474967"/>
                                                                                              <a:gd name="connsiteX230" fmla="*/ 274320 w 1669774"/>
                                                                                              <a:gd name="connsiteY230" fmla="*/ 576470 h 1474967"/>
                                                                                              <a:gd name="connsiteX231" fmla="*/ 282272 w 1669774"/>
                                                                                              <a:gd name="connsiteY231" fmla="*/ 568518 h 1474967"/>
                                                                                              <a:gd name="connsiteX232" fmla="*/ 294199 w 1669774"/>
                                                                                              <a:gd name="connsiteY232" fmla="*/ 544665 h 1474967"/>
                                                                                              <a:gd name="connsiteX233" fmla="*/ 298174 w 1669774"/>
                                                                                              <a:gd name="connsiteY233" fmla="*/ 532738 h 1474967"/>
                                                                                              <a:gd name="connsiteX234" fmla="*/ 306126 w 1669774"/>
                                                                                              <a:gd name="connsiteY234" fmla="*/ 520811 h 1474967"/>
                                                                                              <a:gd name="connsiteX235" fmla="*/ 290223 w 1669774"/>
                                                                                              <a:gd name="connsiteY235" fmla="*/ 576470 h 1474967"/>
                                                                                              <a:gd name="connsiteX236" fmla="*/ 282272 w 1669774"/>
                                                                                              <a:gd name="connsiteY236" fmla="*/ 588397 h 1474967"/>
                                                                                              <a:gd name="connsiteX237" fmla="*/ 262393 w 1669774"/>
                                                                                              <a:gd name="connsiteY237" fmla="*/ 604299 h 1474967"/>
                                                                                              <a:gd name="connsiteX238" fmla="*/ 246491 w 1669774"/>
                                                                                              <a:gd name="connsiteY238" fmla="*/ 624178 h 1474967"/>
                                                                                              <a:gd name="connsiteX239" fmla="*/ 222637 w 1669774"/>
                                                                                              <a:gd name="connsiteY239" fmla="*/ 636105 h 1474967"/>
                                                                                              <a:gd name="connsiteX240" fmla="*/ 222637 w 1669774"/>
                                                                                              <a:gd name="connsiteY240" fmla="*/ 675861 h 1474967"/>
                                                                                              <a:gd name="connsiteX241" fmla="*/ 218661 w 1669774"/>
                                                                                              <a:gd name="connsiteY241" fmla="*/ 703691 h 1474967"/>
                                                                                              <a:gd name="connsiteX242" fmla="*/ 210710 w 1669774"/>
                                                                                              <a:gd name="connsiteY242" fmla="*/ 715618 h 1474967"/>
                                                                                              <a:gd name="connsiteX243" fmla="*/ 174929 w 1669774"/>
                                                                                              <a:gd name="connsiteY243" fmla="*/ 735496 h 1474967"/>
                                                                                              <a:gd name="connsiteX244" fmla="*/ 163002 w 1669774"/>
                                                                                              <a:gd name="connsiteY244" fmla="*/ 731520 h 1474967"/>
                                                                                              <a:gd name="connsiteX245" fmla="*/ 155051 w 1669774"/>
                                                                                              <a:gd name="connsiteY245" fmla="*/ 719593 h 1474967"/>
                                                                                              <a:gd name="connsiteX246" fmla="*/ 139148 w 1669774"/>
                                                                                              <a:gd name="connsiteY246" fmla="*/ 715618 h 1474967"/>
                                                                                              <a:gd name="connsiteX247" fmla="*/ 139148 w 1669774"/>
                                                                                              <a:gd name="connsiteY247" fmla="*/ 751398 h 1474967"/>
                                                                                              <a:gd name="connsiteX248" fmla="*/ 139148 w 1669774"/>
                                                                                              <a:gd name="connsiteY248" fmla="*/ 779228 h 1474967"/>
                                                                                              <a:gd name="connsiteX249" fmla="*/ 155051 w 1669774"/>
                                                                                              <a:gd name="connsiteY249" fmla="*/ 838863 h 1474967"/>
                                                                                              <a:gd name="connsiteX250" fmla="*/ 166978 w 1669774"/>
                                                                                              <a:gd name="connsiteY250" fmla="*/ 846814 h 1474967"/>
                                                                                              <a:gd name="connsiteX251" fmla="*/ 163002 w 1669774"/>
                                                                                              <a:gd name="connsiteY251" fmla="*/ 858741 h 1474967"/>
                                                                                              <a:gd name="connsiteX252" fmla="*/ 151075 w 1669774"/>
                                                                                              <a:gd name="connsiteY252" fmla="*/ 862717 h 1474967"/>
                                                                                              <a:gd name="connsiteX253" fmla="*/ 119270 w 1669774"/>
                                                                                              <a:gd name="connsiteY253" fmla="*/ 866692 h 1474967"/>
                                                                                              <a:gd name="connsiteX254" fmla="*/ 115294 w 1669774"/>
                                                                                              <a:gd name="connsiteY254" fmla="*/ 878619 h 1474967"/>
                                                                                              <a:gd name="connsiteX255" fmla="*/ 103367 w 1669774"/>
                                                                                              <a:gd name="connsiteY255" fmla="*/ 902473 h 1474967"/>
                                                                                              <a:gd name="connsiteX256" fmla="*/ 91440 w 1669774"/>
                                                                                              <a:gd name="connsiteY256" fmla="*/ 906449 h 1474967"/>
                                                                                              <a:gd name="connsiteX257" fmla="*/ 87465 w 1669774"/>
                                                                                              <a:gd name="connsiteY257" fmla="*/ 918376 h 1474967"/>
                                                                                              <a:gd name="connsiteX258" fmla="*/ 95416 w 1669774"/>
                                                                                              <a:gd name="connsiteY258" fmla="*/ 962108 h 1474967"/>
                                                                                              <a:gd name="connsiteX259" fmla="*/ 103367 w 1669774"/>
                                                                                              <a:gd name="connsiteY259" fmla="*/ 993913 h 1474967"/>
                                                                                              <a:gd name="connsiteX260" fmla="*/ 99392 w 1669774"/>
                                                                                              <a:gd name="connsiteY260" fmla="*/ 1021743 h 1474967"/>
                                                                                              <a:gd name="connsiteX261" fmla="*/ 87465 w 1669774"/>
                                                                                              <a:gd name="connsiteY261" fmla="*/ 1025718 h 1474967"/>
                                                                                              <a:gd name="connsiteX262" fmla="*/ 67586 w 1669774"/>
                                                                                              <a:gd name="connsiteY262" fmla="*/ 1041621 h 1474967"/>
                                                                                              <a:gd name="connsiteX263" fmla="*/ 43733 w 1669774"/>
                                                                                              <a:gd name="connsiteY263" fmla="*/ 1049572 h 1474967"/>
                                                                                              <a:gd name="connsiteX264" fmla="*/ 35781 w 1669774"/>
                                                                                              <a:gd name="connsiteY264" fmla="*/ 1057524 h 1474967"/>
                                                                                              <a:gd name="connsiteX265" fmla="*/ 23854 w 1669774"/>
                                                                                              <a:gd name="connsiteY265" fmla="*/ 1065475 h 1474967"/>
                                                                                              <a:gd name="connsiteX266" fmla="*/ 11927 w 1669774"/>
                                                                                              <a:gd name="connsiteY266" fmla="*/ 1089329 h 1474967"/>
                                                                                              <a:gd name="connsiteX267" fmla="*/ 7952 w 1669774"/>
                                                                                              <a:gd name="connsiteY267" fmla="*/ 1117158 h 1474967"/>
                                                                                              <a:gd name="connsiteX268" fmla="*/ 0 w 1669774"/>
                                                                                              <a:gd name="connsiteY268" fmla="*/ 1141012 h 1474967"/>
                                                                                              <a:gd name="connsiteX269" fmla="*/ 11927 w 1669774"/>
                                                                                              <a:gd name="connsiteY269" fmla="*/ 1156915 h 147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69774" h="1474967">
                                                                                                <a:moveTo>
                                                                                                  <a:pt x="11927" y="1156915"/>
                                                                                                </a:moveTo>
                                                                                                <a:lnTo>
                                                                                                  <a:pt x="11927" y="1156915"/>
                                                                                                </a:lnTo>
                                                                                                <a:cubicBezTo>
                                                                                                  <a:pt x="22529" y="1162216"/>
                                                                                                  <a:pt x="32183" y="1170153"/>
                                                                                                  <a:pt x="43733" y="1172818"/>
                                                                                                </a:cubicBezTo>
                                                                                                <a:cubicBezTo>
                                                                                                  <a:pt x="50317" y="1174337"/>
                                                                                                  <a:pt x="57201" y="1166705"/>
                                                                                                  <a:pt x="63611" y="1168842"/>
                                                                                                </a:cubicBezTo>
                                                                                                <a:cubicBezTo>
                                                                                                  <a:pt x="67587" y="1170167"/>
                                                                                                  <a:pt x="66570" y="1176703"/>
                                                                                                  <a:pt x="67586" y="1180769"/>
                                                                                                </a:cubicBezTo>
                                                                                                <a:cubicBezTo>
                                                                                                  <a:pt x="69225" y="1187325"/>
                                                                                                  <a:pt x="69189" y="1194320"/>
                                                                                                  <a:pt x="71562" y="1200647"/>
                                                                                                </a:cubicBezTo>
                                                                                                <a:cubicBezTo>
                                                                                                  <a:pt x="75882" y="1212168"/>
                                                                                                  <a:pt x="80613" y="1211961"/>
                                                                                                  <a:pt x="87465" y="1220525"/>
                                                                                                </a:cubicBezTo>
                                                                                                <a:cubicBezTo>
                                                                                                  <a:pt x="90450" y="1224256"/>
                                                                                                  <a:pt x="92306" y="1228824"/>
                                                                                                  <a:pt x="95416" y="1232452"/>
                                                                                                </a:cubicBezTo>
                                                                                                <a:cubicBezTo>
                                                                                                  <a:pt x="107156" y="1246149"/>
                                                                                                  <a:pt x="111967" y="1245677"/>
                                                                                                  <a:pt x="119270" y="1260282"/>
                                                                                                </a:cubicBezTo>
                                                                                                <a:cubicBezTo>
                                                                                                  <a:pt x="121144" y="1264030"/>
                                                                                                  <a:pt x="121921" y="1268233"/>
                                                                                                  <a:pt x="123246" y="1272209"/>
                                                                                                </a:cubicBezTo>
                                                                                                <a:cubicBezTo>
                                                                                                  <a:pt x="121921" y="1276185"/>
                                                                                                  <a:pt x="121144" y="1280388"/>
                                                                                                  <a:pt x="119270" y="1284136"/>
                                                                                                </a:cubicBezTo>
                                                                                                <a:cubicBezTo>
                                                                                                  <a:pt x="117133" y="1288410"/>
                                                                                                  <a:pt x="111319" y="1291285"/>
                                                                                                  <a:pt x="111319" y="1296063"/>
                                                                                                </a:cubicBezTo>
                                                                                                <a:cubicBezTo>
                                                                                                  <a:pt x="111319" y="1310256"/>
                                                                                                  <a:pt x="120015" y="1321035"/>
                                                                                                  <a:pt x="127221" y="1331844"/>
                                                                                                </a:cubicBezTo>
                                                                                                <a:lnTo>
                                                                                                  <a:pt x="119270" y="1355698"/>
                                                                                                </a:lnTo>
                                                                                                <a:lnTo>
                                                                                                  <a:pt x="115294" y="1367625"/>
                                                                                                </a:lnTo>
                                                                                                <a:cubicBezTo>
                                                                                                  <a:pt x="125288" y="1397604"/>
                                                                                                  <a:pt x="110645" y="1361813"/>
                                                                                                  <a:pt x="131197" y="1387503"/>
                                                                                                </a:cubicBezTo>
                                                                                                <a:cubicBezTo>
                                                                                                  <a:pt x="133815" y="1390775"/>
                                                                                                  <a:pt x="133299" y="1395682"/>
                                                                                                  <a:pt x="135173" y="1399430"/>
                                                                                                </a:cubicBezTo>
                                                                                                <a:cubicBezTo>
                                                                                                  <a:pt x="143698" y="1416480"/>
                                                                                                  <a:pt x="142740" y="1407455"/>
                                                                                                  <a:pt x="155051" y="1423284"/>
                                                                                                </a:cubicBezTo>
                                                                                                <a:cubicBezTo>
                                                                                                  <a:pt x="177379" y="1451992"/>
                                                                                                  <a:pt x="160089" y="1443517"/>
                                                                                                  <a:pt x="182880" y="1451113"/>
                                                                                                </a:cubicBezTo>
                                                                                                <a:cubicBezTo>
                                                                                                  <a:pt x="192157" y="1449788"/>
                                                                                                  <a:pt x="202328" y="1451329"/>
                                                                                                  <a:pt x="210710" y="1447138"/>
                                                                                                </a:cubicBezTo>
                                                                                                <a:cubicBezTo>
                                                                                                  <a:pt x="214458" y="1445264"/>
                                                                                                  <a:pt x="212530" y="1438805"/>
                                                                                                  <a:pt x="214686" y="1435211"/>
                                                                                                </a:cubicBezTo>
                                                                                                <a:cubicBezTo>
                                                                                                  <a:pt x="218464" y="1428914"/>
                                                                                                  <a:pt x="229144" y="1422921"/>
                                                                                                  <a:pt x="234564" y="1419308"/>
                                                                                                </a:cubicBezTo>
                                                                                                <a:cubicBezTo>
                                                                                                  <a:pt x="235889" y="1415332"/>
                                                                                                  <a:pt x="235130" y="1409817"/>
                                                                                                  <a:pt x="238540" y="1407381"/>
                                                                                                </a:cubicBezTo>
                                                                                                <a:cubicBezTo>
                                                                                                  <a:pt x="245360" y="1402510"/>
                                                                                                  <a:pt x="262393" y="1399430"/>
                                                                                                  <a:pt x="262393" y="1399430"/>
                                                                                                </a:cubicBezTo>
                                                                                                <a:cubicBezTo>
                                                                                                  <a:pt x="275645" y="1400755"/>
                                                                                                  <a:pt x="289060" y="1400951"/>
                                                                                                  <a:pt x="302150" y="1403405"/>
                                                                                                </a:cubicBezTo>
                                                                                                <a:cubicBezTo>
                                                                                                  <a:pt x="310388" y="1404950"/>
                                                                                                  <a:pt x="318053" y="1408707"/>
                                                                                                  <a:pt x="326004" y="1411357"/>
                                                                                                </a:cubicBezTo>
                                                                                                <a:lnTo>
                                                                                                  <a:pt x="337931" y="1415332"/>
                                                                                                </a:lnTo>
                                                                                                <a:cubicBezTo>
                                                                                                  <a:pt x="349349" y="1411527"/>
                                                                                                  <a:pt x="350531" y="1413109"/>
                                                                                                  <a:pt x="357809" y="1403405"/>
                                                                                                </a:cubicBezTo>
                                                                                                <a:cubicBezTo>
                                                                                                  <a:pt x="363543" y="1395760"/>
                                                                                                  <a:pt x="373712" y="1379552"/>
                                                                                                  <a:pt x="373712" y="1379552"/>
                                                                                                </a:cubicBezTo>
                                                                                                <a:cubicBezTo>
                                                                                                  <a:pt x="390940" y="1380877"/>
                                                                                                  <a:pt x="408235" y="1381508"/>
                                                                                                  <a:pt x="425395" y="1383527"/>
                                                                                                </a:cubicBezTo>
                                                                                                <a:cubicBezTo>
                                                                                                  <a:pt x="430822" y="1384165"/>
                                                                                                  <a:pt x="436411" y="1385059"/>
                                                                                                  <a:pt x="441298" y="1387503"/>
                                                                                                </a:cubicBezTo>
                                                                                                <a:cubicBezTo>
                                                                                                  <a:pt x="449845" y="1391777"/>
                                                                                                  <a:pt x="456086" y="1400383"/>
                                                                                                  <a:pt x="465152" y="1403405"/>
                                                                                                </a:cubicBezTo>
                                                                                                <a:lnTo>
                                                                                                  <a:pt x="489006" y="1411357"/>
                                                                                                </a:lnTo>
                                                                                                <a:lnTo>
                                                                                                  <a:pt x="500933" y="1415332"/>
                                                                                                </a:lnTo>
                                                                                                <a:cubicBezTo>
                                                                                                  <a:pt x="513312" y="1423585"/>
                                                                                                  <a:pt x="522282" y="1432587"/>
                                                                                                  <a:pt x="536713" y="1435211"/>
                                                                                                </a:cubicBezTo>
                                                                                                <a:cubicBezTo>
                                                                                                  <a:pt x="547225" y="1437122"/>
                                                                                                  <a:pt x="557917" y="1437861"/>
                                                                                                  <a:pt x="568519" y="1439186"/>
                                                                                                </a:cubicBezTo>
                                                                                                <a:cubicBezTo>
                                                                                                  <a:pt x="572495" y="1440511"/>
                                                                                                  <a:pt x="576698" y="1441288"/>
                                                                                                  <a:pt x="580446" y="1443162"/>
                                                                                                </a:cubicBezTo>
                                                                                                <a:cubicBezTo>
                                                                                                  <a:pt x="584720" y="1445299"/>
                                                                                                  <a:pt x="588007" y="1449172"/>
                                                                                                  <a:pt x="592373" y="1451113"/>
                                                                                                </a:cubicBezTo>
                                                                                                <a:cubicBezTo>
                                                                                                  <a:pt x="600032" y="1454517"/>
                                                                                                  <a:pt x="616226" y="1459065"/>
                                                                                                  <a:pt x="616226" y="1459065"/>
                                                                                                </a:cubicBezTo>
                                                                                                <a:cubicBezTo>
                                                                                                  <a:pt x="626828" y="1457740"/>
                                                                                                  <a:pt x="637585" y="1457328"/>
                                                                                                  <a:pt x="648032" y="1455089"/>
                                                                                                </a:cubicBezTo>
                                                                                                <a:cubicBezTo>
                                                                                                  <a:pt x="656227" y="1453333"/>
                                                                                                  <a:pt x="671886" y="1447138"/>
                                                                                                  <a:pt x="671886" y="1447138"/>
                                                                                                </a:cubicBezTo>
                                                                                                <a:cubicBezTo>
                                                                                                  <a:pt x="675862" y="1448463"/>
                                                                                                  <a:pt x="680220" y="1448957"/>
                                                                                                  <a:pt x="683813" y="1451113"/>
                                                                                                </a:cubicBezTo>
                                                                                                <a:cubicBezTo>
                                                                                                  <a:pt x="706890" y="1464960"/>
                                                                                                  <a:pt x="676980" y="1452232"/>
                                                                                                  <a:pt x="695740" y="1470992"/>
                                                                                                </a:cubicBezTo>
                                                                                                <a:cubicBezTo>
                                                                                                  <a:pt x="698703" y="1473955"/>
                                                                                                  <a:pt x="703691" y="1473642"/>
                                                                                                  <a:pt x="707666" y="1474967"/>
                                                                                                </a:cubicBezTo>
                                                                                                <a:cubicBezTo>
                                                                                                  <a:pt x="712967" y="1473642"/>
                                                                                                  <a:pt x="718682" y="1473436"/>
                                                                                                  <a:pt x="723569" y="1470992"/>
                                                                                                </a:cubicBezTo>
                                                                                                <a:cubicBezTo>
                                                                                                  <a:pt x="733921" y="1465816"/>
                                                                                                  <a:pt x="730963" y="1460179"/>
                                                                                                  <a:pt x="735496" y="1451113"/>
                                                                                                </a:cubicBezTo>
                                                                                                <a:cubicBezTo>
                                                                                                  <a:pt x="737633" y="1446839"/>
                                                                                                  <a:pt x="740462" y="1442917"/>
                                                                                                  <a:pt x="743447" y="1439186"/>
                                                                                                </a:cubicBezTo>
                                                                                                <a:cubicBezTo>
                                                                                                  <a:pt x="751979" y="1428521"/>
                                                                                                  <a:pt x="751847" y="1432467"/>
                                                                                                  <a:pt x="763326" y="1423284"/>
                                                                                                </a:cubicBezTo>
                                                                                                <a:cubicBezTo>
                                                                                                  <a:pt x="766253" y="1420942"/>
                                                                                                  <a:pt x="768627" y="1417983"/>
                                                                                                  <a:pt x="771277" y="1415332"/>
                                                                                                </a:cubicBezTo>
                                                                                                <a:cubicBezTo>
                                                                                                  <a:pt x="772602" y="1411356"/>
                                                                                                  <a:pt x="772290" y="1406368"/>
                                                                                                  <a:pt x="775253" y="1403405"/>
                                                                                                </a:cubicBezTo>
                                                                                                <a:cubicBezTo>
                                                                                                  <a:pt x="778216" y="1400442"/>
                                                                                                  <a:pt x="783432" y="1401304"/>
                                                                                                  <a:pt x="787180" y="1399430"/>
                                                                                                </a:cubicBezTo>
                                                                                                <a:cubicBezTo>
                                                                                                  <a:pt x="818007" y="1384016"/>
                                                                                                  <a:pt x="781054" y="1397494"/>
                                                                                                  <a:pt x="811033" y="1387503"/>
                                                                                                </a:cubicBezTo>
                                                                                                <a:cubicBezTo>
                                                                                                  <a:pt x="813684" y="1384853"/>
                                                                                                  <a:pt x="815771" y="1381480"/>
                                                                                                  <a:pt x="818985" y="1379552"/>
                                                                                                </a:cubicBezTo>
                                                                                                <a:cubicBezTo>
                                                                                                  <a:pt x="823059" y="1377107"/>
                                                                                                  <a:pt x="843843" y="1372343"/>
                                                                                                  <a:pt x="846814" y="1371600"/>
                                                                                                </a:cubicBezTo>
                                                                                                <a:cubicBezTo>
                                                                                                  <a:pt x="887989" y="1375343"/>
                                                                                                  <a:pt x="906426" y="1379321"/>
                                                                                                  <a:pt x="950181" y="1371600"/>
                                                                                                </a:cubicBezTo>
                                                                                                <a:cubicBezTo>
                                                                                                  <a:pt x="953872" y="1370949"/>
                                                                                                  <a:pt x="955482" y="1366299"/>
                                                                                                  <a:pt x="958133" y="1363649"/>
                                                                                                </a:cubicBezTo>
                                                                                                <a:cubicBezTo>
                                                                                                  <a:pt x="956808" y="1358348"/>
                                                                                                  <a:pt x="955658" y="1353000"/>
                                                                                                  <a:pt x="954157" y="1347746"/>
                                                                                                </a:cubicBezTo>
                                                                                                <a:cubicBezTo>
                                                                                                  <a:pt x="953006" y="1343717"/>
                                                                                                  <a:pt x="948625" y="1339710"/>
                                                                                                  <a:pt x="950181" y="1335819"/>
                                                                                                </a:cubicBezTo>
                                                                                                <a:cubicBezTo>
                                                                                                  <a:pt x="951956" y="1331383"/>
                                                                                                  <a:pt x="958377" y="1330853"/>
                                                                                                  <a:pt x="962108" y="1327868"/>
                                                                                                </a:cubicBezTo>
                                                                                                <a:cubicBezTo>
                                                                                                  <a:pt x="965035" y="1325527"/>
                                                                                                  <a:pt x="967718" y="1322844"/>
                                                                                                  <a:pt x="970060" y="1319917"/>
                                                                                                </a:cubicBezTo>
                                                                                                <a:cubicBezTo>
                                                                                                  <a:pt x="973045" y="1316186"/>
                                                                                                  <a:pt x="975026" y="1311721"/>
                                                                                                  <a:pt x="978011" y="1307990"/>
                                                                                                </a:cubicBezTo>
                                                                                                <a:cubicBezTo>
                                                                                                  <a:pt x="987870" y="1295665"/>
                                                                                                  <a:pt x="985757" y="1304424"/>
                                                                                                  <a:pt x="993913" y="1288112"/>
                                                                                                </a:cubicBezTo>
                                                                                                <a:cubicBezTo>
                                                                                                  <a:pt x="1004236" y="1267467"/>
                                                                                                  <a:pt x="990309" y="1283766"/>
                                                                                                  <a:pt x="1005840" y="1268233"/>
                                                                                                </a:cubicBezTo>
                                                                                                <a:cubicBezTo>
                                                                                                  <a:pt x="1007165" y="1264257"/>
                                                                                                  <a:pt x="1006853" y="1259269"/>
                                                                                                  <a:pt x="1009816" y="1256306"/>
                                                                                                </a:cubicBezTo>
                                                                                                <a:cubicBezTo>
                                                                                                  <a:pt x="1016573" y="1249549"/>
                                                                                                  <a:pt x="1026913" y="1247161"/>
                                                                                                  <a:pt x="1033670" y="1240404"/>
                                                                                                </a:cubicBezTo>
                                                                                                <a:cubicBezTo>
                                                                                                  <a:pt x="1038971" y="1235103"/>
                                                                                                  <a:pt x="1042098" y="1225076"/>
                                                                                                  <a:pt x="1049573" y="1224501"/>
                                                                                                </a:cubicBezTo>
                                                                                                <a:lnTo>
                                                                                                  <a:pt x="1101256" y="1220525"/>
                                                                                                </a:lnTo>
                                                                                                <a:cubicBezTo>
                                                                                                  <a:pt x="1103906" y="1216549"/>
                                                                                                  <a:pt x="1108732" y="1213352"/>
                                                                                                  <a:pt x="1109207" y="1208598"/>
                                                                                                </a:cubicBezTo>
                                                                                                <a:cubicBezTo>
                                                                                                  <a:pt x="1111665" y="1184020"/>
                                                                                                  <a:pt x="1109073" y="1184610"/>
                                                                                                  <a:pt x="1097280" y="1172818"/>
                                                                                                </a:cubicBezTo>
                                                                                                <a:lnTo>
                                                                                                  <a:pt x="1085353" y="1137037"/>
                                                                                                </a:lnTo>
                                                                                                <a:lnTo>
                                                                                                  <a:pt x="1081378" y="1125110"/>
                                                                                                </a:lnTo>
                                                                                                <a:lnTo>
                                                                                                  <a:pt x="1077402" y="1113183"/>
                                                                                                </a:lnTo>
                                                                                                <a:cubicBezTo>
                                                                                                  <a:pt x="1077463" y="1112515"/>
                                                                                                  <a:pt x="1077979" y="1069814"/>
                                                                                                  <a:pt x="1085353" y="1057524"/>
                                                                                                </a:cubicBezTo>
                                                                                                <a:cubicBezTo>
                                                                                                  <a:pt x="1087282" y="1054310"/>
                                                                                                  <a:pt x="1090654" y="1052223"/>
                                                                                                  <a:pt x="1093305" y="1049572"/>
                                                                                                </a:cubicBezTo>
                                                                                                <a:cubicBezTo>
                                                                                                  <a:pt x="1094630" y="1045596"/>
                                                                                                  <a:pt x="1095124" y="1041238"/>
                                                                                                  <a:pt x="1097280" y="1037645"/>
                                                                                                </a:cubicBezTo>
                                                                                                <a:cubicBezTo>
                                                                                                  <a:pt x="1101056" y="1031352"/>
                                                                                                  <a:pt x="1111744" y="1025353"/>
                                                                                                  <a:pt x="1117159" y="1021743"/>
                                                                                                </a:cubicBezTo>
                                                                                                <a:cubicBezTo>
                                                                                                  <a:pt x="1127019" y="992158"/>
                                                                                                  <a:pt x="1111883" y="1031645"/>
                                                                                                  <a:pt x="1137037" y="993913"/>
                                                                                                </a:cubicBezTo>
                                                                                                <a:cubicBezTo>
                                                                                                  <a:pt x="1142943" y="985053"/>
                                                                                                  <a:pt x="1144844" y="980511"/>
                                                                                                  <a:pt x="1152940" y="974035"/>
                                                                                                </a:cubicBezTo>
                                                                                                <a:cubicBezTo>
                                                                                                  <a:pt x="1156671" y="971050"/>
                                                                                                  <a:pt x="1161135" y="969069"/>
                                                                                                  <a:pt x="1164866" y="966084"/>
                                                                                                </a:cubicBezTo>
                                                                                                <a:cubicBezTo>
                                                                                                  <a:pt x="1167793" y="963742"/>
                                                                                                  <a:pt x="1170476" y="961059"/>
                                                                                                  <a:pt x="1172818" y="958132"/>
                                                                                                </a:cubicBezTo>
                                                                                                <a:cubicBezTo>
                                                                                                  <a:pt x="1175803" y="954401"/>
                                                                                                  <a:pt x="1177038" y="949190"/>
                                                                                                  <a:pt x="1180769" y="946205"/>
                                                                                                </a:cubicBezTo>
                                                                                                <a:cubicBezTo>
                                                                                                  <a:pt x="1184041" y="943587"/>
                                                                                                  <a:pt x="1188720" y="943555"/>
                                                                                                  <a:pt x="1192696" y="942230"/>
                                                                                                </a:cubicBezTo>
                                                                                                <a:cubicBezTo>
                                                                                                  <a:pt x="1197997" y="936929"/>
                                                                                                  <a:pt x="1202361" y="930485"/>
                                                                                                  <a:pt x="1208599" y="926327"/>
                                                                                                </a:cubicBezTo>
                                                                                                <a:cubicBezTo>
                                                                                                  <a:pt x="1216550" y="921026"/>
                                                                                                  <a:pt x="1225696" y="917183"/>
                                                                                                  <a:pt x="1232453" y="910425"/>
                                                                                                </a:cubicBezTo>
                                                                                                <a:cubicBezTo>
                                                                                                  <a:pt x="1235103" y="907774"/>
                                                                                                  <a:pt x="1237051" y="904149"/>
                                                                                                  <a:pt x="1240404" y="902473"/>
                                                                                                </a:cubicBezTo>
                                                                                                <a:cubicBezTo>
                                                                                                  <a:pt x="1247901" y="898725"/>
                                                                                                  <a:pt x="1264258" y="894522"/>
                                                                                                  <a:pt x="1264258" y="894522"/>
                                                                                                </a:cubicBezTo>
                                                                                                <a:lnTo>
                                                                                                  <a:pt x="1292087" y="886571"/>
                                                                                                </a:lnTo>
                                                                                                <a:cubicBezTo>
                                                                                                  <a:pt x="1290762" y="874644"/>
                                                                                                  <a:pt x="1285758" y="862557"/>
                                                                                                  <a:pt x="1288112" y="850790"/>
                                                                                                </a:cubicBezTo>
                                                                                                <a:cubicBezTo>
                                                                                                  <a:pt x="1288934" y="846681"/>
                                                                                                  <a:pt x="1296767" y="849432"/>
                                                                                                  <a:pt x="1300039" y="846814"/>
                                                                                                </a:cubicBezTo>
                                                                                                <a:cubicBezTo>
                                                                                                  <a:pt x="1303770" y="843829"/>
                                                                                                  <a:pt x="1304014" y="837537"/>
                                                                                                  <a:pt x="1307990" y="834887"/>
                                                                                                </a:cubicBezTo>
                                                                                                <a:cubicBezTo>
                                                                                                  <a:pt x="1311931" y="832259"/>
                                                                                                  <a:pt x="1347686" y="826939"/>
                                                                                                  <a:pt x="1347746" y="826936"/>
                                                                                                </a:cubicBezTo>
                                                                                                <a:cubicBezTo>
                                                                                                  <a:pt x="1392767" y="824685"/>
                                                                                                  <a:pt x="1437861" y="824285"/>
                                                                                                  <a:pt x="1482919" y="822960"/>
                                                                                                </a:cubicBezTo>
                                                                                                <a:cubicBezTo>
                                                                                                  <a:pt x="1490870" y="821635"/>
                                                                                                  <a:pt x="1499563" y="822590"/>
                                                                                                  <a:pt x="1506773" y="818985"/>
                                                                                                </a:cubicBezTo>
                                                                                                <a:cubicBezTo>
                                                                                                  <a:pt x="1511047" y="816848"/>
                                                                                                  <a:pt x="1511739" y="810789"/>
                                                                                                  <a:pt x="1514724" y="807058"/>
                                                                                                </a:cubicBezTo>
                                                                                                <a:cubicBezTo>
                                                                                                  <a:pt x="1517065" y="804131"/>
                                                                                                  <a:pt x="1519322" y="800782"/>
                                                                                                  <a:pt x="1522675" y="799106"/>
                                                                                                </a:cubicBezTo>
                                                                                                <a:cubicBezTo>
                                                                                                  <a:pt x="1530172" y="795358"/>
                                                                                                  <a:pt x="1538578" y="793805"/>
                                                                                                  <a:pt x="1546529" y="791155"/>
                                                                                                </a:cubicBezTo>
                                                                                                <a:lnTo>
                                                                                                  <a:pt x="1570383" y="783204"/>
                                                                                                </a:lnTo>
                                                                                                <a:lnTo>
                                                                                                  <a:pt x="1582310" y="779228"/>
                                                                                                </a:lnTo>
                                                                                                <a:cubicBezTo>
                                                                                                  <a:pt x="1586286" y="777903"/>
                                                                                                  <a:pt x="1590750" y="777577"/>
                                                                                                  <a:pt x="1594237" y="775252"/>
                                                                                                </a:cubicBezTo>
                                                                                                <a:cubicBezTo>
                                                                                                  <a:pt x="1602188" y="769951"/>
                                                                                                  <a:pt x="1609025" y="762372"/>
                                                                                                  <a:pt x="1618091" y="759350"/>
                                                                                                </a:cubicBezTo>
                                                                                                <a:cubicBezTo>
                                                                                                  <a:pt x="1646478" y="749887"/>
                                                                                                  <a:pt x="1634971" y="756047"/>
                                                                                                  <a:pt x="1653872" y="743447"/>
                                                                                                </a:cubicBezTo>
                                                                                                <a:cubicBezTo>
                                                                                                  <a:pt x="1656522" y="739471"/>
                                                                                                  <a:pt x="1659686" y="735794"/>
                                                                                                  <a:pt x="1661823" y="731520"/>
                                                                                                </a:cubicBezTo>
                                                                                                <a:cubicBezTo>
                                                                                                  <a:pt x="1668484" y="718197"/>
                                                                                                  <a:pt x="1668514" y="695156"/>
                                                                                                  <a:pt x="1669774" y="683812"/>
                                                                                                </a:cubicBezTo>
                                                                                                <a:cubicBezTo>
                                                                                                  <a:pt x="1668449" y="674536"/>
                                                                                                  <a:pt x="1668762" y="664873"/>
                                                                                                  <a:pt x="1665799" y="655983"/>
                                                                                                </a:cubicBezTo>
                                                                                                <a:cubicBezTo>
                                                                                                  <a:pt x="1664614" y="652427"/>
                                                                                                  <a:pt x="1660774" y="650374"/>
                                                                                                  <a:pt x="1657847" y="648032"/>
                                                                                                </a:cubicBezTo>
                                                                                                <a:cubicBezTo>
                                                                                                  <a:pt x="1645365" y="638047"/>
                                                                                                  <a:pt x="1645992" y="640098"/>
                                                                                                  <a:pt x="1630018" y="636105"/>
                                                                                                </a:cubicBezTo>
                                                                                                <a:cubicBezTo>
                                                                                                  <a:pt x="1616766" y="637430"/>
                                                                                                  <a:pt x="1603579" y="640080"/>
                                                                                                  <a:pt x="1590261" y="640080"/>
                                                                                                </a:cubicBezTo>
                                                                                                <a:cubicBezTo>
                                                                                                  <a:pt x="1585266" y="640080"/>
                                                                                                  <a:pt x="1568058" y="634005"/>
                                                                                                  <a:pt x="1562432" y="632129"/>
                                                                                                </a:cubicBezTo>
                                                                                                <a:cubicBezTo>
                                                                                                  <a:pt x="1546900" y="616599"/>
                                                                                                  <a:pt x="1563197" y="628153"/>
                                                                                                  <a:pt x="1542553" y="628153"/>
                                                                                                </a:cubicBezTo>
                                                                                                <a:cubicBezTo>
                                                                                                  <a:pt x="1533183" y="628153"/>
                                                                                                  <a:pt x="1524000" y="625503"/>
                                                                                                  <a:pt x="1514724" y="624178"/>
                                                                                                </a:cubicBezTo>
                                                                                                <a:cubicBezTo>
                                                                                                  <a:pt x="1503461" y="590391"/>
                                                                                                  <a:pt x="1519169" y="631586"/>
                                                                                                  <a:pt x="1502797" y="604299"/>
                                                                                                </a:cubicBezTo>
                                                                                                <a:cubicBezTo>
                                                                                                  <a:pt x="1500641" y="600705"/>
                                                                                                  <a:pt x="1501784" y="595335"/>
                                                                                                  <a:pt x="1498821" y="592372"/>
                                                                                                </a:cubicBezTo>
                                                                                                <a:cubicBezTo>
                                                                                                  <a:pt x="1495858" y="589409"/>
                                                                                                  <a:pt x="1486894" y="588397"/>
                                                                                                  <a:pt x="1486894" y="588397"/>
                                                                                                </a:cubicBezTo>
                                                                                                <a:lnTo>
                                                                                                  <a:pt x="1455089" y="588397"/>
                                                                                                </a:lnTo>
                                                                                                <a:cubicBezTo>
                                                                                                  <a:pt x="1448463" y="579120"/>
                                                                                                  <a:pt x="1439445" y="571152"/>
                                                                                                  <a:pt x="1435211" y="560567"/>
                                                                                                </a:cubicBezTo>
                                                                                                <a:cubicBezTo>
                                                                                                  <a:pt x="1433655" y="556676"/>
                                                                                                  <a:pt x="1440742" y="552531"/>
                                                                                                  <a:pt x="1439186" y="548640"/>
                                                                                                </a:cubicBezTo>
                                                                                                <a:cubicBezTo>
                                                                                                  <a:pt x="1436815" y="542712"/>
                                                                                                  <a:pt x="1420353" y="538387"/>
                                                                                                  <a:pt x="1415333" y="536713"/>
                                                                                                </a:cubicBezTo>
                                                                                                <a:cubicBezTo>
                                                                                                  <a:pt x="1399801" y="521183"/>
                                                                                                  <a:pt x="1416098" y="535108"/>
                                                                                                  <a:pt x="1395454" y="524786"/>
                                                                                                </a:cubicBezTo>
                                                                                                <a:cubicBezTo>
                                                                                                  <a:pt x="1364626" y="509372"/>
                                                                                                  <a:pt x="1401579" y="522853"/>
                                                                                                  <a:pt x="1371600" y="512859"/>
                                                                                                </a:cubicBezTo>
                                                                                                <a:cubicBezTo>
                                                                                                  <a:pt x="1365568" y="516881"/>
                                                                                                  <a:pt x="1355978" y="524786"/>
                                                                                                  <a:pt x="1347746" y="524786"/>
                                                                                                </a:cubicBezTo>
                                                                                                <a:cubicBezTo>
                                                                                                  <a:pt x="1339685" y="524786"/>
                                                                                                  <a:pt x="1331844" y="522136"/>
                                                                                                  <a:pt x="1323893" y="520811"/>
                                                                                                </a:cubicBezTo>
                                                                                                <a:cubicBezTo>
                                                                                                  <a:pt x="1321242" y="518160"/>
                                                                                                  <a:pt x="1318283" y="515786"/>
                                                                                                  <a:pt x="1315941" y="512859"/>
                                                                                                </a:cubicBezTo>
                                                                                                <a:cubicBezTo>
                                                                                                  <a:pt x="1312956" y="509128"/>
                                                                                                  <a:pt x="1311369" y="504311"/>
                                                                                                  <a:pt x="1307990" y="500932"/>
                                                                                                </a:cubicBezTo>
                                                                                                <a:cubicBezTo>
                                                                                                  <a:pt x="1304611" y="497553"/>
                                                                                                  <a:pt x="1300039" y="495631"/>
                                                                                                  <a:pt x="1296063" y="492981"/>
                                                                                                </a:cubicBezTo>
                                                                                                <a:cubicBezTo>
                                                                                                  <a:pt x="1290762" y="494306"/>
                                                                                                  <a:pt x="1285414" y="495456"/>
                                                                                                  <a:pt x="1280160" y="496957"/>
                                                                                                </a:cubicBezTo>
                                                                                                <a:cubicBezTo>
                                                                                                  <a:pt x="1276131" y="498108"/>
                                                                                                  <a:pt x="1271643" y="503368"/>
                                                                                                  <a:pt x="1268233" y="500932"/>
                                                                                                </a:cubicBezTo>
                                                                                                <a:cubicBezTo>
                                                                                                  <a:pt x="1260457" y="495377"/>
                                                                                                  <a:pt x="1261397" y="480099"/>
                                                                                                  <a:pt x="1252331" y="477078"/>
                                                                                                </a:cubicBezTo>
                                                                                                <a:lnTo>
                                                                                                  <a:pt x="1240404" y="473103"/>
                                                                                                </a:lnTo>
                                                                                                <a:cubicBezTo>
                                                                                                  <a:pt x="1230211" y="442526"/>
                                                                                                  <a:pt x="1247529" y="482445"/>
                                                                                                  <a:pt x="1200647" y="457200"/>
                                                                                                </a:cubicBezTo>
                                                                                                <a:cubicBezTo>
                                                                                                  <a:pt x="1167808" y="439517"/>
                                                                                                  <a:pt x="1194175" y="438176"/>
                                                                                                  <a:pt x="1180769" y="421419"/>
                                                                                                </a:cubicBezTo>
                                                                                                <a:cubicBezTo>
                                                                                                  <a:pt x="1177784" y="417688"/>
                                                                                                  <a:pt x="1173208" y="415409"/>
                                                                                                  <a:pt x="1168842" y="413468"/>
                                                                                                </a:cubicBezTo>
                                                                                                <a:cubicBezTo>
                                                                                                  <a:pt x="1161183" y="410064"/>
                                                                                                  <a:pt x="1144988" y="405517"/>
                                                                                                  <a:pt x="1144988" y="405517"/>
                                                                                                </a:cubicBezTo>
                                                                                                <a:cubicBezTo>
                                                                                                  <a:pt x="1142338" y="402866"/>
                                                                                                  <a:pt x="1139378" y="400492"/>
                                                                                                  <a:pt x="1137037" y="397565"/>
                                                                                                </a:cubicBezTo>
                                                                                                <a:cubicBezTo>
                                                                                                  <a:pt x="1134052" y="393834"/>
                                                                                                  <a:pt x="1133750" y="386674"/>
                                                                                                  <a:pt x="1129086" y="385638"/>
                                                                                                </a:cubicBezTo>
                                                                                                <a:cubicBezTo>
                                                                                                  <a:pt x="1119938" y="383605"/>
                                                                                                  <a:pt x="1110533" y="388289"/>
                                                                                                  <a:pt x="1101256" y="389614"/>
                                                                                                </a:cubicBezTo>
                                                                                                <a:cubicBezTo>
                                                                                                  <a:pt x="1098606" y="385638"/>
                                                                                                  <a:pt x="1093305" y="382465"/>
                                                                                                  <a:pt x="1093305" y="377687"/>
                                                                                                </a:cubicBezTo>
                                                                                                <a:cubicBezTo>
                                                                                                  <a:pt x="1093305" y="372909"/>
                                                                                                  <a:pt x="1099119" y="370034"/>
                                                                                                  <a:pt x="1101256" y="365760"/>
                                                                                                </a:cubicBezTo>
                                                                                                <a:cubicBezTo>
                                                                                                  <a:pt x="1103130" y="362012"/>
                                                                                                  <a:pt x="1103907" y="357809"/>
                                                                                                  <a:pt x="1105232" y="353833"/>
                                                                                                </a:cubicBezTo>
                                                                                                <a:cubicBezTo>
                                                                                                  <a:pt x="1099931" y="352508"/>
                                                                                                  <a:pt x="1093596" y="353271"/>
                                                                                                  <a:pt x="1089329" y="349858"/>
                                                                                                </a:cubicBezTo>
                                                                                                <a:cubicBezTo>
                                                                                                  <a:pt x="1066657" y="331722"/>
                                                                                                  <a:pt x="1103978" y="343267"/>
                                                                                                  <a:pt x="1077402" y="329979"/>
                                                                                                </a:cubicBezTo>
                                                                                                <a:cubicBezTo>
                                                                                                  <a:pt x="1069905" y="326231"/>
                                                                                                  <a:pt x="1061499" y="324678"/>
                                                                                                  <a:pt x="1053548" y="322028"/>
                                                                                                </a:cubicBezTo>
                                                                                                <a:cubicBezTo>
                                                                                                  <a:pt x="1027732" y="313423"/>
                                                                                                  <a:pt x="1045805" y="318432"/>
                                                                                                  <a:pt x="997889" y="314077"/>
                                                                                                </a:cubicBezTo>
                                                                                                <a:cubicBezTo>
                                                                                                  <a:pt x="992588" y="308776"/>
                                                                                                  <a:pt x="988224" y="302333"/>
                                                                                                  <a:pt x="981986" y="298174"/>
                                                                                                </a:cubicBezTo>
                                                                                                <a:cubicBezTo>
                                                                                                  <a:pt x="963822" y="286064"/>
                                                                                                  <a:pt x="973438" y="293601"/>
                                                                                                  <a:pt x="954157" y="274320"/>
                                                                                                </a:cubicBezTo>
                                                                                                <a:lnTo>
                                                                                                  <a:pt x="942230" y="262393"/>
                                                                                                </a:lnTo>
                                                                                                <a:cubicBezTo>
                                                                                                  <a:pt x="925042" y="266690"/>
                                                                                                  <a:pt x="931791" y="266369"/>
                                                                                                  <a:pt x="922352" y="266369"/>
                                                                                                </a:cubicBezTo>
                                                                                                <a:lnTo>
                                                                                                  <a:pt x="902473" y="274320"/>
                                                                                                </a:lnTo>
                                                                                                <a:cubicBezTo>
                                                                                                  <a:pt x="893197" y="267694"/>
                                                                                                  <a:pt x="884681" y="259847"/>
                                                                                                  <a:pt x="874644" y="254442"/>
                                                                                                </a:cubicBezTo>
                                                                                                <a:cubicBezTo>
                                                                                                  <a:pt x="867264" y="250468"/>
                                                                                                  <a:pt x="850790" y="246491"/>
                                                                                                  <a:pt x="850790" y="246491"/>
                                                                                                </a:cubicBezTo>
                                                                                                <a:cubicBezTo>
                                                                                                  <a:pt x="849465" y="242515"/>
                                                                                                  <a:pt x="848970" y="238158"/>
                                                                                                  <a:pt x="846814" y="234564"/>
                                                                                                </a:cubicBezTo>
                                                                                                <a:cubicBezTo>
                                                                                                  <a:pt x="840558" y="224137"/>
                                                                                                  <a:pt x="834396" y="225496"/>
                                                                                                  <a:pt x="822960" y="222637"/>
                                                                                                </a:cubicBezTo>
                                                                                                <a:cubicBezTo>
                                                                                                  <a:pt x="820310" y="219986"/>
                                                                                                  <a:pt x="818223" y="216614"/>
                                                                                                  <a:pt x="815009" y="214685"/>
                                                                                                </a:cubicBezTo>
                                                                                                <a:cubicBezTo>
                                                                                                  <a:pt x="811416" y="212529"/>
                                                                                                  <a:pt x="807236" y="211264"/>
                                                                                                  <a:pt x="803082" y="210710"/>
                                                                                                </a:cubicBezTo>
                                                                                                <a:cubicBezTo>
                                                                                                  <a:pt x="787264" y="208601"/>
                                                                                                  <a:pt x="771277" y="208059"/>
                                                                                                  <a:pt x="755374" y="206734"/>
                                                                                                </a:cubicBezTo>
                                                                                                <a:cubicBezTo>
                                                                                                  <a:pt x="747423" y="204084"/>
                                                                                                  <a:pt x="737447" y="204710"/>
                                                                                                  <a:pt x="731520" y="198783"/>
                                                                                                </a:cubicBezTo>
                                                                                                <a:cubicBezTo>
                                                                                                  <a:pt x="721231" y="188494"/>
                                                                                                  <a:pt x="710003" y="175706"/>
                                                                                                  <a:pt x="695740" y="170953"/>
                                                                                                </a:cubicBezTo>
                                                                                                <a:lnTo>
                                                                                                  <a:pt x="683813" y="166978"/>
                                                                                                </a:lnTo>
                                                                                                <a:cubicBezTo>
                                                                                                  <a:pt x="665971" y="149136"/>
                                                                                                  <a:pt x="687160" y="167954"/>
                                                                                                  <a:pt x="663934" y="155051"/>
                                                                                                </a:cubicBezTo>
                                                                                                <a:cubicBezTo>
                                                                                                  <a:pt x="655580" y="150410"/>
                                                                                                  <a:pt x="649146" y="142170"/>
                                                                                                  <a:pt x="640080" y="139148"/>
                                                                                                </a:cubicBezTo>
                                                                                                <a:cubicBezTo>
                                                                                                  <a:pt x="636104" y="137823"/>
                                                                                                  <a:pt x="631901" y="137046"/>
                                                                                                  <a:pt x="628153" y="135172"/>
                                                                                                </a:cubicBezTo>
                                                                                                <a:cubicBezTo>
                                                                                                  <a:pt x="597323" y="119757"/>
                                                                                                  <a:pt x="634279" y="133240"/>
                                                                                                  <a:pt x="604300" y="123245"/>
                                                                                                </a:cubicBezTo>
                                                                                                <a:cubicBezTo>
                                                                                                  <a:pt x="601649" y="120595"/>
                                                                                                  <a:pt x="598690" y="118221"/>
                                                                                                  <a:pt x="596348" y="115294"/>
                                                                                                </a:cubicBezTo>
                                                                                                <a:cubicBezTo>
                                                                                                  <a:pt x="593363" y="111563"/>
                                                                                                  <a:pt x="592128" y="106352"/>
                                                                                                  <a:pt x="588397" y="103367"/>
                                                                                                </a:cubicBezTo>
                                                                                                <a:cubicBezTo>
                                                                                                  <a:pt x="585125" y="100749"/>
                                                                                                  <a:pt x="580624" y="99946"/>
                                                                                                  <a:pt x="576470" y="99392"/>
                                                                                                </a:cubicBezTo>
                                                                                                <a:cubicBezTo>
                                                                                                  <a:pt x="560652" y="97283"/>
                                                                                                  <a:pt x="544622" y="97178"/>
                                                                                                  <a:pt x="528762" y="95416"/>
                                                                                                </a:cubicBezTo>
                                                                                                <a:cubicBezTo>
                                                                                                  <a:pt x="507774" y="93084"/>
                                                                                                  <a:pt x="508917" y="92776"/>
                                                                                                  <a:pt x="492981" y="87465"/>
                                                                                                </a:cubicBezTo>
                                                                                                <a:cubicBezTo>
                                                                                                  <a:pt x="490331" y="84814"/>
                                                                                                  <a:pt x="488383" y="81189"/>
                                                                                                  <a:pt x="485030" y="79513"/>
                                                                                                </a:cubicBezTo>
                                                                                                <a:cubicBezTo>
                                                                                                  <a:pt x="477533" y="75765"/>
                                                                                                  <a:pt x="469127" y="74212"/>
                                                                                                  <a:pt x="461176" y="71562"/>
                                                                                                </a:cubicBezTo>
                                                                                                <a:cubicBezTo>
                                                                                                  <a:pt x="457200" y="70237"/>
                                                                                                  <a:pt x="452736" y="69911"/>
                                                                                                  <a:pt x="449249" y="67586"/>
                                                                                                </a:cubicBezTo>
                                                                                                <a:cubicBezTo>
                                                                                                  <a:pt x="445273" y="64936"/>
                                                                                                  <a:pt x="441596" y="61772"/>
                                                                                                  <a:pt x="437322" y="59635"/>
                                                                                                </a:cubicBezTo>
                                                                                                <a:cubicBezTo>
                                                                                                  <a:pt x="430963" y="56455"/>
                                                                                                  <a:pt x="415444" y="53384"/>
                                                                                                  <a:pt x="409493" y="51684"/>
                                                                                                </a:cubicBezTo>
                                                                                                <a:cubicBezTo>
                                                                                                  <a:pt x="405463" y="50533"/>
                                                                                                  <a:pt x="401542" y="49033"/>
                                                                                                  <a:pt x="397566" y="47708"/>
                                                                                                </a:cubicBezTo>
                                                                                                <a:cubicBezTo>
                                                                                                  <a:pt x="377419" y="27563"/>
                                                                                                  <a:pt x="401120" y="53633"/>
                                                                                                  <a:pt x="385639" y="27830"/>
                                                                                                </a:cubicBezTo>
                                                                                                <a:cubicBezTo>
                                                                                                  <a:pt x="383710" y="24616"/>
                                                                                                  <a:pt x="380029" y="22805"/>
                                                                                                  <a:pt x="377687" y="19878"/>
                                                                                                </a:cubicBezTo>
                                                                                                <a:cubicBezTo>
                                                                                                  <a:pt x="357620" y="-5205"/>
                                                                                                  <a:pt x="380988" y="19206"/>
                                                                                                  <a:pt x="361785" y="0"/>
                                                                                                </a:cubicBezTo>
                                                                                                <a:cubicBezTo>
                                                                                                  <a:pt x="334375" y="9137"/>
                                                                                                  <a:pt x="343857" y="13879"/>
                                                                                                  <a:pt x="329980" y="0"/>
                                                                                                </a:cubicBezTo>
                                                                                                <a:cubicBezTo>
                                                                                                  <a:pt x="328133" y="205"/>
                                                                                                  <a:pt x="277860" y="5134"/>
                                                                                                  <a:pt x="270345" y="7952"/>
                                                                                                </a:cubicBezTo>
                                                                                                <a:cubicBezTo>
                                                                                                  <a:pt x="266835" y="9268"/>
                                                                                                  <a:pt x="265044" y="13253"/>
                                                                                                  <a:pt x="262393" y="15903"/>
                                                                                                </a:cubicBezTo>
                                                                                                <a:cubicBezTo>
                                                                                                  <a:pt x="261068" y="23854"/>
                                                                                                  <a:pt x="264118" y="34057"/>
                                                                                                  <a:pt x="258418" y="39757"/>
                                                                                                </a:cubicBezTo>
                                                                                                <a:cubicBezTo>
                                                                                                  <a:pt x="255039" y="43136"/>
                                                                                                  <a:pt x="251176" y="32742"/>
                                                                                                  <a:pt x="246491" y="31805"/>
                                                                                                </a:cubicBezTo>
                                                                                                <a:cubicBezTo>
                                                                                                  <a:pt x="230843" y="28675"/>
                                                                                                  <a:pt x="214686" y="29155"/>
                                                                                                  <a:pt x="198783" y="27830"/>
                                                                                                </a:cubicBezTo>
                                                                                                <a:cubicBezTo>
                                                                                                  <a:pt x="194807" y="26505"/>
                                                                                                  <a:pt x="190604" y="25728"/>
                                                                                                  <a:pt x="186856" y="23854"/>
                                                                                                </a:cubicBezTo>
                                                                                                <a:cubicBezTo>
                                                                                                  <a:pt x="182582" y="21717"/>
                                                                                                  <a:pt x="179707" y="15903"/>
                                                                                                  <a:pt x="174929" y="15903"/>
                                                                                                </a:cubicBezTo>
                                                                                                <a:cubicBezTo>
                                                                                                  <a:pt x="163897" y="15903"/>
                                                                                                  <a:pt x="148155" y="24599"/>
                                                                                                  <a:pt x="139148" y="31805"/>
                                                                                                </a:cubicBezTo>
                                                                                                <a:cubicBezTo>
                                                                                                  <a:pt x="136221" y="34147"/>
                                                                                                  <a:pt x="133847" y="37106"/>
                                                                                                  <a:pt x="131197" y="39757"/>
                                                                                                </a:cubicBezTo>
                                                                                                <a:cubicBezTo>
                                                                                                  <a:pt x="129872" y="43733"/>
                                                                                                  <a:pt x="129095" y="47936"/>
                                                                                                  <a:pt x="127221" y="51684"/>
                                                                                                </a:cubicBezTo>
                                                                                                <a:cubicBezTo>
                                                                                                  <a:pt x="125084" y="55958"/>
                                                                                                  <a:pt x="120055" y="58898"/>
                                                                                                  <a:pt x="119270" y="63611"/>
                                                                                                </a:cubicBezTo>
                                                                                                <a:cubicBezTo>
                                                                                                  <a:pt x="118581" y="67745"/>
                                                                                                  <a:pt x="122230" y="71472"/>
                                                                                                  <a:pt x="123246" y="75538"/>
                                                                                                </a:cubicBezTo>
                                                                                                <a:cubicBezTo>
                                                                                                  <a:pt x="129527" y="100662"/>
                                                                                                  <a:pt x="121571" y="89767"/>
                                                                                                  <a:pt x="135173" y="103367"/>
                                                                                                </a:cubicBezTo>
                                                                                                <a:cubicBezTo>
                                                                                                  <a:pt x="133848" y="107343"/>
                                                                                                  <a:pt x="133071" y="111546"/>
                                                                                                  <a:pt x="131197" y="115294"/>
                                                                                                </a:cubicBezTo>
                                                                                                <a:cubicBezTo>
                                                                                                  <a:pt x="128322" y="121044"/>
                                                                                                  <a:pt x="115245" y="131164"/>
                                                                                                  <a:pt x="127221" y="139148"/>
                                                                                                </a:cubicBezTo>
                                                                                                <a:cubicBezTo>
                                                                                                  <a:pt x="132844" y="142896"/>
                                                                                                  <a:pt x="140474" y="141799"/>
                                                                                                  <a:pt x="147100" y="143124"/>
                                                                                                </a:cubicBezTo>
                                                                                                <a:cubicBezTo>
                                                                                                  <a:pt x="145775" y="147100"/>
                                                                                                  <a:pt x="145742" y="151779"/>
                                                                                                  <a:pt x="143124" y="155051"/>
                                                                                                </a:cubicBezTo>
                                                                                                <a:cubicBezTo>
                                                                                                  <a:pt x="140139" y="158782"/>
                                                                                                  <a:pt x="132972" y="158566"/>
                                                                                                  <a:pt x="131197" y="163002"/>
                                                                                                </a:cubicBezTo>
                                                                                                <a:cubicBezTo>
                                                                                                  <a:pt x="129641" y="166893"/>
                                                                                                  <a:pt x="133848" y="170953"/>
                                                                                                  <a:pt x="135173" y="174929"/>
                                                                                                </a:cubicBezTo>
                                                                                                <a:cubicBezTo>
                                                                                                  <a:pt x="133848" y="178905"/>
                                                                                                  <a:pt x="133071" y="183108"/>
                                                                                                  <a:pt x="131197" y="186856"/>
                                                                                                </a:cubicBezTo>
                                                                                                <a:cubicBezTo>
                                                                                                  <a:pt x="129060" y="191130"/>
                                                                                                  <a:pt x="120261" y="195052"/>
                                                                                                  <a:pt x="123246" y="198783"/>
                                                                                                </a:cubicBezTo>
                                                                                                <a:cubicBezTo>
                                                                                                  <a:pt x="128482" y="205328"/>
                                                                                                  <a:pt x="147100" y="206734"/>
                                                                                                  <a:pt x="147100" y="206734"/>
                                                                                                </a:cubicBezTo>
                                                                                                <a:cubicBezTo>
                                                                                                  <a:pt x="143124" y="208059"/>
                                                                                                  <a:pt x="138767" y="208554"/>
                                                                                                  <a:pt x="135173" y="210710"/>
                                                                                                </a:cubicBezTo>
                                                                                                <a:cubicBezTo>
                                                                                                  <a:pt x="131959" y="212638"/>
                                                                                                  <a:pt x="130574" y="216985"/>
                                                                                                  <a:pt x="127221" y="218661"/>
                                                                                                </a:cubicBezTo>
                                                                                                <a:cubicBezTo>
                                                                                                  <a:pt x="119724" y="222409"/>
                                                                                                  <a:pt x="103367" y="226612"/>
                                                                                                  <a:pt x="103367" y="226612"/>
                                                                                                </a:cubicBezTo>
                                                                                                <a:cubicBezTo>
                                                                                                  <a:pt x="95972" y="234008"/>
                                                                                                  <a:pt x="92480" y="236461"/>
                                                                                                  <a:pt x="87465" y="246491"/>
                                                                                                </a:cubicBezTo>
                                                                                                <a:cubicBezTo>
                                                                                                  <a:pt x="85591" y="250239"/>
                                                                                                  <a:pt x="84814" y="254442"/>
                                                                                                  <a:pt x="83489" y="258418"/>
                                                                                                </a:cubicBezTo>
                                                                                                <a:cubicBezTo>
                                                                                                  <a:pt x="113045" y="268268"/>
                                                                                                  <a:pt x="78172" y="257657"/>
                                                                                                  <a:pt x="139148" y="266369"/>
                                                                                                </a:cubicBezTo>
                                                                                                <a:cubicBezTo>
                                                                                                  <a:pt x="143297" y="266962"/>
                                                                                                  <a:pt x="147099" y="269020"/>
                                                                                                  <a:pt x="151075" y="270345"/>
                                                                                                </a:cubicBezTo>
                                                                                                <a:cubicBezTo>
                                                                                                  <a:pt x="160352" y="269020"/>
                                                                                                  <a:pt x="169716" y="268207"/>
                                                                                                  <a:pt x="178905" y="266369"/>
                                                                                                </a:cubicBezTo>
                                                                                                <a:cubicBezTo>
                                                                                                  <a:pt x="183014" y="265547"/>
                                                                                                  <a:pt x="186723" y="261571"/>
                                                                                                  <a:pt x="190832" y="262393"/>
                                                                                                </a:cubicBezTo>
                                                                                                <a:cubicBezTo>
                                                                                                  <a:pt x="194508" y="263128"/>
                                                                                                  <a:pt x="196133" y="267694"/>
                                                                                                  <a:pt x="198783" y="270345"/>
                                                                                                </a:cubicBezTo>
                                                                                                <a:cubicBezTo>
                                                                                                  <a:pt x="197458" y="275646"/>
                                                                                                  <a:pt x="196377" y="281014"/>
                                                                                                  <a:pt x="194807" y="286247"/>
                                                                                                </a:cubicBezTo>
                                                                                                <a:cubicBezTo>
                                                                                                  <a:pt x="192399" y="294275"/>
                                                                                                  <a:pt x="186856" y="310101"/>
                                                                                                  <a:pt x="186856" y="310101"/>
                                                                                                </a:cubicBezTo>
                                                                                                <a:cubicBezTo>
                                                                                                  <a:pt x="195134" y="343211"/>
                                                                                                  <a:pt x="182065" y="311948"/>
                                                                                                  <a:pt x="222637" y="329979"/>
                                                                                                </a:cubicBezTo>
                                                                                                <a:cubicBezTo>
                                                                                                  <a:pt x="226467" y="331681"/>
                                                                                                  <a:pt x="223203" y="339470"/>
                                                                                                  <a:pt x="226613" y="341906"/>
                                                                                                </a:cubicBezTo>
                                                                                                <a:cubicBezTo>
                                                                                                  <a:pt x="233433" y="346778"/>
                                                                                                  <a:pt x="250466" y="349858"/>
                                                                                                  <a:pt x="250466" y="349858"/>
                                                                                                </a:cubicBezTo>
                                                                                                <a:cubicBezTo>
                                                                                                  <a:pt x="257075" y="356466"/>
                                                                                                  <a:pt x="261318" y="361748"/>
                                                                                                  <a:pt x="270345" y="365760"/>
                                                                                                </a:cubicBezTo>
                                                                                                <a:cubicBezTo>
                                                                                                  <a:pt x="278004" y="369164"/>
                                                                                                  <a:pt x="294199" y="373712"/>
                                                                                                  <a:pt x="294199" y="373712"/>
                                                                                                </a:cubicBezTo>
                                                                                                <a:cubicBezTo>
                                                                                                  <a:pt x="298175" y="372387"/>
                                                                                                  <a:pt x="302854" y="372354"/>
                                                                                                  <a:pt x="306126" y="369736"/>
                                                                                                </a:cubicBezTo>
                                                                                                <a:cubicBezTo>
                                                                                                  <a:pt x="309857" y="366751"/>
                                                                                                  <a:pt x="309336" y="358402"/>
                                                                                                  <a:pt x="314077" y="357809"/>
                                                                                                </a:cubicBezTo>
                                                                                                <a:cubicBezTo>
                                                                                                  <a:pt x="322394" y="356769"/>
                                                                                                  <a:pt x="337931" y="365760"/>
                                                                                                  <a:pt x="337931" y="365760"/>
                                                                                                </a:cubicBezTo>
                                                                                                <a:cubicBezTo>
                                                                                                  <a:pt x="353460" y="381291"/>
                                                                                                  <a:pt x="337166" y="367366"/>
                                                                                                  <a:pt x="357809" y="377687"/>
                                                                                                </a:cubicBezTo>
                                                                                                <a:cubicBezTo>
                                                                                                  <a:pt x="388645" y="393104"/>
                                                                                                  <a:pt x="351677" y="379618"/>
                                                                                                  <a:pt x="381663" y="389614"/>
                                                                                                </a:cubicBezTo>
                                                                                                <a:cubicBezTo>
                                                                                                  <a:pt x="384313" y="393590"/>
                                                                                                  <a:pt x="387732" y="397149"/>
                                                                                                  <a:pt x="389614" y="401541"/>
                                                                                                </a:cubicBezTo>
                                                                                                <a:cubicBezTo>
                                                                                                  <a:pt x="405017" y="437483"/>
                                                                                                  <a:pt x="381580" y="399428"/>
                                                                                                  <a:pt x="401541" y="429371"/>
                                                                                                </a:cubicBezTo>
                                                                                                <a:cubicBezTo>
                                                                                                  <a:pt x="400216" y="437322"/>
                                                                                                  <a:pt x="401171" y="446015"/>
                                                                                                  <a:pt x="397566" y="453225"/>
                                                                                                </a:cubicBezTo>
                                                                                                <a:cubicBezTo>
                                                                                                  <a:pt x="395429" y="457499"/>
                                                                                                  <a:pt x="389370" y="458191"/>
                                                                                                  <a:pt x="385639" y="461176"/>
                                                                                                </a:cubicBezTo>
                                                                                                <a:cubicBezTo>
                                                                                                  <a:pt x="382712" y="463517"/>
                                                                                                  <a:pt x="380029" y="466200"/>
                                                                                                  <a:pt x="377687" y="469127"/>
                                                                                                </a:cubicBezTo>
                                                                                                <a:cubicBezTo>
                                                                                                  <a:pt x="352624" y="500455"/>
                                                                                                  <a:pt x="388173" y="462979"/>
                                                                                                  <a:pt x="357809" y="489005"/>
                                                                                                </a:cubicBezTo>
                                                                                                <a:cubicBezTo>
                                                                                                  <a:pt x="333797" y="509587"/>
                                                                                                  <a:pt x="351895" y="501578"/>
                                                                                                  <a:pt x="329980" y="508884"/>
                                                                                                </a:cubicBezTo>
                                                                                                <a:cubicBezTo>
                                                                                                  <a:pt x="322029" y="507559"/>
                                                                                                  <a:pt x="311826" y="499208"/>
                                                                                                  <a:pt x="306126" y="504908"/>
                                                                                                </a:cubicBezTo>
                                                                                                <a:cubicBezTo>
                                                                                                  <a:pt x="300426" y="510608"/>
                                                                                                  <a:pt x="312650" y="521115"/>
                                                                                                  <a:pt x="310101" y="528762"/>
                                                                                                </a:cubicBezTo>
                                                                                                <a:cubicBezTo>
                                                                                                  <a:pt x="306828" y="538581"/>
                                                                                                  <a:pt x="296433" y="544336"/>
                                                                                                  <a:pt x="290223" y="552616"/>
                                                                                                </a:cubicBezTo>
                                                                                                <a:cubicBezTo>
                                                                                                  <a:pt x="284489" y="560261"/>
                                                                                                  <a:pt x="279621" y="568519"/>
                                                                                                  <a:pt x="274320" y="576470"/>
                                                                                                </a:cubicBezTo>
                                                                                                <a:lnTo>
                                                                                                  <a:pt x="282272" y="568518"/>
                                                                                                </a:lnTo>
                                                                                                <a:cubicBezTo>
                                                                                                  <a:pt x="292076" y="529295"/>
                                                                                                  <a:pt x="279008" y="569983"/>
                                                                                                  <a:pt x="294199" y="544665"/>
                                                                                                </a:cubicBezTo>
                                                                                                <a:cubicBezTo>
                                                                                                  <a:pt x="296355" y="541072"/>
                                                                                                  <a:pt x="296300" y="536486"/>
                                                                                                  <a:pt x="298174" y="532738"/>
                                                                                                </a:cubicBezTo>
                                                                                                <a:cubicBezTo>
                                                                                                  <a:pt x="300311" y="528464"/>
                                                                                                  <a:pt x="303475" y="524787"/>
                                                                                                  <a:pt x="306126" y="520811"/>
                                                                                                </a:cubicBezTo>
                                                                                                <a:cubicBezTo>
                                                                                                  <a:pt x="274027" y="510111"/>
                                                                                                  <a:pt x="300523" y="514669"/>
                                                                                                  <a:pt x="290223" y="576470"/>
                                                                                                </a:cubicBezTo>
                                                                                                <a:cubicBezTo>
                                                                                                  <a:pt x="289437" y="581183"/>
                                                                                                  <a:pt x="285257" y="584666"/>
                                                                                                  <a:pt x="282272" y="588397"/>
                                                                                                </a:cubicBezTo>
                                                                                                <a:cubicBezTo>
                                                                                                  <a:pt x="273740" y="599062"/>
                                                                                                  <a:pt x="273872" y="595116"/>
                                                                                                  <a:pt x="262393" y="604299"/>
                                                                                                </a:cubicBezTo>
                                                                                                <a:cubicBezTo>
                                                                                                  <a:pt x="242723" y="620035"/>
                                                                                                  <a:pt x="267153" y="603516"/>
                                                                                                  <a:pt x="246491" y="624178"/>
                                                                                                </a:cubicBezTo>
                                                                                                <a:cubicBezTo>
                                                                                                  <a:pt x="238785" y="631884"/>
                                                                                                  <a:pt x="232336" y="632872"/>
                                                                                                  <a:pt x="222637" y="636105"/>
                                                                                                </a:cubicBezTo>
                                                                                                <a:cubicBezTo>
                                                                                                  <a:pt x="213654" y="663051"/>
                                                                                                  <a:pt x="222637" y="630178"/>
                                                                                                  <a:pt x="222637" y="675861"/>
                                                                                                </a:cubicBezTo>
                                                                                                <a:cubicBezTo>
                                                                                                  <a:pt x="222637" y="685232"/>
                                                                                                  <a:pt x="221354" y="694715"/>
                                                                                                  <a:pt x="218661" y="703691"/>
                                                                                                </a:cubicBezTo>
                                                                                                <a:cubicBezTo>
                                                                                                  <a:pt x="217288" y="708268"/>
                                                                                                  <a:pt x="214306" y="712472"/>
                                                                                                  <a:pt x="210710" y="715618"/>
                                                                                                </a:cubicBezTo>
                                                                                                <a:cubicBezTo>
                                                                                                  <a:pt x="193886" y="730338"/>
                                                                                                  <a:pt x="191309" y="730035"/>
                                                                                                  <a:pt x="174929" y="735496"/>
                                                                                                </a:cubicBezTo>
                                                                                                <a:cubicBezTo>
                                                                                                  <a:pt x="170953" y="734171"/>
                                                                                                  <a:pt x="166274" y="734138"/>
                                                                                                  <a:pt x="163002" y="731520"/>
                                                                                                </a:cubicBezTo>
                                                                                                <a:cubicBezTo>
                                                                                                  <a:pt x="159271" y="728535"/>
                                                                                                  <a:pt x="158782" y="722578"/>
                                                                                                  <a:pt x="155051" y="719593"/>
                                                                                                </a:cubicBezTo>
                                                                                                <a:cubicBezTo>
                                                                                                  <a:pt x="149558" y="715199"/>
                                                                                                  <a:pt x="144882" y="715618"/>
                                                                                                  <a:pt x="139148" y="715618"/>
                                                                                                </a:cubicBezTo>
                                                                                                <a:lnTo>
                                                                                                  <a:pt x="139148" y="751398"/>
                                                                                                </a:lnTo>
                                                                                                <a:lnTo>
                                                                                                  <a:pt x="139148" y="779228"/>
                                                                                                </a:lnTo>
                                                                                                <a:cubicBezTo>
                                                                                                  <a:pt x="141195" y="797653"/>
                                                                                                  <a:pt x="140026" y="823838"/>
                                                                                                  <a:pt x="155051" y="838863"/>
                                                                                                </a:cubicBezTo>
                                                                                                <a:cubicBezTo>
                                                                                                  <a:pt x="158430" y="842242"/>
                                                                                                  <a:pt x="163002" y="844164"/>
                                                                                                  <a:pt x="166978" y="846814"/>
                                                                                                </a:cubicBezTo>
                                                                                                <a:cubicBezTo>
                                                                                                  <a:pt x="165653" y="850790"/>
                                                                                                  <a:pt x="165965" y="855778"/>
                                                                                                  <a:pt x="163002" y="858741"/>
                                                                                                </a:cubicBezTo>
                                                                                                <a:cubicBezTo>
                                                                                                  <a:pt x="160039" y="861704"/>
                                                                                                  <a:pt x="155198" y="861967"/>
                                                                                                  <a:pt x="151075" y="862717"/>
                                                                                                </a:cubicBezTo>
                                                                                                <a:cubicBezTo>
                                                                                                  <a:pt x="140563" y="864628"/>
                                                                                                  <a:pt x="129872" y="865367"/>
                                                                                                  <a:pt x="119270" y="866692"/>
                                                                                                </a:cubicBezTo>
                                                                                                <a:cubicBezTo>
                                                                                                  <a:pt x="117945" y="870668"/>
                                                                                                  <a:pt x="116445" y="874589"/>
                                                                                                  <a:pt x="115294" y="878619"/>
                                                                                                </a:cubicBezTo>
                                                                                                <a:cubicBezTo>
                                                                                                  <a:pt x="111942" y="890351"/>
                                                                                                  <a:pt x="114132" y="896014"/>
                                                                                                  <a:pt x="103367" y="902473"/>
                                                                                                </a:cubicBezTo>
                                                                                                <a:cubicBezTo>
                                                                                                  <a:pt x="99773" y="904629"/>
                                                                                                  <a:pt x="95416" y="905124"/>
                                                                                                  <a:pt x="91440" y="906449"/>
                                                                                                </a:cubicBezTo>
                                                                                                <a:cubicBezTo>
                                                                                                  <a:pt x="90115" y="910425"/>
                                                                                                  <a:pt x="87465" y="914185"/>
                                                                                                  <a:pt x="87465" y="918376"/>
                                                                                                </a:cubicBezTo>
                                                                                                <a:cubicBezTo>
                                                                                                  <a:pt x="87465" y="950364"/>
                                                                                                  <a:pt x="89824" y="941605"/>
                                                                                                  <a:pt x="95416" y="962108"/>
                                                                                                </a:cubicBezTo>
                                                                                                <a:cubicBezTo>
                                                                                                  <a:pt x="98291" y="972651"/>
                                                                                                  <a:pt x="103367" y="993913"/>
                                                                                                  <a:pt x="103367" y="993913"/>
                                                                                                </a:cubicBezTo>
                                                                                                <a:cubicBezTo>
                                                                                                  <a:pt x="102042" y="1003190"/>
                                                                                                  <a:pt x="103583" y="1013361"/>
                                                                                                  <a:pt x="99392" y="1021743"/>
                                                                                                </a:cubicBezTo>
                                                                                                <a:cubicBezTo>
                                                                                                  <a:pt x="97518" y="1025491"/>
                                                                                                  <a:pt x="91058" y="1023562"/>
                                                                                                  <a:pt x="87465" y="1025718"/>
                                                                                                </a:cubicBezTo>
                                                                                                <a:cubicBezTo>
                                                                                                  <a:pt x="63857" y="1039882"/>
                                                                                                  <a:pt x="98281" y="1027979"/>
                                                                                                  <a:pt x="67586" y="1041621"/>
                                                                                                </a:cubicBezTo>
                                                                                                <a:cubicBezTo>
                                                                                                  <a:pt x="59927" y="1045025"/>
                                                                                                  <a:pt x="43733" y="1049572"/>
                                                                                                  <a:pt x="43733" y="1049572"/>
                                                                                                </a:cubicBezTo>
                                                                                                <a:cubicBezTo>
                                                                                                  <a:pt x="41082" y="1052223"/>
                                                                                                  <a:pt x="38708" y="1055182"/>
                                                                                                  <a:pt x="35781" y="1057524"/>
                                                                                                </a:cubicBezTo>
                                                                                                <a:cubicBezTo>
                                                                                                  <a:pt x="32050" y="1060509"/>
                                                                                                  <a:pt x="27233" y="1062096"/>
                                                                                                  <a:pt x="23854" y="1065475"/>
                                                                                                </a:cubicBezTo>
                                                                                                <a:cubicBezTo>
                                                                                                  <a:pt x="16148" y="1073181"/>
                                                                                                  <a:pt x="15160" y="1079630"/>
                                                                                                  <a:pt x="11927" y="1089329"/>
                                                                                                </a:cubicBezTo>
                                                                                                <a:cubicBezTo>
                                                                                                  <a:pt x="10602" y="1098605"/>
                                                                                                  <a:pt x="10059" y="1108027"/>
                                                                                                  <a:pt x="7952" y="1117158"/>
                                                                                                </a:cubicBezTo>
                                                                                                <a:cubicBezTo>
                                                                                                  <a:pt x="6067" y="1125325"/>
                                                                                                  <a:pt x="0" y="1141012"/>
                                                                                                  <a:pt x="0" y="1141012"/>
                                                                                                </a:cubicBezTo>
                                                                                                <a:lnTo>
                                                                                                  <a:pt x="11927" y="1156915"/>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8" name="Group 297"/>
                                                                                          <p:cNvGrpSpPr/>
                                                                                          <p:nvPr/>
                                                                                        </p:nvGrpSpPr>
                                                                                        <p:grpSpPr>
                                                                                          <a:xfrm>
                                                                                            <a:off x="1983850" y="5697110"/>
                                                                                            <a:ext cx="457200" cy="144465"/>
                                                                                            <a:chOff x="1983850" y="5697110"/>
                                                                                            <a:chExt cx="457200" cy="144465"/>
                                                                                          </a:xfrm>
                                                                                          <a:grpFill/>
                                                                                        </p:grpSpPr>
                                                                                        <p:sp>
                                                                                          <p:nvSpPr>
                                                                                            <p:cNvPr id="299" name="Freeform 298"/>
                                                                                            <p:cNvSpPr/>
                                                                                            <p:nvPr/>
                                                                                          </p:nvSpPr>
                                                                                          <p:spPr>
                                                                                            <a:xfrm>
                                                                                              <a:off x="2170438" y="5697110"/>
                                                                                              <a:ext cx="143516" cy="123245"/>
                                                                                            </a:xfrm>
                                                                                            <a:custGeom>
                                                                                              <a:avLst/>
                                                                                              <a:gdLst>
                                                                                                <a:gd name="connsiteX0" fmla="*/ 119538 w 143516"/>
                                                                                                <a:gd name="connsiteY0" fmla="*/ 0 h 123245"/>
                                                                                                <a:gd name="connsiteX1" fmla="*/ 119538 w 143516"/>
                                                                                                <a:gd name="connsiteY1" fmla="*/ 0 h 123245"/>
                                                                                                <a:gd name="connsiteX2" fmla="*/ 79781 w 143516"/>
                                                                                                <a:gd name="connsiteY2" fmla="*/ 3975 h 123245"/>
                                                                                                <a:gd name="connsiteX3" fmla="*/ 71830 w 143516"/>
                                                                                                <a:gd name="connsiteY3" fmla="*/ 11927 h 123245"/>
                                                                                                <a:gd name="connsiteX4" fmla="*/ 59903 w 143516"/>
                                                                                                <a:gd name="connsiteY4" fmla="*/ 15902 h 123245"/>
                                                                                                <a:gd name="connsiteX5" fmla="*/ 51952 w 143516"/>
                                                                                                <a:gd name="connsiteY5" fmla="*/ 27829 h 123245"/>
                                                                                                <a:gd name="connsiteX6" fmla="*/ 20146 w 143516"/>
                                                                                                <a:gd name="connsiteY6" fmla="*/ 35780 h 123245"/>
                                                                                                <a:gd name="connsiteX7" fmla="*/ 8219 w 143516"/>
                                                                                                <a:gd name="connsiteY7" fmla="*/ 39756 h 123245"/>
                                                                                                <a:gd name="connsiteX8" fmla="*/ 268 w 143516"/>
                                                                                                <a:gd name="connsiteY8" fmla="*/ 51683 h 123245"/>
                                                                                                <a:gd name="connsiteX9" fmla="*/ 4244 w 143516"/>
                                                                                                <a:gd name="connsiteY9" fmla="*/ 71561 h 123245"/>
                                                                                                <a:gd name="connsiteX10" fmla="*/ 16171 w 143516"/>
                                                                                                <a:gd name="connsiteY10" fmla="*/ 75537 h 123245"/>
                                                                                                <a:gd name="connsiteX11" fmla="*/ 36049 w 143516"/>
                                                                                                <a:gd name="connsiteY11" fmla="*/ 79513 h 123245"/>
                                                                                                <a:gd name="connsiteX12" fmla="*/ 40025 w 143516"/>
                                                                                                <a:gd name="connsiteY12" fmla="*/ 99391 h 123245"/>
                                                                                                <a:gd name="connsiteX13" fmla="*/ 44000 w 143516"/>
                                                                                                <a:gd name="connsiteY13" fmla="*/ 115293 h 123245"/>
                                                                                                <a:gd name="connsiteX14" fmla="*/ 67854 w 143516"/>
                                                                                                <a:gd name="connsiteY14" fmla="*/ 123245 h 123245"/>
                                                                                                <a:gd name="connsiteX15" fmla="*/ 91708 w 143516"/>
                                                                                                <a:gd name="connsiteY15" fmla="*/ 119269 h 123245"/>
                                                                                                <a:gd name="connsiteX16" fmla="*/ 107611 w 143516"/>
                                                                                                <a:gd name="connsiteY16" fmla="*/ 99391 h 123245"/>
                                                                                                <a:gd name="connsiteX17" fmla="*/ 131465 w 143516"/>
                                                                                                <a:gd name="connsiteY17" fmla="*/ 79513 h 123245"/>
                                                                                                <a:gd name="connsiteX18" fmla="*/ 139416 w 143516"/>
                                                                                                <a:gd name="connsiteY18" fmla="*/ 71561 h 123245"/>
                                                                                                <a:gd name="connsiteX19" fmla="*/ 143392 w 143516"/>
                                                                                                <a:gd name="connsiteY19" fmla="*/ 59634 h 123245"/>
                                                                                                <a:gd name="connsiteX20" fmla="*/ 135440 w 143516"/>
                                                                                                <a:gd name="connsiteY20" fmla="*/ 51683 h 123245"/>
                                                                                                <a:gd name="connsiteX21" fmla="*/ 111586 w 143516"/>
                                                                                                <a:gd name="connsiteY21" fmla="*/ 43732 h 123245"/>
                                                                                                <a:gd name="connsiteX22" fmla="*/ 119538 w 143516"/>
                                                                                                <a:gd name="connsiteY22" fmla="*/ 0 h 12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3516" h="123245">
                                                                                                  <a:moveTo>
                                                                                                    <a:pt x="119538" y="0"/>
                                                                                                  </a:moveTo>
                                                                                                  <a:lnTo>
                                                                                                    <a:pt x="119538" y="0"/>
                                                                                                  </a:lnTo>
                                                                                                  <a:cubicBezTo>
                                                                                                    <a:pt x="106286" y="1325"/>
                                                                                                    <a:pt x="92702" y="745"/>
                                                                                                    <a:pt x="79781" y="3975"/>
                                                                                                  </a:cubicBezTo>
                                                                                                  <a:cubicBezTo>
                                                                                                    <a:pt x="76145" y="4884"/>
                                                                                                    <a:pt x="75044" y="9998"/>
                                                                                                    <a:pt x="71830" y="11927"/>
                                                                                                  </a:cubicBezTo>
                                                                                                  <a:cubicBezTo>
                                                                                                    <a:pt x="68237" y="14083"/>
                                                                                                    <a:pt x="63879" y="14577"/>
                                                                                                    <a:pt x="59903" y="15902"/>
                                                                                                  </a:cubicBezTo>
                                                                                                  <a:cubicBezTo>
                                                                                                    <a:pt x="57253" y="19878"/>
                                                                                                    <a:pt x="56226" y="25692"/>
                                                                                                    <a:pt x="51952" y="27829"/>
                                                                                                  </a:cubicBezTo>
                                                                                                  <a:cubicBezTo>
                                                                                                    <a:pt x="42177" y="32716"/>
                                                                                                    <a:pt x="30513" y="32324"/>
                                                                                                    <a:pt x="20146" y="35780"/>
                                                                                                  </a:cubicBezTo>
                                                                                                  <a:lnTo>
                                                                                                    <a:pt x="8219" y="39756"/>
                                                                                                  </a:lnTo>
                                                                                                  <a:cubicBezTo>
                                                                                                    <a:pt x="5569" y="43732"/>
                                                                                                    <a:pt x="861" y="46942"/>
                                                                                                    <a:pt x="268" y="51683"/>
                                                                                                  </a:cubicBezTo>
                                                                                                  <a:cubicBezTo>
                                                                                                    <a:pt x="-570" y="58388"/>
                                                                                                    <a:pt x="496" y="65939"/>
                                                                                                    <a:pt x="4244" y="71561"/>
                                                                                                  </a:cubicBezTo>
                                                                                                  <a:cubicBezTo>
                                                                                                    <a:pt x="6569" y="75048"/>
                                                                                                    <a:pt x="12105" y="74521"/>
                                                                                                    <a:pt x="16171" y="75537"/>
                                                                                                  </a:cubicBezTo>
                                                                                                  <a:cubicBezTo>
                                                                                                    <a:pt x="22726" y="77176"/>
                                                                                                    <a:pt x="29423" y="78188"/>
                                                                                                    <a:pt x="36049" y="79513"/>
                                                                                                  </a:cubicBezTo>
                                                                                                  <a:cubicBezTo>
                                                                                                    <a:pt x="37374" y="86139"/>
                                                                                                    <a:pt x="38559" y="92795"/>
                                                                                                    <a:pt x="40025" y="99391"/>
                                                                                                  </a:cubicBezTo>
                                                                                                  <a:cubicBezTo>
                                                                                                    <a:pt x="41210" y="104725"/>
                                                                                                    <a:pt x="39852" y="111737"/>
                                                                                                    <a:pt x="44000" y="115293"/>
                                                                                                  </a:cubicBezTo>
                                                                                                  <a:cubicBezTo>
                                                                                                    <a:pt x="50364" y="120748"/>
                                                                                                    <a:pt x="67854" y="123245"/>
                                                                                                    <a:pt x="67854" y="123245"/>
                                                                                                  </a:cubicBezTo>
                                                                                                  <a:cubicBezTo>
                                                                                                    <a:pt x="75805" y="121920"/>
                                                                                                    <a:pt x="84061" y="121818"/>
                                                                                                    <a:pt x="91708" y="119269"/>
                                                                                                  </a:cubicBezTo>
                                                                                                  <a:cubicBezTo>
                                                                                                    <a:pt x="110761" y="112918"/>
                                                                                                    <a:pt x="98932" y="112409"/>
                                                                                                    <a:pt x="107611" y="99391"/>
                                                                                                  </a:cubicBezTo>
                                                                                                  <a:cubicBezTo>
                                                                                                    <a:pt x="115708" y="87246"/>
                                                                                                    <a:pt x="120986" y="87896"/>
                                                                                                    <a:pt x="131465" y="79513"/>
                                                                                                  </a:cubicBezTo>
                                                                                                  <a:cubicBezTo>
                                                                                                    <a:pt x="134392" y="77171"/>
                                                                                                    <a:pt x="136766" y="74212"/>
                                                                                                    <a:pt x="139416" y="71561"/>
                                                                                                  </a:cubicBezTo>
                                                                                                  <a:cubicBezTo>
                                                                                                    <a:pt x="140741" y="67585"/>
                                                                                                    <a:pt x="144214" y="63743"/>
                                                                                                    <a:pt x="143392" y="59634"/>
                                                                                                  </a:cubicBezTo>
                                                                                                  <a:cubicBezTo>
                                                                                                    <a:pt x="142657" y="55958"/>
                                                                                                    <a:pt x="138793" y="53359"/>
                                                                                                    <a:pt x="135440" y="51683"/>
                                                                                                  </a:cubicBezTo>
                                                                                                  <a:cubicBezTo>
                                                                                                    <a:pt x="127943" y="47935"/>
                                                                                                    <a:pt x="111586" y="52113"/>
                                                                                                    <a:pt x="111586" y="43732"/>
                                                                                                  </a:cubicBezTo>
                                                                                                  <a:lnTo>
                                                                                                    <a:pt x="119538" y="0"/>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00" name="Freeform 299"/>
                                                                                            <p:cNvSpPr/>
                                                                                            <p:nvPr/>
                                                                                          </p:nvSpPr>
                                                                                          <p:spPr>
                                                                                            <a:xfrm>
                                                                                              <a:off x="1983850" y="5800477"/>
                                                                                              <a:ext cx="63611" cy="41098"/>
                                                                                            </a:xfrm>
                                                                                            <a:custGeom>
                                                                                              <a:avLst/>
                                                                                              <a:gdLst>
                                                                                                <a:gd name="connsiteX0" fmla="*/ 63611 w 63611"/>
                                                                                                <a:gd name="connsiteY0" fmla="*/ 0 h 41098"/>
                                                                                                <a:gd name="connsiteX1" fmla="*/ 63611 w 63611"/>
                                                                                                <a:gd name="connsiteY1" fmla="*/ 0 h 41098"/>
                                                                                                <a:gd name="connsiteX2" fmla="*/ 15903 w 63611"/>
                                                                                                <a:gd name="connsiteY2" fmla="*/ 3975 h 41098"/>
                                                                                                <a:gd name="connsiteX3" fmla="*/ 3976 w 63611"/>
                                                                                                <a:gd name="connsiteY3" fmla="*/ 7951 h 41098"/>
                                                                                                <a:gd name="connsiteX4" fmla="*/ 0 w 63611"/>
                                                                                                <a:gd name="connsiteY4" fmla="*/ 19878 h 41098"/>
                                                                                                <a:gd name="connsiteX5" fmla="*/ 3976 w 63611"/>
                                                                                                <a:gd name="connsiteY5" fmla="*/ 39756 h 41098"/>
                                                                                                <a:gd name="connsiteX6" fmla="*/ 27830 w 63611"/>
                                                                                                <a:gd name="connsiteY6" fmla="*/ 35780 h 41098"/>
                                                                                                <a:gd name="connsiteX7" fmla="*/ 63611 w 63611"/>
                                                                                                <a:gd name="connsiteY7" fmla="*/ 0 h 4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1" h="41098">
                                                                                                  <a:moveTo>
                                                                                                    <a:pt x="63611" y="0"/>
                                                                                                  </a:moveTo>
                                                                                                  <a:lnTo>
                                                                                                    <a:pt x="63611" y="0"/>
                                                                                                  </a:lnTo>
                                                                                                  <a:cubicBezTo>
                                                                                                    <a:pt x="47708" y="1325"/>
                                                                                                    <a:pt x="31721" y="1866"/>
                                                                                                    <a:pt x="15903" y="3975"/>
                                                                                                  </a:cubicBezTo>
                                                                                                  <a:cubicBezTo>
                                                                                                    <a:pt x="11749" y="4529"/>
                                                                                                    <a:pt x="6939" y="4988"/>
                                                                                                    <a:pt x="3976" y="7951"/>
                                                                                                  </a:cubicBezTo>
                                                                                                  <a:cubicBezTo>
                                                                                                    <a:pt x="1013" y="10914"/>
                                                                                                    <a:pt x="1325" y="15902"/>
                                                                                                    <a:pt x="0" y="19878"/>
                                                                                                  </a:cubicBezTo>
                                                                                                  <a:cubicBezTo>
                                                                                                    <a:pt x="1325" y="26504"/>
                                                                                                    <a:pt x="-1891" y="36404"/>
                                                                                                    <a:pt x="3976" y="39756"/>
                                                                                                  </a:cubicBezTo>
                                                                                                  <a:cubicBezTo>
                                                                                                    <a:pt x="10975" y="43755"/>
                                                                                                    <a:pt x="20010" y="37735"/>
                                                                                                    <a:pt x="27830" y="35780"/>
                                                                                                  </a:cubicBezTo>
                                                                                                  <a:cubicBezTo>
                                                                                                    <a:pt x="57970" y="28245"/>
                                                                                                    <a:pt x="57648" y="5963"/>
                                                                                                    <a:pt x="636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01" name="Freeform 300"/>
                                                                                            <p:cNvSpPr/>
                                                                                            <p:nvPr/>
                                                                                          </p:nvSpPr>
                                                                                          <p:spPr>
                                                                                            <a:xfrm>
                                                                                              <a:off x="2383712" y="5708989"/>
                                                                                              <a:ext cx="57338" cy="55866"/>
                                                                                            </a:xfrm>
                                                                                            <a:custGeom>
                                                                                              <a:avLst/>
                                                                                              <a:gdLst>
                                                                                                <a:gd name="connsiteX0" fmla="*/ 37460 w 57338"/>
                                                                                                <a:gd name="connsiteY0" fmla="*/ 4023 h 55866"/>
                                                                                                <a:gd name="connsiteX1" fmla="*/ 37460 w 57338"/>
                                                                                                <a:gd name="connsiteY1" fmla="*/ 4023 h 55866"/>
                                                                                                <a:gd name="connsiteX2" fmla="*/ 1679 w 57338"/>
                                                                                                <a:gd name="connsiteY2" fmla="*/ 7999 h 55866"/>
                                                                                                <a:gd name="connsiteX3" fmla="*/ 5655 w 57338"/>
                                                                                                <a:gd name="connsiteY3" fmla="*/ 23901 h 55866"/>
                                                                                                <a:gd name="connsiteX4" fmla="*/ 25533 w 57338"/>
                                                                                                <a:gd name="connsiteY4" fmla="*/ 35828 h 55866"/>
                                                                                                <a:gd name="connsiteX5" fmla="*/ 37460 w 57338"/>
                                                                                                <a:gd name="connsiteY5" fmla="*/ 55707 h 55866"/>
                                                                                                <a:gd name="connsiteX6" fmla="*/ 57338 w 57338"/>
                                                                                                <a:gd name="connsiteY6" fmla="*/ 51731 h 55866"/>
                                                                                                <a:gd name="connsiteX7" fmla="*/ 45411 w 57338"/>
                                                                                                <a:gd name="connsiteY7" fmla="*/ 4023 h 55866"/>
                                                                                                <a:gd name="connsiteX8" fmla="*/ 33485 w 57338"/>
                                                                                                <a:gd name="connsiteY8" fmla="*/ 48 h 55866"/>
                                                                                                <a:gd name="connsiteX9" fmla="*/ 37460 w 57338"/>
                                                                                                <a:gd name="connsiteY9" fmla="*/ 4023 h 5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38" h="55866">
                                                                                                  <a:moveTo>
                                                                                                    <a:pt x="37460" y="4023"/>
                                                                                                  </a:moveTo>
                                                                                                  <a:lnTo>
                                                                                                    <a:pt x="37460" y="4023"/>
                                                                                                  </a:lnTo>
                                                                                                  <a:cubicBezTo>
                                                                                                    <a:pt x="25533" y="5348"/>
                                                                                                    <a:pt x="11855" y="1639"/>
                                                                                                    <a:pt x="1679" y="7999"/>
                                                                                                  </a:cubicBezTo>
                                                                                                  <a:cubicBezTo>
                                                                                                    <a:pt x="-2954" y="10895"/>
                                                                                                    <a:pt x="3211" y="19014"/>
                                                                                                    <a:pt x="5655" y="23901"/>
                                                                                                  </a:cubicBezTo>
                                                                                                  <a:cubicBezTo>
                                                                                                    <a:pt x="10022" y="32634"/>
                                                                                                    <a:pt x="17370" y="33107"/>
                                                                                                    <a:pt x="25533" y="35828"/>
                                                                                                  </a:cubicBezTo>
                                                                                                  <a:cubicBezTo>
                                                                                                    <a:pt x="27033" y="40327"/>
                                                                                                    <a:pt x="29821" y="54616"/>
                                                                                                    <a:pt x="37460" y="55707"/>
                                                                                                  </a:cubicBezTo>
                                                                                                  <a:cubicBezTo>
                                                                                                    <a:pt x="44149" y="56663"/>
                                                                                                    <a:pt x="50712" y="53056"/>
                                                                                                    <a:pt x="57338" y="51731"/>
                                                                                                  </a:cubicBezTo>
                                                                                                  <a:cubicBezTo>
                                                                                                    <a:pt x="55615" y="34501"/>
                                                                                                    <a:pt x="62042" y="14001"/>
                                                                                                    <a:pt x="45411" y="4023"/>
                                                                                                  </a:cubicBezTo>
                                                                                                  <a:cubicBezTo>
                                                                                                    <a:pt x="41818" y="1867"/>
                                                                                                    <a:pt x="37594" y="870"/>
                                                                                                    <a:pt x="33485" y="48"/>
                                                                                                  </a:cubicBezTo>
                                                                                                  <a:cubicBezTo>
                                                                                                    <a:pt x="30886" y="-472"/>
                                                                                                    <a:pt x="36798" y="3361"/>
                                                                                                    <a:pt x="37460" y="4023"/>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sp>
                                                                                  <p:nvSpPr>
                                                                                    <p:cNvPr id="292" name="Freeform 291"/>
                                                                                    <p:cNvSpPr/>
                                                                                    <p:nvPr/>
                                                                                  </p:nvSpPr>
                                                                                  <p:spPr>
                                                                                    <a:xfrm>
                                                                                      <a:off x="1672903" y="3689405"/>
                                                                                      <a:ext cx="1543455" cy="1570383"/>
                                                                                    </a:xfrm>
                                                                                    <a:custGeom>
                                                                                      <a:avLst/>
                                                                                      <a:gdLst>
                                                                                        <a:gd name="connsiteX0" fmla="*/ 120116 w 1543455"/>
                                                                                        <a:gd name="connsiteY0" fmla="*/ 1228477 h 1570383"/>
                                                                                        <a:gd name="connsiteX1" fmla="*/ 120116 w 1543455"/>
                                                                                        <a:gd name="connsiteY1" fmla="*/ 1228477 h 1570383"/>
                                                                                        <a:gd name="connsiteX2" fmla="*/ 151921 w 1543455"/>
                                                                                        <a:gd name="connsiteY2" fmla="*/ 1216550 h 1570383"/>
                                                                                        <a:gd name="connsiteX3" fmla="*/ 159873 w 1543455"/>
                                                                                        <a:gd name="connsiteY3" fmla="*/ 1208598 h 1570383"/>
                                                                                        <a:gd name="connsiteX4" fmla="*/ 171800 w 1543455"/>
                                                                                        <a:gd name="connsiteY4" fmla="*/ 1200647 h 1570383"/>
                                                                                        <a:gd name="connsiteX5" fmla="*/ 183727 w 1543455"/>
                                                                                        <a:gd name="connsiteY5" fmla="*/ 1164866 h 1570383"/>
                                                                                        <a:gd name="connsiteX6" fmla="*/ 187702 w 1543455"/>
                                                                                        <a:gd name="connsiteY6" fmla="*/ 1152939 h 1570383"/>
                                                                                        <a:gd name="connsiteX7" fmla="*/ 191678 w 1543455"/>
                                                                                        <a:gd name="connsiteY7" fmla="*/ 1141012 h 1570383"/>
                                                                                        <a:gd name="connsiteX8" fmla="*/ 199629 w 1543455"/>
                                                                                        <a:gd name="connsiteY8" fmla="*/ 1105232 h 1570383"/>
                                                                                        <a:gd name="connsiteX9" fmla="*/ 215532 w 1543455"/>
                                                                                        <a:gd name="connsiteY9" fmla="*/ 1085353 h 1570383"/>
                                                                                        <a:gd name="connsiteX10" fmla="*/ 223483 w 1543455"/>
                                                                                        <a:gd name="connsiteY10" fmla="*/ 1061499 h 1570383"/>
                                                                                        <a:gd name="connsiteX11" fmla="*/ 247337 w 1543455"/>
                                                                                        <a:gd name="connsiteY11" fmla="*/ 1041621 h 1570383"/>
                                                                                        <a:gd name="connsiteX12" fmla="*/ 259264 w 1543455"/>
                                                                                        <a:gd name="connsiteY12" fmla="*/ 1037645 h 1570383"/>
                                                                                        <a:gd name="connsiteX13" fmla="*/ 255288 w 1543455"/>
                                                                                        <a:gd name="connsiteY13" fmla="*/ 1017767 h 1570383"/>
                                                                                        <a:gd name="connsiteX14" fmla="*/ 243361 w 1543455"/>
                                                                                        <a:gd name="connsiteY14" fmla="*/ 1013792 h 1570383"/>
                                                                                        <a:gd name="connsiteX15" fmla="*/ 251313 w 1543455"/>
                                                                                        <a:gd name="connsiteY15" fmla="*/ 981986 h 1570383"/>
                                                                                        <a:gd name="connsiteX16" fmla="*/ 267215 w 1543455"/>
                                                                                        <a:gd name="connsiteY16" fmla="*/ 958132 h 1570383"/>
                                                                                        <a:gd name="connsiteX17" fmla="*/ 275167 w 1543455"/>
                                                                                        <a:gd name="connsiteY17" fmla="*/ 934278 h 1570383"/>
                                                                                        <a:gd name="connsiteX18" fmla="*/ 279142 w 1543455"/>
                                                                                        <a:gd name="connsiteY18" fmla="*/ 922352 h 1570383"/>
                                                                                        <a:gd name="connsiteX19" fmla="*/ 283118 w 1543455"/>
                                                                                        <a:gd name="connsiteY19" fmla="*/ 906449 h 1570383"/>
                                                                                        <a:gd name="connsiteX20" fmla="*/ 287094 w 1543455"/>
                                                                                        <a:gd name="connsiteY20" fmla="*/ 894522 h 1570383"/>
                                                                                        <a:gd name="connsiteX21" fmla="*/ 299020 w 1543455"/>
                                                                                        <a:gd name="connsiteY21" fmla="*/ 886571 h 1570383"/>
                                                                                        <a:gd name="connsiteX22" fmla="*/ 314923 w 1543455"/>
                                                                                        <a:gd name="connsiteY22" fmla="*/ 918376 h 1570383"/>
                                                                                        <a:gd name="connsiteX23" fmla="*/ 322874 w 1543455"/>
                                                                                        <a:gd name="connsiteY23" fmla="*/ 942230 h 1570383"/>
                                                                                        <a:gd name="connsiteX24" fmla="*/ 330826 w 1543455"/>
                                                                                        <a:gd name="connsiteY24" fmla="*/ 974035 h 1570383"/>
                                                                                        <a:gd name="connsiteX25" fmla="*/ 350704 w 1543455"/>
                                                                                        <a:gd name="connsiteY25" fmla="*/ 1005840 h 1570383"/>
                                                                                        <a:gd name="connsiteX26" fmla="*/ 346728 w 1543455"/>
                                                                                        <a:gd name="connsiteY26" fmla="*/ 974035 h 1570383"/>
                                                                                        <a:gd name="connsiteX27" fmla="*/ 342753 w 1543455"/>
                                                                                        <a:gd name="connsiteY27" fmla="*/ 954157 h 1570383"/>
                                                                                        <a:gd name="connsiteX28" fmla="*/ 338777 w 1543455"/>
                                                                                        <a:gd name="connsiteY28" fmla="*/ 894522 h 1570383"/>
                                                                                        <a:gd name="connsiteX29" fmla="*/ 334801 w 1543455"/>
                                                                                        <a:gd name="connsiteY29" fmla="*/ 882595 h 1570383"/>
                                                                                        <a:gd name="connsiteX30" fmla="*/ 322874 w 1543455"/>
                                                                                        <a:gd name="connsiteY30" fmla="*/ 870668 h 1570383"/>
                                                                                        <a:gd name="connsiteX31" fmla="*/ 318899 w 1543455"/>
                                                                                        <a:gd name="connsiteY31" fmla="*/ 858741 h 1570383"/>
                                                                                        <a:gd name="connsiteX32" fmla="*/ 306972 w 1543455"/>
                                                                                        <a:gd name="connsiteY32" fmla="*/ 854765 h 1570383"/>
                                                                                        <a:gd name="connsiteX33" fmla="*/ 318899 w 1543455"/>
                                                                                        <a:gd name="connsiteY33" fmla="*/ 815009 h 1570383"/>
                                                                                        <a:gd name="connsiteX34" fmla="*/ 326850 w 1543455"/>
                                                                                        <a:gd name="connsiteY34" fmla="*/ 803082 h 1570383"/>
                                                                                        <a:gd name="connsiteX35" fmla="*/ 322874 w 1543455"/>
                                                                                        <a:gd name="connsiteY35" fmla="*/ 763325 h 1570383"/>
                                                                                        <a:gd name="connsiteX36" fmla="*/ 330826 w 1543455"/>
                                                                                        <a:gd name="connsiteY36" fmla="*/ 755374 h 1570383"/>
                                                                                        <a:gd name="connsiteX37" fmla="*/ 326850 w 1543455"/>
                                                                                        <a:gd name="connsiteY37" fmla="*/ 731520 h 1570383"/>
                                                                                        <a:gd name="connsiteX38" fmla="*/ 322874 w 1543455"/>
                                                                                        <a:gd name="connsiteY38" fmla="*/ 719593 h 1570383"/>
                                                                                        <a:gd name="connsiteX39" fmla="*/ 310947 w 1543455"/>
                                                                                        <a:gd name="connsiteY39" fmla="*/ 715618 h 1570383"/>
                                                                                        <a:gd name="connsiteX40" fmla="*/ 302996 w 1543455"/>
                                                                                        <a:gd name="connsiteY40" fmla="*/ 707666 h 1570383"/>
                                                                                        <a:gd name="connsiteX41" fmla="*/ 295045 w 1543455"/>
                                                                                        <a:gd name="connsiteY41" fmla="*/ 683812 h 1570383"/>
                                                                                        <a:gd name="connsiteX42" fmla="*/ 291069 w 1543455"/>
                                                                                        <a:gd name="connsiteY42" fmla="*/ 671885 h 1570383"/>
                                                                                        <a:gd name="connsiteX43" fmla="*/ 287094 w 1543455"/>
                                                                                        <a:gd name="connsiteY43" fmla="*/ 659958 h 1570383"/>
                                                                                        <a:gd name="connsiteX44" fmla="*/ 267215 w 1543455"/>
                                                                                        <a:gd name="connsiteY44" fmla="*/ 644056 h 1570383"/>
                                                                                        <a:gd name="connsiteX45" fmla="*/ 263240 w 1543455"/>
                                                                                        <a:gd name="connsiteY45" fmla="*/ 632129 h 1570383"/>
                                                                                        <a:gd name="connsiteX46" fmla="*/ 255288 w 1543455"/>
                                                                                        <a:gd name="connsiteY46" fmla="*/ 624178 h 1570383"/>
                                                                                        <a:gd name="connsiteX47" fmla="*/ 259264 w 1543455"/>
                                                                                        <a:gd name="connsiteY47" fmla="*/ 592372 h 1570383"/>
                                                                                        <a:gd name="connsiteX48" fmla="*/ 259264 w 1543455"/>
                                                                                        <a:gd name="connsiteY48" fmla="*/ 560567 h 1570383"/>
                                                                                        <a:gd name="connsiteX49" fmla="*/ 283118 w 1543455"/>
                                                                                        <a:gd name="connsiteY49" fmla="*/ 572494 h 1570383"/>
                                                                                        <a:gd name="connsiteX50" fmla="*/ 291069 w 1543455"/>
                                                                                        <a:gd name="connsiteY50" fmla="*/ 560567 h 1570383"/>
                                                                                        <a:gd name="connsiteX51" fmla="*/ 287094 w 1543455"/>
                                                                                        <a:gd name="connsiteY51" fmla="*/ 544665 h 1570383"/>
                                                                                        <a:gd name="connsiteX52" fmla="*/ 279142 w 1543455"/>
                                                                                        <a:gd name="connsiteY52" fmla="*/ 536713 h 1570383"/>
                                                                                        <a:gd name="connsiteX53" fmla="*/ 239386 w 1543455"/>
                                                                                        <a:gd name="connsiteY53" fmla="*/ 528762 h 1570383"/>
                                                                                        <a:gd name="connsiteX54" fmla="*/ 231434 w 1543455"/>
                                                                                        <a:gd name="connsiteY54" fmla="*/ 520811 h 1570383"/>
                                                                                        <a:gd name="connsiteX55" fmla="*/ 231434 w 1543455"/>
                                                                                        <a:gd name="connsiteY55" fmla="*/ 485030 h 1570383"/>
                                                                                        <a:gd name="connsiteX56" fmla="*/ 227459 w 1543455"/>
                                                                                        <a:gd name="connsiteY56" fmla="*/ 469127 h 1570383"/>
                                                                                        <a:gd name="connsiteX57" fmla="*/ 207580 w 1543455"/>
                                                                                        <a:gd name="connsiteY57" fmla="*/ 453225 h 1570383"/>
                                                                                        <a:gd name="connsiteX58" fmla="*/ 183727 w 1543455"/>
                                                                                        <a:gd name="connsiteY58" fmla="*/ 445273 h 1570383"/>
                                                                                        <a:gd name="connsiteX59" fmla="*/ 171800 w 1543455"/>
                                                                                        <a:gd name="connsiteY59" fmla="*/ 441298 h 1570383"/>
                                                                                        <a:gd name="connsiteX60" fmla="*/ 167824 w 1543455"/>
                                                                                        <a:gd name="connsiteY60" fmla="*/ 421419 h 1570383"/>
                                                                                        <a:gd name="connsiteX61" fmla="*/ 143970 w 1543455"/>
                                                                                        <a:gd name="connsiteY61" fmla="*/ 409492 h 1570383"/>
                                                                                        <a:gd name="connsiteX62" fmla="*/ 124092 w 1543455"/>
                                                                                        <a:gd name="connsiteY62" fmla="*/ 393590 h 1570383"/>
                                                                                        <a:gd name="connsiteX63" fmla="*/ 104214 w 1543455"/>
                                                                                        <a:gd name="connsiteY63" fmla="*/ 373712 h 1570383"/>
                                                                                        <a:gd name="connsiteX64" fmla="*/ 72408 w 1543455"/>
                                                                                        <a:gd name="connsiteY64" fmla="*/ 349858 h 1570383"/>
                                                                                        <a:gd name="connsiteX65" fmla="*/ 24700 w 1543455"/>
                                                                                        <a:gd name="connsiteY65" fmla="*/ 345882 h 1570383"/>
                                                                                        <a:gd name="connsiteX66" fmla="*/ 20725 w 1543455"/>
                                                                                        <a:gd name="connsiteY66" fmla="*/ 314077 h 1570383"/>
                                                                                        <a:gd name="connsiteX67" fmla="*/ 12774 w 1543455"/>
                                                                                        <a:gd name="connsiteY67" fmla="*/ 306125 h 1570383"/>
                                                                                        <a:gd name="connsiteX68" fmla="*/ 847 w 1543455"/>
                                                                                        <a:gd name="connsiteY68" fmla="*/ 302150 h 1570383"/>
                                                                                        <a:gd name="connsiteX69" fmla="*/ 44579 w 1543455"/>
                                                                                        <a:gd name="connsiteY69" fmla="*/ 306125 h 1570383"/>
                                                                                        <a:gd name="connsiteX70" fmla="*/ 64457 w 1543455"/>
                                                                                        <a:gd name="connsiteY70" fmla="*/ 302150 h 1570383"/>
                                                                                        <a:gd name="connsiteX71" fmla="*/ 60481 w 1543455"/>
                                                                                        <a:gd name="connsiteY71" fmla="*/ 290223 h 1570383"/>
                                                                                        <a:gd name="connsiteX72" fmla="*/ 48554 w 1543455"/>
                                                                                        <a:gd name="connsiteY72" fmla="*/ 286247 h 1570383"/>
                                                                                        <a:gd name="connsiteX73" fmla="*/ 64457 w 1543455"/>
                                                                                        <a:gd name="connsiteY73" fmla="*/ 270345 h 1570383"/>
                                                                                        <a:gd name="connsiteX74" fmla="*/ 56506 w 1543455"/>
                                                                                        <a:gd name="connsiteY74" fmla="*/ 262393 h 1570383"/>
                                                                                        <a:gd name="connsiteX75" fmla="*/ 32652 w 1543455"/>
                                                                                        <a:gd name="connsiteY75" fmla="*/ 254442 h 1570383"/>
                                                                                        <a:gd name="connsiteX76" fmla="*/ 24700 w 1543455"/>
                                                                                        <a:gd name="connsiteY76" fmla="*/ 246491 h 1570383"/>
                                                                                        <a:gd name="connsiteX77" fmla="*/ 52530 w 1543455"/>
                                                                                        <a:gd name="connsiteY77" fmla="*/ 226612 h 1570383"/>
                                                                                        <a:gd name="connsiteX78" fmla="*/ 76384 w 1543455"/>
                                                                                        <a:gd name="connsiteY78" fmla="*/ 214685 h 1570383"/>
                                                                                        <a:gd name="connsiteX79" fmla="*/ 128067 w 1543455"/>
                                                                                        <a:gd name="connsiteY79" fmla="*/ 218661 h 1570383"/>
                                                                                        <a:gd name="connsiteX80" fmla="*/ 151921 w 1543455"/>
                                                                                        <a:gd name="connsiteY80" fmla="*/ 226612 h 1570383"/>
                                                                                        <a:gd name="connsiteX81" fmla="*/ 163848 w 1543455"/>
                                                                                        <a:gd name="connsiteY81" fmla="*/ 230588 h 1570383"/>
                                                                                        <a:gd name="connsiteX82" fmla="*/ 175775 w 1543455"/>
                                                                                        <a:gd name="connsiteY82" fmla="*/ 222637 h 1570383"/>
                                                                                        <a:gd name="connsiteX83" fmla="*/ 179751 w 1543455"/>
                                                                                        <a:gd name="connsiteY83" fmla="*/ 210710 h 1570383"/>
                                                                                        <a:gd name="connsiteX84" fmla="*/ 231434 w 1543455"/>
                                                                                        <a:gd name="connsiteY84" fmla="*/ 214685 h 1570383"/>
                                                                                        <a:gd name="connsiteX85" fmla="*/ 243361 w 1543455"/>
                                                                                        <a:gd name="connsiteY85" fmla="*/ 222637 h 1570383"/>
                                                                                        <a:gd name="connsiteX86" fmla="*/ 255288 w 1543455"/>
                                                                                        <a:gd name="connsiteY86" fmla="*/ 226612 h 1570383"/>
                                                                                        <a:gd name="connsiteX87" fmla="*/ 259264 w 1543455"/>
                                                                                        <a:gd name="connsiteY87" fmla="*/ 238539 h 1570383"/>
                                                                                        <a:gd name="connsiteX88" fmla="*/ 267215 w 1543455"/>
                                                                                        <a:gd name="connsiteY88" fmla="*/ 246491 h 1570383"/>
                                                                                        <a:gd name="connsiteX89" fmla="*/ 271191 w 1543455"/>
                                                                                        <a:gd name="connsiteY89" fmla="*/ 258418 h 1570383"/>
                                                                                        <a:gd name="connsiteX90" fmla="*/ 275167 w 1543455"/>
                                                                                        <a:gd name="connsiteY90" fmla="*/ 282272 h 1570383"/>
                                                                                        <a:gd name="connsiteX91" fmla="*/ 287094 w 1543455"/>
                                                                                        <a:gd name="connsiteY91" fmla="*/ 286247 h 1570383"/>
                                                                                        <a:gd name="connsiteX92" fmla="*/ 306972 w 1543455"/>
                                                                                        <a:gd name="connsiteY92" fmla="*/ 290223 h 1570383"/>
                                                                                        <a:gd name="connsiteX93" fmla="*/ 330826 w 1543455"/>
                                                                                        <a:gd name="connsiteY93" fmla="*/ 298174 h 1570383"/>
                                                                                        <a:gd name="connsiteX94" fmla="*/ 342753 w 1543455"/>
                                                                                        <a:gd name="connsiteY94" fmla="*/ 302150 h 1570383"/>
                                                                                        <a:gd name="connsiteX95" fmla="*/ 362631 w 1543455"/>
                                                                                        <a:gd name="connsiteY95" fmla="*/ 298174 h 1570383"/>
                                                                                        <a:gd name="connsiteX96" fmla="*/ 374558 w 1543455"/>
                                                                                        <a:gd name="connsiteY96" fmla="*/ 294198 h 1570383"/>
                                                                                        <a:gd name="connsiteX97" fmla="*/ 398412 w 1543455"/>
                                                                                        <a:gd name="connsiteY97" fmla="*/ 302150 h 1570383"/>
                                                                                        <a:gd name="connsiteX98" fmla="*/ 410339 w 1543455"/>
                                                                                        <a:gd name="connsiteY98" fmla="*/ 298174 h 1570383"/>
                                                                                        <a:gd name="connsiteX99" fmla="*/ 418290 w 1543455"/>
                                                                                        <a:gd name="connsiteY99" fmla="*/ 258418 h 1570383"/>
                                                                                        <a:gd name="connsiteX100" fmla="*/ 426241 w 1543455"/>
                                                                                        <a:gd name="connsiteY100" fmla="*/ 250466 h 1570383"/>
                                                                                        <a:gd name="connsiteX101" fmla="*/ 430217 w 1543455"/>
                                                                                        <a:gd name="connsiteY101" fmla="*/ 238539 h 1570383"/>
                                                                                        <a:gd name="connsiteX102" fmla="*/ 426241 w 1543455"/>
                                                                                        <a:gd name="connsiteY102" fmla="*/ 214685 h 1570383"/>
                                                                                        <a:gd name="connsiteX103" fmla="*/ 418290 w 1543455"/>
                                                                                        <a:gd name="connsiteY103" fmla="*/ 202758 h 1570383"/>
                                                                                        <a:gd name="connsiteX104" fmla="*/ 414314 w 1543455"/>
                                                                                        <a:gd name="connsiteY104" fmla="*/ 190832 h 1570383"/>
                                                                                        <a:gd name="connsiteX105" fmla="*/ 418290 w 1543455"/>
                                                                                        <a:gd name="connsiteY105" fmla="*/ 115294 h 1570383"/>
                                                                                        <a:gd name="connsiteX106" fmla="*/ 430217 w 1543455"/>
                                                                                        <a:gd name="connsiteY106" fmla="*/ 107343 h 1570383"/>
                                                                                        <a:gd name="connsiteX107" fmla="*/ 442144 w 1543455"/>
                                                                                        <a:gd name="connsiteY107" fmla="*/ 119270 h 1570383"/>
                                                                                        <a:gd name="connsiteX108" fmla="*/ 454071 w 1543455"/>
                                                                                        <a:gd name="connsiteY108" fmla="*/ 127221 h 1570383"/>
                                                                                        <a:gd name="connsiteX109" fmla="*/ 477925 w 1543455"/>
                                                                                        <a:gd name="connsiteY109" fmla="*/ 131197 h 1570383"/>
                                                                                        <a:gd name="connsiteX110" fmla="*/ 481900 w 1543455"/>
                                                                                        <a:gd name="connsiteY110" fmla="*/ 143124 h 1570383"/>
                                                                                        <a:gd name="connsiteX111" fmla="*/ 493827 w 1543455"/>
                                                                                        <a:gd name="connsiteY111" fmla="*/ 194807 h 1570383"/>
                                                                                        <a:gd name="connsiteX112" fmla="*/ 521657 w 1543455"/>
                                                                                        <a:gd name="connsiteY112" fmla="*/ 202758 h 1570383"/>
                                                                                        <a:gd name="connsiteX113" fmla="*/ 537560 w 1543455"/>
                                                                                        <a:gd name="connsiteY113" fmla="*/ 218661 h 1570383"/>
                                                                                        <a:gd name="connsiteX114" fmla="*/ 573340 w 1543455"/>
                                                                                        <a:gd name="connsiteY114" fmla="*/ 230588 h 1570383"/>
                                                                                        <a:gd name="connsiteX115" fmla="*/ 585267 w 1543455"/>
                                                                                        <a:gd name="connsiteY115" fmla="*/ 234564 h 1570383"/>
                                                                                        <a:gd name="connsiteX116" fmla="*/ 597194 w 1543455"/>
                                                                                        <a:gd name="connsiteY116" fmla="*/ 238539 h 1570383"/>
                                                                                        <a:gd name="connsiteX117" fmla="*/ 621048 w 1543455"/>
                                                                                        <a:gd name="connsiteY117" fmla="*/ 234564 h 1570383"/>
                                                                                        <a:gd name="connsiteX118" fmla="*/ 632975 w 1543455"/>
                                                                                        <a:gd name="connsiteY118" fmla="*/ 230588 h 1570383"/>
                                                                                        <a:gd name="connsiteX119" fmla="*/ 664780 w 1543455"/>
                                                                                        <a:gd name="connsiteY119" fmla="*/ 226612 h 1570383"/>
                                                                                        <a:gd name="connsiteX120" fmla="*/ 656829 w 1543455"/>
                                                                                        <a:gd name="connsiteY120" fmla="*/ 214685 h 1570383"/>
                                                                                        <a:gd name="connsiteX121" fmla="*/ 656829 w 1543455"/>
                                                                                        <a:gd name="connsiteY121" fmla="*/ 186856 h 1570383"/>
                                                                                        <a:gd name="connsiteX122" fmla="*/ 668756 w 1543455"/>
                                                                                        <a:gd name="connsiteY122" fmla="*/ 182880 h 1570383"/>
                                                                                        <a:gd name="connsiteX123" fmla="*/ 700561 w 1543455"/>
                                                                                        <a:gd name="connsiteY123" fmla="*/ 178905 h 1570383"/>
                                                                                        <a:gd name="connsiteX124" fmla="*/ 732367 w 1543455"/>
                                                                                        <a:gd name="connsiteY124" fmla="*/ 170953 h 1570383"/>
                                                                                        <a:gd name="connsiteX125" fmla="*/ 756220 w 1543455"/>
                                                                                        <a:gd name="connsiteY125" fmla="*/ 163002 h 1570383"/>
                                                                                        <a:gd name="connsiteX126" fmla="*/ 768147 w 1543455"/>
                                                                                        <a:gd name="connsiteY126" fmla="*/ 159026 h 1570383"/>
                                                                                        <a:gd name="connsiteX127" fmla="*/ 799953 w 1543455"/>
                                                                                        <a:gd name="connsiteY127" fmla="*/ 155051 h 1570383"/>
                                                                                        <a:gd name="connsiteX128" fmla="*/ 835734 w 1543455"/>
                                                                                        <a:gd name="connsiteY128" fmla="*/ 135172 h 1570383"/>
                                                                                        <a:gd name="connsiteX129" fmla="*/ 835734 w 1543455"/>
                                                                                        <a:gd name="connsiteY129" fmla="*/ 131197 h 1570383"/>
                                                                                        <a:gd name="connsiteX130" fmla="*/ 835734 w 1543455"/>
                                                                                        <a:gd name="connsiteY130" fmla="*/ 115294 h 1570383"/>
                                                                                        <a:gd name="connsiteX131" fmla="*/ 843685 w 1543455"/>
                                                                                        <a:gd name="connsiteY131" fmla="*/ 79513 h 1570383"/>
                                                                                        <a:gd name="connsiteX132" fmla="*/ 847660 w 1543455"/>
                                                                                        <a:gd name="connsiteY132" fmla="*/ 67586 h 1570383"/>
                                                                                        <a:gd name="connsiteX133" fmla="*/ 855612 w 1543455"/>
                                                                                        <a:gd name="connsiteY133" fmla="*/ 59635 h 1570383"/>
                                                                                        <a:gd name="connsiteX134" fmla="*/ 859587 w 1543455"/>
                                                                                        <a:gd name="connsiteY134" fmla="*/ 47708 h 1570383"/>
                                                                                        <a:gd name="connsiteX135" fmla="*/ 867539 w 1543455"/>
                                                                                        <a:gd name="connsiteY135" fmla="*/ 19878 h 1570383"/>
                                                                                        <a:gd name="connsiteX136" fmla="*/ 875490 w 1543455"/>
                                                                                        <a:gd name="connsiteY136" fmla="*/ 7952 h 1570383"/>
                                                                                        <a:gd name="connsiteX137" fmla="*/ 887417 w 1543455"/>
                                                                                        <a:gd name="connsiteY137" fmla="*/ 3976 h 1570383"/>
                                                                                        <a:gd name="connsiteX138" fmla="*/ 919222 w 1543455"/>
                                                                                        <a:gd name="connsiteY138" fmla="*/ 0 h 1570383"/>
                                                                                        <a:gd name="connsiteX139" fmla="*/ 982833 w 1543455"/>
                                                                                        <a:gd name="connsiteY139" fmla="*/ 3976 h 1570383"/>
                                                                                        <a:gd name="connsiteX140" fmla="*/ 986808 w 1543455"/>
                                                                                        <a:gd name="connsiteY140" fmla="*/ 15903 h 1570383"/>
                                                                                        <a:gd name="connsiteX141" fmla="*/ 990784 w 1543455"/>
                                                                                        <a:gd name="connsiteY141" fmla="*/ 67586 h 1570383"/>
                                                                                        <a:gd name="connsiteX142" fmla="*/ 1034516 w 1543455"/>
                                                                                        <a:gd name="connsiteY142" fmla="*/ 71562 h 1570383"/>
                                                                                        <a:gd name="connsiteX143" fmla="*/ 1050419 w 1543455"/>
                                                                                        <a:gd name="connsiteY143" fmla="*/ 115294 h 1570383"/>
                                                                                        <a:gd name="connsiteX144" fmla="*/ 1062346 w 1543455"/>
                                                                                        <a:gd name="connsiteY144" fmla="*/ 123245 h 1570383"/>
                                                                                        <a:gd name="connsiteX145" fmla="*/ 1070297 w 1543455"/>
                                                                                        <a:gd name="connsiteY145" fmla="*/ 131197 h 1570383"/>
                                                                                        <a:gd name="connsiteX146" fmla="*/ 1074273 w 1543455"/>
                                                                                        <a:gd name="connsiteY146" fmla="*/ 143124 h 1570383"/>
                                                                                        <a:gd name="connsiteX147" fmla="*/ 1078248 w 1543455"/>
                                                                                        <a:gd name="connsiteY147" fmla="*/ 170953 h 1570383"/>
                                                                                        <a:gd name="connsiteX148" fmla="*/ 1090175 w 1543455"/>
                                                                                        <a:gd name="connsiteY148" fmla="*/ 174929 h 1570383"/>
                                                                                        <a:gd name="connsiteX149" fmla="*/ 1118005 w 1543455"/>
                                                                                        <a:gd name="connsiteY149" fmla="*/ 178905 h 1570383"/>
                                                                                        <a:gd name="connsiteX150" fmla="*/ 1129932 w 1543455"/>
                                                                                        <a:gd name="connsiteY150" fmla="*/ 182880 h 1570383"/>
                                                                                        <a:gd name="connsiteX151" fmla="*/ 1118005 w 1543455"/>
                                                                                        <a:gd name="connsiteY151" fmla="*/ 222637 h 1570383"/>
                                                                                        <a:gd name="connsiteX152" fmla="*/ 1121980 w 1543455"/>
                                                                                        <a:gd name="connsiteY152" fmla="*/ 234564 h 1570383"/>
                                                                                        <a:gd name="connsiteX153" fmla="*/ 1141859 w 1543455"/>
                                                                                        <a:gd name="connsiteY153" fmla="*/ 250466 h 1570383"/>
                                                                                        <a:gd name="connsiteX154" fmla="*/ 1169688 w 1543455"/>
                                                                                        <a:gd name="connsiteY154" fmla="*/ 246491 h 1570383"/>
                                                                                        <a:gd name="connsiteX155" fmla="*/ 1177640 w 1543455"/>
                                                                                        <a:gd name="connsiteY155" fmla="*/ 238539 h 1570383"/>
                                                                                        <a:gd name="connsiteX156" fmla="*/ 1189567 w 1543455"/>
                                                                                        <a:gd name="connsiteY156" fmla="*/ 234564 h 1570383"/>
                                                                                        <a:gd name="connsiteX157" fmla="*/ 1197518 w 1543455"/>
                                                                                        <a:gd name="connsiteY157" fmla="*/ 246491 h 1570383"/>
                                                                                        <a:gd name="connsiteX158" fmla="*/ 1193542 w 1543455"/>
                                                                                        <a:gd name="connsiteY158" fmla="*/ 270345 h 1570383"/>
                                                                                        <a:gd name="connsiteX159" fmla="*/ 1205469 w 1543455"/>
                                                                                        <a:gd name="connsiteY159" fmla="*/ 310101 h 1570383"/>
                                                                                        <a:gd name="connsiteX160" fmla="*/ 1217396 w 1543455"/>
                                                                                        <a:gd name="connsiteY160" fmla="*/ 314077 h 1570383"/>
                                                                                        <a:gd name="connsiteX161" fmla="*/ 1221372 w 1543455"/>
                                                                                        <a:gd name="connsiteY161" fmla="*/ 326004 h 1570383"/>
                                                                                        <a:gd name="connsiteX162" fmla="*/ 1245226 w 1543455"/>
                                                                                        <a:gd name="connsiteY162" fmla="*/ 333955 h 1570383"/>
                                                                                        <a:gd name="connsiteX163" fmla="*/ 1249201 w 1543455"/>
                                                                                        <a:gd name="connsiteY163" fmla="*/ 345882 h 1570383"/>
                                                                                        <a:gd name="connsiteX164" fmla="*/ 1277031 w 1543455"/>
                                                                                        <a:gd name="connsiteY164" fmla="*/ 365760 h 1570383"/>
                                                                                        <a:gd name="connsiteX165" fmla="*/ 1304860 w 1543455"/>
                                                                                        <a:gd name="connsiteY165" fmla="*/ 369736 h 1570383"/>
                                                                                        <a:gd name="connsiteX166" fmla="*/ 1312812 w 1543455"/>
                                                                                        <a:gd name="connsiteY166" fmla="*/ 377687 h 1570383"/>
                                                                                        <a:gd name="connsiteX167" fmla="*/ 1360520 w 1543455"/>
                                                                                        <a:gd name="connsiteY167" fmla="*/ 385638 h 1570383"/>
                                                                                        <a:gd name="connsiteX168" fmla="*/ 1368471 w 1543455"/>
                                                                                        <a:gd name="connsiteY168" fmla="*/ 409492 h 1570383"/>
                                                                                        <a:gd name="connsiteX169" fmla="*/ 1372447 w 1543455"/>
                                                                                        <a:gd name="connsiteY169" fmla="*/ 425395 h 1570383"/>
                                                                                        <a:gd name="connsiteX170" fmla="*/ 1380398 w 1543455"/>
                                                                                        <a:gd name="connsiteY170" fmla="*/ 437322 h 1570383"/>
                                                                                        <a:gd name="connsiteX171" fmla="*/ 1384374 w 1543455"/>
                                                                                        <a:gd name="connsiteY171" fmla="*/ 461176 h 1570383"/>
                                                                                        <a:gd name="connsiteX172" fmla="*/ 1408227 w 1543455"/>
                                                                                        <a:gd name="connsiteY172" fmla="*/ 457200 h 1570383"/>
                                                                                        <a:gd name="connsiteX173" fmla="*/ 1444008 w 1543455"/>
                                                                                        <a:gd name="connsiteY173" fmla="*/ 469127 h 1570383"/>
                                                                                        <a:gd name="connsiteX174" fmla="*/ 1471838 w 1543455"/>
                                                                                        <a:gd name="connsiteY174" fmla="*/ 473103 h 1570383"/>
                                                                                        <a:gd name="connsiteX175" fmla="*/ 1479789 w 1543455"/>
                                                                                        <a:gd name="connsiteY175" fmla="*/ 485030 h 1570383"/>
                                                                                        <a:gd name="connsiteX176" fmla="*/ 1499667 w 1543455"/>
                                                                                        <a:gd name="connsiteY176" fmla="*/ 489005 h 1570383"/>
                                                                                        <a:gd name="connsiteX177" fmla="*/ 1523521 w 1543455"/>
                                                                                        <a:gd name="connsiteY177" fmla="*/ 496957 h 1570383"/>
                                                                                        <a:gd name="connsiteX178" fmla="*/ 1539424 w 1543455"/>
                                                                                        <a:gd name="connsiteY178" fmla="*/ 500932 h 1570383"/>
                                                                                        <a:gd name="connsiteX179" fmla="*/ 1543400 w 1543455"/>
                                                                                        <a:gd name="connsiteY179" fmla="*/ 520811 h 1570383"/>
                                                                                        <a:gd name="connsiteX180" fmla="*/ 1491716 w 1543455"/>
                                                                                        <a:gd name="connsiteY180" fmla="*/ 584421 h 1570383"/>
                                                                                        <a:gd name="connsiteX181" fmla="*/ 1471838 w 1543455"/>
                                                                                        <a:gd name="connsiteY181" fmla="*/ 612251 h 1570383"/>
                                                                                        <a:gd name="connsiteX182" fmla="*/ 1467862 w 1543455"/>
                                                                                        <a:gd name="connsiteY182" fmla="*/ 624178 h 1570383"/>
                                                                                        <a:gd name="connsiteX183" fmla="*/ 1455935 w 1543455"/>
                                                                                        <a:gd name="connsiteY183" fmla="*/ 628153 h 1570383"/>
                                                                                        <a:gd name="connsiteX184" fmla="*/ 1447984 w 1543455"/>
                                                                                        <a:gd name="connsiteY184" fmla="*/ 636105 h 1570383"/>
                                                                                        <a:gd name="connsiteX185" fmla="*/ 1440033 w 1543455"/>
                                                                                        <a:gd name="connsiteY185" fmla="*/ 683812 h 1570383"/>
                                                                                        <a:gd name="connsiteX186" fmla="*/ 1432081 w 1543455"/>
                                                                                        <a:gd name="connsiteY186" fmla="*/ 707666 h 1570383"/>
                                                                                        <a:gd name="connsiteX187" fmla="*/ 1432081 w 1543455"/>
                                                                                        <a:gd name="connsiteY187" fmla="*/ 759350 h 1570383"/>
                                                                                        <a:gd name="connsiteX188" fmla="*/ 1396300 w 1543455"/>
                                                                                        <a:gd name="connsiteY188" fmla="*/ 779228 h 1570383"/>
                                                                                        <a:gd name="connsiteX189" fmla="*/ 1376422 w 1543455"/>
                                                                                        <a:gd name="connsiteY189" fmla="*/ 767301 h 1570383"/>
                                                                                        <a:gd name="connsiteX190" fmla="*/ 1364495 w 1543455"/>
                                                                                        <a:gd name="connsiteY190" fmla="*/ 763325 h 1570383"/>
                                                                                        <a:gd name="connsiteX191" fmla="*/ 1344617 w 1543455"/>
                                                                                        <a:gd name="connsiteY191" fmla="*/ 767301 h 1570383"/>
                                                                                        <a:gd name="connsiteX192" fmla="*/ 1348593 w 1543455"/>
                                                                                        <a:gd name="connsiteY192" fmla="*/ 787179 h 1570383"/>
                                                                                        <a:gd name="connsiteX193" fmla="*/ 1332690 w 1543455"/>
                                                                                        <a:gd name="connsiteY193" fmla="*/ 811033 h 1570383"/>
                                                                                        <a:gd name="connsiteX194" fmla="*/ 1312812 w 1543455"/>
                                                                                        <a:gd name="connsiteY194" fmla="*/ 822960 h 1570383"/>
                                                                                        <a:gd name="connsiteX195" fmla="*/ 1304860 w 1543455"/>
                                                                                        <a:gd name="connsiteY195" fmla="*/ 830912 h 1570383"/>
                                                                                        <a:gd name="connsiteX196" fmla="*/ 1281007 w 1543455"/>
                                                                                        <a:gd name="connsiteY196" fmla="*/ 838863 h 1570383"/>
                                                                                        <a:gd name="connsiteX197" fmla="*/ 1273055 w 1543455"/>
                                                                                        <a:gd name="connsiteY197" fmla="*/ 846814 h 1570383"/>
                                                                                        <a:gd name="connsiteX198" fmla="*/ 1265104 w 1543455"/>
                                                                                        <a:gd name="connsiteY198" fmla="*/ 870668 h 1570383"/>
                                                                                        <a:gd name="connsiteX199" fmla="*/ 1253177 w 1543455"/>
                                                                                        <a:gd name="connsiteY199" fmla="*/ 878619 h 1570383"/>
                                                                                        <a:gd name="connsiteX200" fmla="*/ 1245226 w 1543455"/>
                                                                                        <a:gd name="connsiteY200" fmla="*/ 886571 h 1570383"/>
                                                                                        <a:gd name="connsiteX201" fmla="*/ 1233299 w 1543455"/>
                                                                                        <a:gd name="connsiteY201" fmla="*/ 890546 h 1570383"/>
                                                                                        <a:gd name="connsiteX202" fmla="*/ 1221372 w 1543455"/>
                                                                                        <a:gd name="connsiteY202" fmla="*/ 910425 h 1570383"/>
                                                                                        <a:gd name="connsiteX203" fmla="*/ 1217396 w 1543455"/>
                                                                                        <a:gd name="connsiteY203" fmla="*/ 922352 h 1570383"/>
                                                                                        <a:gd name="connsiteX204" fmla="*/ 1213420 w 1543455"/>
                                                                                        <a:gd name="connsiteY204" fmla="*/ 962108 h 1570383"/>
                                                                                        <a:gd name="connsiteX205" fmla="*/ 1209445 w 1543455"/>
                                                                                        <a:gd name="connsiteY205" fmla="*/ 974035 h 1570383"/>
                                                                                        <a:gd name="connsiteX206" fmla="*/ 1221372 w 1543455"/>
                                                                                        <a:gd name="connsiteY206" fmla="*/ 978011 h 1570383"/>
                                                                                        <a:gd name="connsiteX207" fmla="*/ 1253177 w 1543455"/>
                                                                                        <a:gd name="connsiteY207" fmla="*/ 950181 h 1570383"/>
                                                                                        <a:gd name="connsiteX208" fmla="*/ 1273055 w 1543455"/>
                                                                                        <a:gd name="connsiteY208" fmla="*/ 946205 h 1570383"/>
                                                                                        <a:gd name="connsiteX209" fmla="*/ 1308836 w 1543455"/>
                                                                                        <a:gd name="connsiteY209" fmla="*/ 962108 h 1570383"/>
                                                                                        <a:gd name="connsiteX210" fmla="*/ 1300885 w 1543455"/>
                                                                                        <a:gd name="connsiteY210" fmla="*/ 985962 h 1570383"/>
                                                                                        <a:gd name="connsiteX211" fmla="*/ 1296909 w 1543455"/>
                                                                                        <a:gd name="connsiteY211" fmla="*/ 997889 h 1570383"/>
                                                                                        <a:gd name="connsiteX212" fmla="*/ 1308836 w 1543455"/>
                                                                                        <a:gd name="connsiteY212" fmla="*/ 1005840 h 1570383"/>
                                                                                        <a:gd name="connsiteX213" fmla="*/ 1308836 w 1543455"/>
                                                                                        <a:gd name="connsiteY213" fmla="*/ 1033670 h 1570383"/>
                                                                                        <a:gd name="connsiteX214" fmla="*/ 1284982 w 1543455"/>
                                                                                        <a:gd name="connsiteY214" fmla="*/ 1049572 h 1570383"/>
                                                                                        <a:gd name="connsiteX215" fmla="*/ 1288958 w 1543455"/>
                                                                                        <a:gd name="connsiteY215" fmla="*/ 1085353 h 1570383"/>
                                                                                        <a:gd name="connsiteX216" fmla="*/ 1300885 w 1543455"/>
                                                                                        <a:gd name="connsiteY216" fmla="*/ 1089329 h 1570383"/>
                                                                                        <a:gd name="connsiteX217" fmla="*/ 1308836 w 1543455"/>
                                                                                        <a:gd name="connsiteY217" fmla="*/ 1117158 h 1570383"/>
                                                                                        <a:gd name="connsiteX218" fmla="*/ 1316787 w 1543455"/>
                                                                                        <a:gd name="connsiteY218" fmla="*/ 1125110 h 1570383"/>
                                                                                        <a:gd name="connsiteX219" fmla="*/ 1312812 w 1543455"/>
                                                                                        <a:gd name="connsiteY219" fmla="*/ 1141012 h 1570383"/>
                                                                                        <a:gd name="connsiteX220" fmla="*/ 1292934 w 1543455"/>
                                                                                        <a:gd name="connsiteY220" fmla="*/ 1156915 h 1570383"/>
                                                                                        <a:gd name="connsiteX221" fmla="*/ 1284982 w 1543455"/>
                                                                                        <a:gd name="connsiteY221" fmla="*/ 1164866 h 1570383"/>
                                                                                        <a:gd name="connsiteX222" fmla="*/ 1257153 w 1543455"/>
                                                                                        <a:gd name="connsiteY222" fmla="*/ 1172818 h 1570383"/>
                                                                                        <a:gd name="connsiteX223" fmla="*/ 1269080 w 1543455"/>
                                                                                        <a:gd name="connsiteY223" fmla="*/ 1204623 h 1570383"/>
                                                                                        <a:gd name="connsiteX224" fmla="*/ 1281007 w 1543455"/>
                                                                                        <a:gd name="connsiteY224" fmla="*/ 1212574 h 1570383"/>
                                                                                        <a:gd name="connsiteX225" fmla="*/ 1284982 w 1543455"/>
                                                                                        <a:gd name="connsiteY225" fmla="*/ 1228477 h 1570383"/>
                                                                                        <a:gd name="connsiteX226" fmla="*/ 1265104 w 1543455"/>
                                                                                        <a:gd name="connsiteY226" fmla="*/ 1264258 h 1570383"/>
                                                                                        <a:gd name="connsiteX227" fmla="*/ 1253177 w 1543455"/>
                                                                                        <a:gd name="connsiteY227" fmla="*/ 1268233 h 1570383"/>
                                                                                        <a:gd name="connsiteX228" fmla="*/ 1261128 w 1543455"/>
                                                                                        <a:gd name="connsiteY228" fmla="*/ 1292087 h 1570383"/>
                                                                                        <a:gd name="connsiteX229" fmla="*/ 1265104 w 1543455"/>
                                                                                        <a:gd name="connsiteY229" fmla="*/ 1311965 h 1570383"/>
                                                                                        <a:gd name="connsiteX230" fmla="*/ 1277031 w 1543455"/>
                                                                                        <a:gd name="connsiteY230" fmla="*/ 1355698 h 1570383"/>
                                                                                        <a:gd name="connsiteX231" fmla="*/ 1304860 w 1543455"/>
                                                                                        <a:gd name="connsiteY231" fmla="*/ 1375576 h 1570383"/>
                                                                                        <a:gd name="connsiteX232" fmla="*/ 1336666 w 1543455"/>
                                                                                        <a:gd name="connsiteY232" fmla="*/ 1383527 h 1570383"/>
                                                                                        <a:gd name="connsiteX233" fmla="*/ 1332690 w 1543455"/>
                                                                                        <a:gd name="connsiteY233" fmla="*/ 1403405 h 1570383"/>
                                                                                        <a:gd name="connsiteX234" fmla="*/ 1320763 w 1543455"/>
                                                                                        <a:gd name="connsiteY234" fmla="*/ 1423284 h 1570383"/>
                                                                                        <a:gd name="connsiteX235" fmla="*/ 1316787 w 1543455"/>
                                                                                        <a:gd name="connsiteY235" fmla="*/ 1447138 h 1570383"/>
                                                                                        <a:gd name="connsiteX236" fmla="*/ 1281007 w 1543455"/>
                                                                                        <a:gd name="connsiteY236" fmla="*/ 1451113 h 1570383"/>
                                                                                        <a:gd name="connsiteX237" fmla="*/ 1261128 w 1543455"/>
                                                                                        <a:gd name="connsiteY237" fmla="*/ 1467016 h 1570383"/>
                                                                                        <a:gd name="connsiteX238" fmla="*/ 1237274 w 1543455"/>
                                                                                        <a:gd name="connsiteY238" fmla="*/ 1474967 h 1570383"/>
                                                                                        <a:gd name="connsiteX239" fmla="*/ 1221372 w 1543455"/>
                                                                                        <a:gd name="connsiteY239" fmla="*/ 1482918 h 1570383"/>
                                                                                        <a:gd name="connsiteX240" fmla="*/ 1197518 w 1543455"/>
                                                                                        <a:gd name="connsiteY240" fmla="*/ 1490870 h 1570383"/>
                                                                                        <a:gd name="connsiteX241" fmla="*/ 1185591 w 1543455"/>
                                                                                        <a:gd name="connsiteY241" fmla="*/ 1494845 h 1570383"/>
                                                                                        <a:gd name="connsiteX242" fmla="*/ 1165713 w 1543455"/>
                                                                                        <a:gd name="connsiteY242" fmla="*/ 1510748 h 1570383"/>
                                                                                        <a:gd name="connsiteX243" fmla="*/ 1153786 w 1543455"/>
                                                                                        <a:gd name="connsiteY243" fmla="*/ 1514724 h 1570383"/>
                                                                                        <a:gd name="connsiteX244" fmla="*/ 1086200 w 1543455"/>
                                                                                        <a:gd name="connsiteY244" fmla="*/ 1518699 h 1570383"/>
                                                                                        <a:gd name="connsiteX245" fmla="*/ 1078248 w 1543455"/>
                                                                                        <a:gd name="connsiteY245" fmla="*/ 1510748 h 1570383"/>
                                                                                        <a:gd name="connsiteX246" fmla="*/ 1066321 w 1543455"/>
                                                                                        <a:gd name="connsiteY246" fmla="*/ 1506772 h 1570383"/>
                                                                                        <a:gd name="connsiteX247" fmla="*/ 1042467 w 1543455"/>
                                                                                        <a:gd name="connsiteY247" fmla="*/ 1490870 h 1570383"/>
                                                                                        <a:gd name="connsiteX248" fmla="*/ 1030540 w 1543455"/>
                                                                                        <a:gd name="connsiteY248" fmla="*/ 1486894 h 1570383"/>
                                                                                        <a:gd name="connsiteX249" fmla="*/ 1010662 w 1543455"/>
                                                                                        <a:gd name="connsiteY249" fmla="*/ 1470992 h 1570383"/>
                                                                                        <a:gd name="connsiteX250" fmla="*/ 1006687 w 1543455"/>
                                                                                        <a:gd name="connsiteY250" fmla="*/ 1459065 h 1570383"/>
                                                                                        <a:gd name="connsiteX251" fmla="*/ 1002711 w 1543455"/>
                                                                                        <a:gd name="connsiteY251" fmla="*/ 1439186 h 1570383"/>
                                                                                        <a:gd name="connsiteX252" fmla="*/ 974881 w 1543455"/>
                                                                                        <a:gd name="connsiteY252" fmla="*/ 1443162 h 1570383"/>
                                                                                        <a:gd name="connsiteX253" fmla="*/ 958979 w 1543455"/>
                                                                                        <a:gd name="connsiteY253" fmla="*/ 1439186 h 1570383"/>
                                                                                        <a:gd name="connsiteX254" fmla="*/ 951027 w 1543455"/>
                                                                                        <a:gd name="connsiteY254" fmla="*/ 1431235 h 1570383"/>
                                                                                        <a:gd name="connsiteX255" fmla="*/ 927174 w 1543455"/>
                                                                                        <a:gd name="connsiteY255" fmla="*/ 1423284 h 1570383"/>
                                                                                        <a:gd name="connsiteX256" fmla="*/ 895368 w 1543455"/>
                                                                                        <a:gd name="connsiteY256" fmla="*/ 1399430 h 1570383"/>
                                                                                        <a:gd name="connsiteX257" fmla="*/ 871514 w 1543455"/>
                                                                                        <a:gd name="connsiteY257" fmla="*/ 1391478 h 1570383"/>
                                                                                        <a:gd name="connsiteX258" fmla="*/ 859587 w 1543455"/>
                                                                                        <a:gd name="connsiteY258" fmla="*/ 1387503 h 1570383"/>
                                                                                        <a:gd name="connsiteX259" fmla="*/ 839709 w 1543455"/>
                                                                                        <a:gd name="connsiteY259" fmla="*/ 1391478 h 1570383"/>
                                                                                        <a:gd name="connsiteX260" fmla="*/ 815855 w 1543455"/>
                                                                                        <a:gd name="connsiteY260" fmla="*/ 1407381 h 1570383"/>
                                                                                        <a:gd name="connsiteX261" fmla="*/ 764172 w 1543455"/>
                                                                                        <a:gd name="connsiteY261" fmla="*/ 1419308 h 1570383"/>
                                                                                        <a:gd name="connsiteX262" fmla="*/ 740318 w 1543455"/>
                                                                                        <a:gd name="connsiteY262" fmla="*/ 1427259 h 1570383"/>
                                                                                        <a:gd name="connsiteX263" fmla="*/ 736342 w 1543455"/>
                                                                                        <a:gd name="connsiteY263" fmla="*/ 1439186 h 1570383"/>
                                                                                        <a:gd name="connsiteX264" fmla="*/ 728391 w 1543455"/>
                                                                                        <a:gd name="connsiteY264" fmla="*/ 1447138 h 1570383"/>
                                                                                        <a:gd name="connsiteX265" fmla="*/ 720440 w 1543455"/>
                                                                                        <a:gd name="connsiteY265" fmla="*/ 1459065 h 1570383"/>
                                                                                        <a:gd name="connsiteX266" fmla="*/ 708513 w 1543455"/>
                                                                                        <a:gd name="connsiteY266" fmla="*/ 1502797 h 1570383"/>
                                                                                        <a:gd name="connsiteX267" fmla="*/ 704537 w 1543455"/>
                                                                                        <a:gd name="connsiteY267" fmla="*/ 1514724 h 1570383"/>
                                                                                        <a:gd name="connsiteX268" fmla="*/ 700561 w 1543455"/>
                                                                                        <a:gd name="connsiteY268" fmla="*/ 1526651 h 1570383"/>
                                                                                        <a:gd name="connsiteX269" fmla="*/ 684659 w 1543455"/>
                                                                                        <a:gd name="connsiteY269" fmla="*/ 1558456 h 1570383"/>
                                                                                        <a:gd name="connsiteX270" fmla="*/ 672732 w 1543455"/>
                                                                                        <a:gd name="connsiteY270" fmla="*/ 1570383 h 1570383"/>
                                                                                        <a:gd name="connsiteX271" fmla="*/ 660805 w 1543455"/>
                                                                                        <a:gd name="connsiteY271" fmla="*/ 1542553 h 1570383"/>
                                                                                        <a:gd name="connsiteX272" fmla="*/ 636951 w 1543455"/>
                                                                                        <a:gd name="connsiteY272" fmla="*/ 1534602 h 1570383"/>
                                                                                        <a:gd name="connsiteX273" fmla="*/ 621048 w 1543455"/>
                                                                                        <a:gd name="connsiteY273" fmla="*/ 1542553 h 1570383"/>
                                                                                        <a:gd name="connsiteX274" fmla="*/ 541535 w 1543455"/>
                                                                                        <a:gd name="connsiteY274" fmla="*/ 1530626 h 1570383"/>
                                                                                        <a:gd name="connsiteX275" fmla="*/ 529608 w 1543455"/>
                                                                                        <a:gd name="connsiteY275" fmla="*/ 1510748 h 1570383"/>
                                                                                        <a:gd name="connsiteX276" fmla="*/ 517681 w 1543455"/>
                                                                                        <a:gd name="connsiteY276" fmla="*/ 1490870 h 1570383"/>
                                                                                        <a:gd name="connsiteX277" fmla="*/ 505754 w 1543455"/>
                                                                                        <a:gd name="connsiteY277" fmla="*/ 1486894 h 1570383"/>
                                                                                        <a:gd name="connsiteX278" fmla="*/ 493827 w 1543455"/>
                                                                                        <a:gd name="connsiteY278" fmla="*/ 1478943 h 1570383"/>
                                                                                        <a:gd name="connsiteX279" fmla="*/ 469974 w 1543455"/>
                                                                                        <a:gd name="connsiteY279" fmla="*/ 1467016 h 1570383"/>
                                                                                        <a:gd name="connsiteX280" fmla="*/ 462022 w 1543455"/>
                                                                                        <a:gd name="connsiteY280" fmla="*/ 1459065 h 1570383"/>
                                                                                        <a:gd name="connsiteX281" fmla="*/ 438168 w 1543455"/>
                                                                                        <a:gd name="connsiteY281" fmla="*/ 1443162 h 1570383"/>
                                                                                        <a:gd name="connsiteX282" fmla="*/ 414314 w 1543455"/>
                                                                                        <a:gd name="connsiteY282" fmla="*/ 1423284 h 1570383"/>
                                                                                        <a:gd name="connsiteX283" fmla="*/ 398412 w 1543455"/>
                                                                                        <a:gd name="connsiteY283" fmla="*/ 1439186 h 1570383"/>
                                                                                        <a:gd name="connsiteX284" fmla="*/ 386485 w 1543455"/>
                                                                                        <a:gd name="connsiteY284" fmla="*/ 1443162 h 1570383"/>
                                                                                        <a:gd name="connsiteX285" fmla="*/ 366607 w 1543455"/>
                                                                                        <a:gd name="connsiteY285" fmla="*/ 1439186 h 1570383"/>
                                                                                        <a:gd name="connsiteX286" fmla="*/ 354680 w 1543455"/>
                                                                                        <a:gd name="connsiteY286" fmla="*/ 1419308 h 1570383"/>
                                                                                        <a:gd name="connsiteX287" fmla="*/ 334801 w 1543455"/>
                                                                                        <a:gd name="connsiteY287" fmla="*/ 1407381 h 1570383"/>
                                                                                        <a:gd name="connsiteX288" fmla="*/ 318899 w 1543455"/>
                                                                                        <a:gd name="connsiteY288" fmla="*/ 1411357 h 1570383"/>
                                                                                        <a:gd name="connsiteX289" fmla="*/ 306972 w 1543455"/>
                                                                                        <a:gd name="connsiteY289" fmla="*/ 1415332 h 1570383"/>
                                                                                        <a:gd name="connsiteX290" fmla="*/ 291069 w 1543455"/>
                                                                                        <a:gd name="connsiteY290" fmla="*/ 1411357 h 1570383"/>
                                                                                        <a:gd name="connsiteX291" fmla="*/ 279142 w 1543455"/>
                                                                                        <a:gd name="connsiteY291" fmla="*/ 1387503 h 1570383"/>
                                                                                        <a:gd name="connsiteX292" fmla="*/ 275167 w 1543455"/>
                                                                                        <a:gd name="connsiteY292" fmla="*/ 1375576 h 1570383"/>
                                                                                        <a:gd name="connsiteX293" fmla="*/ 251313 w 1543455"/>
                                                                                        <a:gd name="connsiteY293" fmla="*/ 1371600 h 1570383"/>
                                                                                        <a:gd name="connsiteX294" fmla="*/ 227459 w 1543455"/>
                                                                                        <a:gd name="connsiteY294" fmla="*/ 1363649 h 1570383"/>
                                                                                        <a:gd name="connsiteX295" fmla="*/ 219507 w 1543455"/>
                                                                                        <a:gd name="connsiteY295" fmla="*/ 1339795 h 1570383"/>
                                                                                        <a:gd name="connsiteX296" fmla="*/ 207580 w 1543455"/>
                                                                                        <a:gd name="connsiteY296" fmla="*/ 1319917 h 1570383"/>
                                                                                        <a:gd name="connsiteX297" fmla="*/ 195654 w 1543455"/>
                                                                                        <a:gd name="connsiteY297" fmla="*/ 1315941 h 1570383"/>
                                                                                        <a:gd name="connsiteX298" fmla="*/ 187702 w 1543455"/>
                                                                                        <a:gd name="connsiteY298" fmla="*/ 1307990 h 1570383"/>
                                                                                        <a:gd name="connsiteX299" fmla="*/ 179751 w 1543455"/>
                                                                                        <a:gd name="connsiteY299" fmla="*/ 1296063 h 1570383"/>
                                                                                        <a:gd name="connsiteX300" fmla="*/ 167824 w 1543455"/>
                                                                                        <a:gd name="connsiteY300" fmla="*/ 1292087 h 1570383"/>
                                                                                        <a:gd name="connsiteX301" fmla="*/ 139994 w 1543455"/>
                                                                                        <a:gd name="connsiteY301" fmla="*/ 1288112 h 1570383"/>
                                                                                        <a:gd name="connsiteX302" fmla="*/ 139994 w 1543455"/>
                                                                                        <a:gd name="connsiteY302" fmla="*/ 1240404 h 1570383"/>
                                                                                        <a:gd name="connsiteX303" fmla="*/ 120116 w 1543455"/>
                                                                                        <a:gd name="connsiteY303" fmla="*/ 1228477 h 157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543455" h="1570383">
                                                                                          <a:moveTo>
                                                                                            <a:pt x="120116" y="1228477"/>
                                                                                          </a:moveTo>
                                                                                          <a:lnTo>
                                                                                            <a:pt x="120116" y="1228477"/>
                                                                                          </a:lnTo>
                                                                                          <a:cubicBezTo>
                                                                                            <a:pt x="130718" y="1224501"/>
                                                                                            <a:pt x="141794" y="1221614"/>
                                                                                            <a:pt x="151921" y="1216550"/>
                                                                                          </a:cubicBezTo>
                                                                                          <a:cubicBezTo>
                                                                                            <a:pt x="155274" y="1214874"/>
                                                                                            <a:pt x="156946" y="1210940"/>
                                                                                            <a:pt x="159873" y="1208598"/>
                                                                                          </a:cubicBezTo>
                                                                                          <a:cubicBezTo>
                                                                                            <a:pt x="163604" y="1205613"/>
                                                                                            <a:pt x="167824" y="1203297"/>
                                                                                            <a:pt x="171800" y="1200647"/>
                                                                                          </a:cubicBezTo>
                                                                                          <a:lnTo>
                                                                                            <a:pt x="183727" y="1164866"/>
                                                                                          </a:lnTo>
                                                                                          <a:lnTo>
                                                                                            <a:pt x="187702" y="1152939"/>
                                                                                          </a:lnTo>
                                                                                          <a:cubicBezTo>
                                                                                            <a:pt x="189027" y="1148963"/>
                                                                                            <a:pt x="190989" y="1145146"/>
                                                                                            <a:pt x="191678" y="1141012"/>
                                                                                          </a:cubicBezTo>
                                                                                          <a:cubicBezTo>
                                                                                            <a:pt x="193204" y="1131854"/>
                                                                                            <a:pt x="194737" y="1115017"/>
                                                                                            <a:pt x="199629" y="1105232"/>
                                                                                          </a:cubicBezTo>
                                                                                          <a:cubicBezTo>
                                                                                            <a:pt x="204644" y="1095201"/>
                                                                                            <a:pt x="208136" y="1092749"/>
                                                                                            <a:pt x="215532" y="1085353"/>
                                                                                          </a:cubicBezTo>
                                                                                          <a:cubicBezTo>
                                                                                            <a:pt x="218182" y="1077402"/>
                                                                                            <a:pt x="217556" y="1067426"/>
                                                                                            <a:pt x="223483" y="1061499"/>
                                                                                          </a:cubicBezTo>
                                                                                          <a:cubicBezTo>
                                                                                            <a:pt x="232277" y="1052705"/>
                                                                                            <a:pt x="236266" y="1047157"/>
                                                                                            <a:pt x="247337" y="1041621"/>
                                                                                          </a:cubicBezTo>
                                                                                          <a:cubicBezTo>
                                                                                            <a:pt x="251085" y="1039747"/>
                                                                                            <a:pt x="255288" y="1038970"/>
                                                                                            <a:pt x="259264" y="1037645"/>
                                                                                          </a:cubicBezTo>
                                                                                          <a:cubicBezTo>
                                                                                            <a:pt x="257939" y="1031019"/>
                                                                                            <a:pt x="259036" y="1023389"/>
                                                                                            <a:pt x="255288" y="1017767"/>
                                                                                          </a:cubicBezTo>
                                                                                          <a:cubicBezTo>
                                                                                            <a:pt x="252963" y="1014280"/>
                                                                                            <a:pt x="244686" y="1017768"/>
                                                                                            <a:pt x="243361" y="1013792"/>
                                                                                          </a:cubicBezTo>
                                                                                          <a:cubicBezTo>
                                                                                            <a:pt x="242626" y="1011588"/>
                                                                                            <a:pt x="248631" y="986814"/>
                                                                                            <a:pt x="251313" y="981986"/>
                                                                                          </a:cubicBezTo>
                                                                                          <a:cubicBezTo>
                                                                                            <a:pt x="255954" y="973632"/>
                                                                                            <a:pt x="264193" y="967198"/>
                                                                                            <a:pt x="267215" y="958132"/>
                                                                                          </a:cubicBezTo>
                                                                                          <a:lnTo>
                                                                                            <a:pt x="275167" y="934278"/>
                                                                                          </a:lnTo>
                                                                                          <a:cubicBezTo>
                                                                                            <a:pt x="276492" y="930303"/>
                                                                                            <a:pt x="278126" y="926417"/>
                                                                                            <a:pt x="279142" y="922352"/>
                                                                                          </a:cubicBezTo>
                                                                                          <a:cubicBezTo>
                                                                                            <a:pt x="280467" y="917051"/>
                                                                                            <a:pt x="281617" y="911703"/>
                                                                                            <a:pt x="283118" y="906449"/>
                                                                                          </a:cubicBezTo>
                                                                                          <a:cubicBezTo>
                                                                                            <a:pt x="284269" y="902420"/>
                                                                                            <a:pt x="284476" y="897794"/>
                                                                                            <a:pt x="287094" y="894522"/>
                                                                                          </a:cubicBezTo>
                                                                                          <a:cubicBezTo>
                                                                                            <a:pt x="290079" y="890791"/>
                                                                                            <a:pt x="295045" y="889221"/>
                                                                                            <a:pt x="299020" y="886571"/>
                                                                                          </a:cubicBezTo>
                                                                                          <a:cubicBezTo>
                                                                                            <a:pt x="312899" y="900448"/>
                                                                                            <a:pt x="305786" y="890965"/>
                                                                                            <a:pt x="314923" y="918376"/>
                                                                                          </a:cubicBezTo>
                                                                                          <a:lnTo>
                                                                                            <a:pt x="322874" y="942230"/>
                                                                                          </a:lnTo>
                                                                                          <a:cubicBezTo>
                                                                                            <a:pt x="325525" y="952832"/>
                                                                                            <a:pt x="327370" y="963668"/>
                                                                                            <a:pt x="330826" y="974035"/>
                                                                                          </a:cubicBezTo>
                                                                                          <a:cubicBezTo>
                                                                                            <a:pt x="340288" y="1002422"/>
                                                                                            <a:pt x="331803" y="993240"/>
                                                                                            <a:pt x="350704" y="1005840"/>
                                                                                          </a:cubicBezTo>
                                                                                          <a:cubicBezTo>
                                                                                            <a:pt x="349379" y="995238"/>
                                                                                            <a:pt x="348353" y="984595"/>
                                                                                            <a:pt x="346728" y="974035"/>
                                                                                          </a:cubicBezTo>
                                                                                          <a:cubicBezTo>
                                                                                            <a:pt x="345701" y="967356"/>
                                                                                            <a:pt x="343425" y="960881"/>
                                                                                            <a:pt x="342753" y="954157"/>
                                                                                          </a:cubicBezTo>
                                                                                          <a:cubicBezTo>
                                                                                            <a:pt x="340771" y="934333"/>
                                                                                            <a:pt x="340977" y="914323"/>
                                                                                            <a:pt x="338777" y="894522"/>
                                                                                          </a:cubicBezTo>
                                                                                          <a:cubicBezTo>
                                                                                            <a:pt x="338314" y="890357"/>
                                                                                            <a:pt x="337126" y="886082"/>
                                                                                            <a:pt x="334801" y="882595"/>
                                                                                          </a:cubicBezTo>
                                                                                          <a:cubicBezTo>
                                                                                            <a:pt x="331682" y="877917"/>
                                                                                            <a:pt x="326850" y="874644"/>
                                                                                            <a:pt x="322874" y="870668"/>
                                                                                          </a:cubicBezTo>
                                                                                          <a:cubicBezTo>
                                                                                            <a:pt x="321549" y="866692"/>
                                                                                            <a:pt x="321862" y="861704"/>
                                                                                            <a:pt x="318899" y="858741"/>
                                                                                          </a:cubicBezTo>
                                                                                          <a:cubicBezTo>
                                                                                            <a:pt x="315936" y="855778"/>
                                                                                            <a:pt x="307881" y="858856"/>
                                                                                            <a:pt x="306972" y="854765"/>
                                                                                          </a:cubicBezTo>
                                                                                          <a:cubicBezTo>
                                                                                            <a:pt x="299836" y="822656"/>
                                                                                            <a:pt x="307453" y="829316"/>
                                                                                            <a:pt x="318899" y="815009"/>
                                                                                          </a:cubicBezTo>
                                                                                          <a:cubicBezTo>
                                                                                            <a:pt x="321884" y="811278"/>
                                                                                            <a:pt x="324200" y="807058"/>
                                                                                            <a:pt x="326850" y="803082"/>
                                                                                          </a:cubicBezTo>
                                                                                          <a:cubicBezTo>
                                                                                            <a:pt x="320858" y="785106"/>
                                                                                            <a:pt x="314463" y="780147"/>
                                                                                            <a:pt x="322874" y="763325"/>
                                                                                          </a:cubicBezTo>
                                                                                          <a:cubicBezTo>
                                                                                            <a:pt x="324550" y="759972"/>
                                                                                            <a:pt x="328175" y="758024"/>
                                                                                            <a:pt x="330826" y="755374"/>
                                                                                          </a:cubicBezTo>
                                                                                          <a:cubicBezTo>
                                                                                            <a:pt x="329501" y="747423"/>
                                                                                            <a:pt x="328599" y="739389"/>
                                                                                            <a:pt x="326850" y="731520"/>
                                                                                          </a:cubicBezTo>
                                                                                          <a:cubicBezTo>
                                                                                            <a:pt x="325941" y="727429"/>
                                                                                            <a:pt x="325837" y="722556"/>
                                                                                            <a:pt x="322874" y="719593"/>
                                                                                          </a:cubicBezTo>
                                                                                          <a:cubicBezTo>
                                                                                            <a:pt x="319911" y="716630"/>
                                                                                            <a:pt x="314923" y="716943"/>
                                                                                            <a:pt x="310947" y="715618"/>
                                                                                          </a:cubicBezTo>
                                                                                          <a:cubicBezTo>
                                                                                            <a:pt x="308297" y="712967"/>
                                                                                            <a:pt x="304672" y="711019"/>
                                                                                            <a:pt x="302996" y="707666"/>
                                                                                          </a:cubicBezTo>
                                                                                          <a:cubicBezTo>
                                                                                            <a:pt x="299248" y="700169"/>
                                                                                            <a:pt x="297695" y="691763"/>
                                                                                            <a:pt x="295045" y="683812"/>
                                                                                          </a:cubicBezTo>
                                                                                          <a:lnTo>
                                                                                            <a:pt x="291069" y="671885"/>
                                                                                          </a:lnTo>
                                                                                          <a:cubicBezTo>
                                                                                            <a:pt x="289744" y="667909"/>
                                                                                            <a:pt x="290057" y="662921"/>
                                                                                            <a:pt x="287094" y="659958"/>
                                                                                          </a:cubicBezTo>
                                                                                          <a:cubicBezTo>
                                                                                            <a:pt x="275763" y="648629"/>
                                                                                            <a:pt x="282261" y="654086"/>
                                                                                            <a:pt x="267215" y="644056"/>
                                                                                          </a:cubicBezTo>
                                                                                          <a:cubicBezTo>
                                                                                            <a:pt x="265890" y="640080"/>
                                                                                            <a:pt x="265396" y="635722"/>
                                                                                            <a:pt x="263240" y="632129"/>
                                                                                          </a:cubicBezTo>
                                                                                          <a:cubicBezTo>
                                                                                            <a:pt x="261311" y="628915"/>
                                                                                            <a:pt x="255661" y="627908"/>
                                                                                            <a:pt x="255288" y="624178"/>
                                                                                          </a:cubicBezTo>
                                                                                          <a:cubicBezTo>
                                                                                            <a:pt x="254225" y="613547"/>
                                                                                            <a:pt x="257939" y="602974"/>
                                                                                            <a:pt x="259264" y="592372"/>
                                                                                          </a:cubicBezTo>
                                                                                          <a:cubicBezTo>
                                                                                            <a:pt x="258946" y="590784"/>
                                                                                            <a:pt x="250372" y="565013"/>
                                                                                            <a:pt x="259264" y="560567"/>
                                                                                          </a:cubicBezTo>
                                                                                          <a:cubicBezTo>
                                                                                            <a:pt x="263966" y="558216"/>
                                                                                            <a:pt x="281109" y="571155"/>
                                                                                            <a:pt x="283118" y="572494"/>
                                                                                          </a:cubicBezTo>
                                                                                          <a:cubicBezTo>
                                                                                            <a:pt x="285768" y="568518"/>
                                                                                            <a:pt x="290393" y="565297"/>
                                                                                            <a:pt x="291069" y="560567"/>
                                                                                          </a:cubicBezTo>
                                                                                          <a:cubicBezTo>
                                                                                            <a:pt x="291842" y="555158"/>
                                                                                            <a:pt x="289537" y="549552"/>
                                                                                            <a:pt x="287094" y="544665"/>
                                                                                          </a:cubicBezTo>
                                                                                          <a:cubicBezTo>
                                                                                            <a:pt x="285418" y="541312"/>
                                                                                            <a:pt x="282356" y="538642"/>
                                                                                            <a:pt x="279142" y="536713"/>
                                                                                          </a:cubicBezTo>
                                                                                          <a:cubicBezTo>
                                                                                            <a:pt x="270471" y="531511"/>
                                                                                            <a:pt x="244205" y="529451"/>
                                                                                            <a:pt x="239386" y="528762"/>
                                                                                          </a:cubicBezTo>
                                                                                          <a:cubicBezTo>
                                                                                            <a:pt x="236735" y="526112"/>
                                                                                            <a:pt x="233363" y="524025"/>
                                                                                            <a:pt x="231434" y="520811"/>
                                                                                          </a:cubicBezTo>
                                                                                          <a:cubicBezTo>
                                                                                            <a:pt x="223775" y="508047"/>
                                                                                            <a:pt x="228953" y="499918"/>
                                                                                            <a:pt x="231434" y="485030"/>
                                                                                          </a:cubicBezTo>
                                                                                          <a:cubicBezTo>
                                                                                            <a:pt x="230109" y="479729"/>
                                                                                            <a:pt x="229903" y="474014"/>
                                                                                            <a:pt x="227459" y="469127"/>
                                                                                          </a:cubicBezTo>
                                                                                          <a:cubicBezTo>
                                                                                            <a:pt x="225099" y="464407"/>
                                                                                            <a:pt x="211190" y="454830"/>
                                                                                            <a:pt x="207580" y="453225"/>
                                                                                          </a:cubicBezTo>
                                                                                          <a:cubicBezTo>
                                                                                            <a:pt x="199921" y="449821"/>
                                                                                            <a:pt x="191678" y="447923"/>
                                                                                            <a:pt x="183727" y="445273"/>
                                                                                          </a:cubicBezTo>
                                                                                          <a:lnTo>
                                                                                            <a:pt x="171800" y="441298"/>
                                                                                          </a:lnTo>
                                                                                          <a:cubicBezTo>
                                                                                            <a:pt x="170475" y="434672"/>
                                                                                            <a:pt x="171177" y="427286"/>
                                                                                            <a:pt x="167824" y="421419"/>
                                                                                          </a:cubicBezTo>
                                                                                          <a:cubicBezTo>
                                                                                            <a:pt x="164198" y="415073"/>
                                                                                            <a:pt x="150091" y="411533"/>
                                                                                            <a:pt x="143970" y="409492"/>
                                                                                          </a:cubicBezTo>
                                                                                          <a:cubicBezTo>
                                                                                            <a:pt x="123269" y="378439"/>
                                                                                            <a:pt x="149696" y="412792"/>
                                                                                            <a:pt x="124092" y="393590"/>
                                                                                          </a:cubicBezTo>
                                                                                          <a:cubicBezTo>
                                                                                            <a:pt x="116595" y="387968"/>
                                                                                            <a:pt x="110840" y="380338"/>
                                                                                            <a:pt x="104214" y="373712"/>
                                                                                          </a:cubicBezTo>
                                                                                          <a:cubicBezTo>
                                                                                            <a:pt x="96238" y="365736"/>
                                                                                            <a:pt x="82217" y="350676"/>
                                                                                            <a:pt x="72408" y="349858"/>
                                                                                          </a:cubicBezTo>
                                                                                          <a:lnTo>
                                                                                            <a:pt x="24700" y="345882"/>
                                                                                          </a:lnTo>
                                                                                          <a:cubicBezTo>
                                                                                            <a:pt x="23375" y="335280"/>
                                                                                            <a:pt x="23795" y="324311"/>
                                                                                            <a:pt x="20725" y="314077"/>
                                                                                          </a:cubicBezTo>
                                                                                          <a:cubicBezTo>
                                                                                            <a:pt x="19648" y="310487"/>
                                                                                            <a:pt x="15988" y="308054"/>
                                                                                            <a:pt x="12774" y="306125"/>
                                                                                          </a:cubicBezTo>
                                                                                          <a:cubicBezTo>
                                                                                            <a:pt x="9181" y="303969"/>
                                                                                            <a:pt x="-3344" y="302150"/>
                                                                                            <a:pt x="847" y="302150"/>
                                                                                          </a:cubicBezTo>
                                                                                          <a:cubicBezTo>
                                                                                            <a:pt x="15484" y="302150"/>
                                                                                            <a:pt x="30002" y="304800"/>
                                                                                            <a:pt x="44579" y="306125"/>
                                                                                          </a:cubicBezTo>
                                                                                          <a:cubicBezTo>
                                                                                            <a:pt x="51205" y="304800"/>
                                                                                            <a:pt x="59679" y="306928"/>
                                                                                            <a:pt x="64457" y="302150"/>
                                                                                          </a:cubicBezTo>
                                                                                          <a:cubicBezTo>
                                                                                            <a:pt x="67420" y="299187"/>
                                                                                            <a:pt x="63444" y="293186"/>
                                                                                            <a:pt x="60481" y="290223"/>
                                                                                          </a:cubicBezTo>
                                                                                          <a:cubicBezTo>
                                                                                            <a:pt x="57518" y="287260"/>
                                                                                            <a:pt x="52530" y="287572"/>
                                                                                            <a:pt x="48554" y="286247"/>
                                                                                          </a:cubicBezTo>
                                                                                          <a:cubicBezTo>
                                                                                            <a:pt x="56506" y="283597"/>
                                                                                            <a:pt x="67107" y="283598"/>
                                                                                            <a:pt x="64457" y="270345"/>
                                                                                          </a:cubicBezTo>
                                                                                          <a:cubicBezTo>
                                                                                            <a:pt x="63722" y="266669"/>
                                                                                            <a:pt x="59859" y="264069"/>
                                                                                            <a:pt x="56506" y="262393"/>
                                                                                          </a:cubicBezTo>
                                                                                          <a:cubicBezTo>
                                                                                            <a:pt x="49009" y="258645"/>
                                                                                            <a:pt x="32652" y="254442"/>
                                                                                            <a:pt x="32652" y="254442"/>
                                                                                          </a:cubicBezTo>
                                                                                          <a:cubicBezTo>
                                                                                            <a:pt x="30001" y="251792"/>
                                                                                            <a:pt x="25435" y="250167"/>
                                                                                            <a:pt x="24700" y="246491"/>
                                                                                          </a:cubicBezTo>
                                                                                          <a:cubicBezTo>
                                                                                            <a:pt x="21153" y="228757"/>
                                                                                            <a:pt x="45048" y="231600"/>
                                                                                            <a:pt x="52530" y="226612"/>
                                                                                          </a:cubicBezTo>
                                                                                          <a:cubicBezTo>
                                                                                            <a:pt x="67944" y="216336"/>
                                                                                            <a:pt x="59924" y="220172"/>
                                                                                            <a:pt x="76384" y="214685"/>
                                                                                          </a:cubicBezTo>
                                                                                          <a:cubicBezTo>
                                                                                            <a:pt x="93612" y="216010"/>
                                                                                            <a:pt x="111000" y="215966"/>
                                                                                            <a:pt x="128067" y="218661"/>
                                                                                          </a:cubicBezTo>
                                                                                          <a:cubicBezTo>
                                                                                            <a:pt x="136346" y="219968"/>
                                                                                            <a:pt x="143970" y="223962"/>
                                                                                            <a:pt x="151921" y="226612"/>
                                                                                          </a:cubicBezTo>
                                                                                          <a:lnTo>
                                                                                            <a:pt x="163848" y="230588"/>
                                                                                          </a:lnTo>
                                                                                          <a:cubicBezTo>
                                                                                            <a:pt x="167824" y="227938"/>
                                                                                            <a:pt x="172790" y="226368"/>
                                                                                            <a:pt x="175775" y="222637"/>
                                                                                          </a:cubicBezTo>
                                                                                          <a:cubicBezTo>
                                                                                            <a:pt x="178393" y="219365"/>
                                                                                            <a:pt x="175602" y="211303"/>
                                                                                            <a:pt x="179751" y="210710"/>
                                                                                          </a:cubicBezTo>
                                                                                          <a:cubicBezTo>
                                                                                            <a:pt x="196856" y="208266"/>
                                                                                            <a:pt x="214206" y="213360"/>
                                                                                            <a:pt x="231434" y="214685"/>
                                                                                          </a:cubicBezTo>
                                                                                          <a:cubicBezTo>
                                                                                            <a:pt x="235410" y="217336"/>
                                                                                            <a:pt x="239087" y="220500"/>
                                                                                            <a:pt x="243361" y="222637"/>
                                                                                          </a:cubicBezTo>
                                                                                          <a:cubicBezTo>
                                                                                            <a:pt x="247109" y="224511"/>
                                                                                            <a:pt x="252325" y="223649"/>
                                                                                            <a:pt x="255288" y="226612"/>
                                                                                          </a:cubicBezTo>
                                                                                          <a:cubicBezTo>
                                                                                            <a:pt x="258251" y="229575"/>
                                                                                            <a:pt x="257108" y="234945"/>
                                                                                            <a:pt x="259264" y="238539"/>
                                                                                          </a:cubicBezTo>
                                                                                          <a:cubicBezTo>
                                                                                            <a:pt x="261192" y="241753"/>
                                                                                            <a:pt x="264565" y="243840"/>
                                                                                            <a:pt x="267215" y="246491"/>
                                                                                          </a:cubicBezTo>
                                                                                          <a:cubicBezTo>
                                                                                            <a:pt x="268540" y="250467"/>
                                                                                            <a:pt x="270282" y="254327"/>
                                                                                            <a:pt x="271191" y="258418"/>
                                                                                          </a:cubicBezTo>
                                                                                          <a:cubicBezTo>
                                                                                            <a:pt x="272940" y="266287"/>
                                                                                            <a:pt x="271167" y="275273"/>
                                                                                            <a:pt x="275167" y="282272"/>
                                                                                          </a:cubicBezTo>
                                                                                          <a:cubicBezTo>
                                                                                            <a:pt x="277246" y="285910"/>
                                                                                            <a:pt x="283028" y="285231"/>
                                                                                            <a:pt x="287094" y="286247"/>
                                                                                          </a:cubicBezTo>
                                                                                          <a:cubicBezTo>
                                                                                            <a:pt x="293650" y="287886"/>
                                                                                            <a:pt x="300453" y="288445"/>
                                                                                            <a:pt x="306972" y="290223"/>
                                                                                          </a:cubicBezTo>
                                                                                          <a:cubicBezTo>
                                                                                            <a:pt x="315058" y="292428"/>
                                                                                            <a:pt x="322875" y="295524"/>
                                                                                            <a:pt x="330826" y="298174"/>
                                                                                          </a:cubicBezTo>
                                                                                          <a:lnTo>
                                                                                            <a:pt x="342753" y="302150"/>
                                                                                          </a:lnTo>
                                                                                          <a:cubicBezTo>
                                                                                            <a:pt x="349379" y="300825"/>
                                                                                            <a:pt x="356076" y="299813"/>
                                                                                            <a:pt x="362631" y="298174"/>
                                                                                          </a:cubicBezTo>
                                                                                          <a:cubicBezTo>
                                                                                            <a:pt x="366697" y="297158"/>
                                                                                            <a:pt x="370393" y="293735"/>
                                                                                            <a:pt x="374558" y="294198"/>
                                                                                          </a:cubicBezTo>
                                                                                          <a:cubicBezTo>
                                                                                            <a:pt x="382888" y="295124"/>
                                                                                            <a:pt x="398412" y="302150"/>
                                                                                            <a:pt x="398412" y="302150"/>
                                                                                          </a:cubicBezTo>
                                                                                          <a:cubicBezTo>
                                                                                            <a:pt x="402388" y="300825"/>
                                                                                            <a:pt x="408465" y="301922"/>
                                                                                            <a:pt x="410339" y="298174"/>
                                                                                          </a:cubicBezTo>
                                                                                          <a:cubicBezTo>
                                                                                            <a:pt x="421381" y="276089"/>
                                                                                            <a:pt x="408455" y="274810"/>
                                                                                            <a:pt x="418290" y="258418"/>
                                                                                          </a:cubicBezTo>
                                                                                          <a:cubicBezTo>
                                                                                            <a:pt x="420218" y="255204"/>
                                                                                            <a:pt x="423591" y="253117"/>
                                                                                            <a:pt x="426241" y="250466"/>
                                                                                          </a:cubicBezTo>
                                                                                          <a:cubicBezTo>
                                                                                            <a:pt x="427566" y="246490"/>
                                                                                            <a:pt x="430217" y="242730"/>
                                                                                            <a:pt x="430217" y="238539"/>
                                                                                          </a:cubicBezTo>
                                                                                          <a:cubicBezTo>
                                                                                            <a:pt x="430217" y="230478"/>
                                                                                            <a:pt x="428790" y="222332"/>
                                                                                            <a:pt x="426241" y="214685"/>
                                                                                          </a:cubicBezTo>
                                                                                          <a:cubicBezTo>
                                                                                            <a:pt x="424730" y="210152"/>
                                                                                            <a:pt x="420427" y="207032"/>
                                                                                            <a:pt x="418290" y="202758"/>
                                                                                          </a:cubicBezTo>
                                                                                          <a:cubicBezTo>
                                                                                            <a:pt x="416416" y="199010"/>
                                                                                            <a:pt x="415639" y="194807"/>
                                                                                            <a:pt x="414314" y="190832"/>
                                                                                          </a:cubicBezTo>
                                                                                          <a:cubicBezTo>
                                                                                            <a:pt x="415639" y="165653"/>
                                                                                            <a:pt x="413572" y="140063"/>
                                                                                            <a:pt x="418290" y="115294"/>
                                                                                          </a:cubicBezTo>
                                                                                          <a:cubicBezTo>
                                                                                            <a:pt x="419184" y="110600"/>
                                                                                            <a:pt x="425504" y="106557"/>
                                                                                            <a:pt x="430217" y="107343"/>
                                                                                          </a:cubicBezTo>
                                                                                          <a:cubicBezTo>
                                                                                            <a:pt x="435763" y="108267"/>
                                                                                            <a:pt x="437825" y="115671"/>
                                                                                            <a:pt x="442144" y="119270"/>
                                                                                          </a:cubicBezTo>
                                                                                          <a:cubicBezTo>
                                                                                            <a:pt x="445815" y="122329"/>
                                                                                            <a:pt x="449538" y="125710"/>
                                                                                            <a:pt x="454071" y="127221"/>
                                                                                          </a:cubicBezTo>
                                                                                          <a:cubicBezTo>
                                                                                            <a:pt x="461718" y="129770"/>
                                                                                            <a:pt x="469974" y="129872"/>
                                                                                            <a:pt x="477925" y="131197"/>
                                                                                          </a:cubicBezTo>
                                                                                          <a:cubicBezTo>
                                                                                            <a:pt x="479250" y="135173"/>
                                                                                            <a:pt x="481263" y="138982"/>
                                                                                            <a:pt x="481900" y="143124"/>
                                                                                          </a:cubicBezTo>
                                                                                          <a:cubicBezTo>
                                                                                            <a:pt x="483833" y="155691"/>
                                                                                            <a:pt x="479392" y="183259"/>
                                                                                            <a:pt x="493827" y="194807"/>
                                                                                          </a:cubicBezTo>
                                                                                          <a:cubicBezTo>
                                                                                            <a:pt x="496421" y="196883"/>
                                                                                            <a:pt x="520615" y="202498"/>
                                                                                            <a:pt x="521657" y="202758"/>
                                                                                          </a:cubicBezTo>
                                                                                          <a:cubicBezTo>
                                                                                            <a:pt x="526958" y="208059"/>
                                                                                            <a:pt x="530448" y="216290"/>
                                                                                            <a:pt x="537560" y="218661"/>
                                                                                          </a:cubicBezTo>
                                                                                          <a:lnTo>
                                                                                            <a:pt x="573340" y="230588"/>
                                                                                          </a:lnTo>
                                                                                          <a:lnTo>
                                                                                            <a:pt x="585267" y="234564"/>
                                                                                          </a:lnTo>
                                                                                          <a:lnTo>
                                                                                            <a:pt x="597194" y="238539"/>
                                                                                          </a:lnTo>
                                                                                          <a:cubicBezTo>
                                                                                            <a:pt x="605145" y="237214"/>
                                                                                            <a:pt x="613179" y="236313"/>
                                                                                            <a:pt x="621048" y="234564"/>
                                                                                          </a:cubicBezTo>
                                                                                          <a:cubicBezTo>
                                                                                            <a:pt x="625139" y="233655"/>
                                                                                            <a:pt x="628852" y="231338"/>
                                                                                            <a:pt x="632975" y="230588"/>
                                                                                          </a:cubicBezTo>
                                                                                          <a:cubicBezTo>
                                                                                            <a:pt x="643487" y="228677"/>
                                                                                            <a:pt x="654178" y="227937"/>
                                                                                            <a:pt x="664780" y="226612"/>
                                                                                          </a:cubicBezTo>
                                                                                          <a:cubicBezTo>
                                                                                            <a:pt x="662130" y="222636"/>
                                                                                            <a:pt x="658966" y="218959"/>
                                                                                            <a:pt x="656829" y="214685"/>
                                                                                          </a:cubicBezTo>
                                                                                          <a:cubicBezTo>
                                                                                            <a:pt x="652611" y="206248"/>
                                                                                            <a:pt x="649902" y="195515"/>
                                                                                            <a:pt x="656829" y="186856"/>
                                                                                          </a:cubicBezTo>
                                                                                          <a:cubicBezTo>
                                                                                            <a:pt x="659447" y="183584"/>
                                                                                            <a:pt x="664633" y="183630"/>
                                                                                            <a:pt x="668756" y="182880"/>
                                                                                          </a:cubicBezTo>
                                                                                          <a:cubicBezTo>
                                                                                            <a:pt x="679268" y="180969"/>
                                                                                            <a:pt x="689959" y="180230"/>
                                                                                            <a:pt x="700561" y="178905"/>
                                                                                          </a:cubicBezTo>
                                                                                          <a:cubicBezTo>
                                                                                            <a:pt x="711163" y="176254"/>
                                                                                            <a:pt x="721999" y="174409"/>
                                                                                            <a:pt x="732367" y="170953"/>
                                                                                          </a:cubicBezTo>
                                                                                          <a:lnTo>
                                                                                            <a:pt x="756220" y="163002"/>
                                                                                          </a:lnTo>
                                                                                          <a:cubicBezTo>
                                                                                            <a:pt x="760196" y="161677"/>
                                                                                            <a:pt x="763989" y="159546"/>
                                                                                            <a:pt x="768147" y="159026"/>
                                                                                          </a:cubicBezTo>
                                                                                          <a:lnTo>
                                                                                            <a:pt x="799953" y="155051"/>
                                                                                          </a:lnTo>
                                                                                          <a:cubicBezTo>
                                                                                            <a:pt x="808956" y="152050"/>
                                                                                            <a:pt x="835734" y="144285"/>
                                                                                            <a:pt x="835734" y="135172"/>
                                                                                          </a:cubicBezTo>
                                                                                          <a:lnTo>
                                                                                            <a:pt x="835734" y="131197"/>
                                                                                          </a:lnTo>
                                                                                          <a:lnTo>
                                                                                            <a:pt x="835734" y="115294"/>
                                                                                          </a:lnTo>
                                                                                          <a:cubicBezTo>
                                                                                            <a:pt x="838384" y="103367"/>
                                                                                            <a:pt x="840722" y="91366"/>
                                                                                            <a:pt x="843685" y="79513"/>
                                                                                          </a:cubicBezTo>
                                                                                          <a:cubicBezTo>
                                                                                            <a:pt x="844701" y="75447"/>
                                                                                            <a:pt x="845504" y="71179"/>
                                                                                            <a:pt x="847660" y="67586"/>
                                                                                          </a:cubicBezTo>
                                                                                          <a:cubicBezTo>
                                                                                            <a:pt x="849589" y="64372"/>
                                                                                            <a:pt x="852961" y="62285"/>
                                                                                            <a:pt x="855612" y="59635"/>
                                                                                          </a:cubicBezTo>
                                                                                          <a:cubicBezTo>
                                                                                            <a:pt x="856937" y="55659"/>
                                                                                            <a:pt x="858383" y="51722"/>
                                                                                            <a:pt x="859587" y="47708"/>
                                                                                          </a:cubicBezTo>
                                                                                          <a:cubicBezTo>
                                                                                            <a:pt x="862359" y="38467"/>
                                                                                            <a:pt x="863956" y="28836"/>
                                                                                            <a:pt x="867539" y="19878"/>
                                                                                          </a:cubicBezTo>
                                                                                          <a:cubicBezTo>
                                                                                            <a:pt x="869313" y="15442"/>
                                                                                            <a:pt x="871759" y="10937"/>
                                                                                            <a:pt x="875490" y="7952"/>
                                                                                          </a:cubicBezTo>
                                                                                          <a:cubicBezTo>
                                                                                            <a:pt x="878762" y="5334"/>
                                                                                            <a:pt x="883294" y="4726"/>
                                                                                            <a:pt x="887417" y="3976"/>
                                                                                          </a:cubicBezTo>
                                                                                          <a:cubicBezTo>
                                                                                            <a:pt x="897929" y="2065"/>
                                                                                            <a:pt x="908620" y="1325"/>
                                                                                            <a:pt x="919222" y="0"/>
                                                                                          </a:cubicBezTo>
                                                                                          <a:cubicBezTo>
                                                                                            <a:pt x="940426" y="1325"/>
                                                                                            <a:pt x="962153" y="-890"/>
                                                                                            <a:pt x="982833" y="3976"/>
                                                                                          </a:cubicBezTo>
                                                                                          <a:cubicBezTo>
                                                                                            <a:pt x="986912" y="4936"/>
                                                                                            <a:pt x="986288" y="11745"/>
                                                                                            <a:pt x="986808" y="15903"/>
                                                                                          </a:cubicBezTo>
                                                                                          <a:cubicBezTo>
                                                                                            <a:pt x="988951" y="33048"/>
                                                                                            <a:pt x="979539" y="54467"/>
                                                                                            <a:pt x="990784" y="67586"/>
                                                                                          </a:cubicBezTo>
                                                                                          <a:cubicBezTo>
                                                                                            <a:pt x="1000310" y="78700"/>
                                                                                            <a:pt x="1019939" y="70237"/>
                                                                                            <a:pt x="1034516" y="71562"/>
                                                                                          </a:cubicBezTo>
                                                                                          <a:cubicBezTo>
                                                                                            <a:pt x="1061807" y="89755"/>
                                                                                            <a:pt x="1032405" y="65758"/>
                                                                                            <a:pt x="1050419" y="115294"/>
                                                                                          </a:cubicBezTo>
                                                                                          <a:cubicBezTo>
                                                                                            <a:pt x="1052052" y="119784"/>
                                                                                            <a:pt x="1058615" y="120260"/>
                                                                                            <a:pt x="1062346" y="123245"/>
                                                                                          </a:cubicBezTo>
                                                                                          <a:cubicBezTo>
                                                                                            <a:pt x="1065273" y="125587"/>
                                                                                            <a:pt x="1067647" y="128546"/>
                                                                                            <a:pt x="1070297" y="131197"/>
                                                                                          </a:cubicBezTo>
                                                                                          <a:cubicBezTo>
                                                                                            <a:pt x="1071622" y="135173"/>
                                                                                            <a:pt x="1073451" y="139015"/>
                                                                                            <a:pt x="1074273" y="143124"/>
                                                                                          </a:cubicBezTo>
                                                                                          <a:cubicBezTo>
                                                                                            <a:pt x="1076111" y="152313"/>
                                                                                            <a:pt x="1074057" y="162572"/>
                                                                                            <a:pt x="1078248" y="170953"/>
                                                                                          </a:cubicBezTo>
                                                                                          <a:cubicBezTo>
                                                                                            <a:pt x="1080122" y="174701"/>
                                                                                            <a:pt x="1086066" y="174107"/>
                                                                                            <a:pt x="1090175" y="174929"/>
                                                                                          </a:cubicBezTo>
                                                                                          <a:cubicBezTo>
                                                                                            <a:pt x="1099364" y="176767"/>
                                                                                            <a:pt x="1108728" y="177580"/>
                                                                                            <a:pt x="1118005" y="178905"/>
                                                                                          </a:cubicBezTo>
                                                                                          <a:cubicBezTo>
                                                                                            <a:pt x="1121981" y="180230"/>
                                                                                            <a:pt x="1128916" y="178814"/>
                                                                                            <a:pt x="1129932" y="182880"/>
                                                                                          </a:cubicBezTo>
                                                                                          <a:cubicBezTo>
                                                                                            <a:pt x="1134583" y="201485"/>
                                                                                            <a:pt x="1126410" y="210028"/>
                                                                                            <a:pt x="1118005" y="222637"/>
                                                                                          </a:cubicBezTo>
                                                                                          <a:cubicBezTo>
                                                                                            <a:pt x="1119330" y="226613"/>
                                                                                            <a:pt x="1119824" y="230971"/>
                                                                                            <a:pt x="1121980" y="234564"/>
                                                                                          </a:cubicBezTo>
                                                                                          <a:cubicBezTo>
                                                                                            <a:pt x="1125756" y="240857"/>
                                                                                            <a:pt x="1136444" y="246856"/>
                                                                                            <a:pt x="1141859" y="250466"/>
                                                                                          </a:cubicBezTo>
                                                                                          <a:cubicBezTo>
                                                                                            <a:pt x="1151135" y="249141"/>
                                                                                            <a:pt x="1160798" y="249454"/>
                                                                                            <a:pt x="1169688" y="246491"/>
                                                                                          </a:cubicBezTo>
                                                                                          <a:cubicBezTo>
                                                                                            <a:pt x="1173244" y="245306"/>
                                                                                            <a:pt x="1174426" y="240468"/>
                                                                                            <a:pt x="1177640" y="238539"/>
                                                                                          </a:cubicBezTo>
                                                                                          <a:cubicBezTo>
                                                                                            <a:pt x="1181233" y="236383"/>
                                                                                            <a:pt x="1185591" y="235889"/>
                                                                                            <a:pt x="1189567" y="234564"/>
                                                                                          </a:cubicBezTo>
                                                                                          <a:cubicBezTo>
                                                                                            <a:pt x="1192217" y="238540"/>
                                                                                            <a:pt x="1196990" y="241742"/>
                                                                                            <a:pt x="1197518" y="246491"/>
                                                                                          </a:cubicBezTo>
                                                                                          <a:cubicBezTo>
                                                                                            <a:pt x="1198408" y="254503"/>
                                                                                            <a:pt x="1193542" y="262284"/>
                                                                                            <a:pt x="1193542" y="270345"/>
                                                                                          </a:cubicBezTo>
                                                                                          <a:cubicBezTo>
                                                                                            <a:pt x="1193542" y="281131"/>
                                                                                            <a:pt x="1194692" y="301479"/>
                                                                                            <a:pt x="1205469" y="310101"/>
                                                                                          </a:cubicBezTo>
                                                                                          <a:cubicBezTo>
                                                                                            <a:pt x="1208741" y="312719"/>
                                                                                            <a:pt x="1213420" y="312752"/>
                                                                                            <a:pt x="1217396" y="314077"/>
                                                                                          </a:cubicBezTo>
                                                                                          <a:cubicBezTo>
                                                                                            <a:pt x="1218721" y="318053"/>
                                                                                            <a:pt x="1217962" y="323568"/>
                                                                                            <a:pt x="1221372" y="326004"/>
                                                                                          </a:cubicBezTo>
                                                                                          <a:cubicBezTo>
                                                                                            <a:pt x="1228192" y="330876"/>
                                                                                            <a:pt x="1245226" y="333955"/>
                                                                                            <a:pt x="1245226" y="333955"/>
                                                                                          </a:cubicBezTo>
                                                                                          <a:cubicBezTo>
                                                                                            <a:pt x="1246551" y="337931"/>
                                                                                            <a:pt x="1246765" y="342472"/>
                                                                                            <a:pt x="1249201" y="345882"/>
                                                                                          </a:cubicBezTo>
                                                                                          <a:cubicBezTo>
                                                                                            <a:pt x="1257995" y="358194"/>
                                                                                            <a:pt x="1263622" y="363078"/>
                                                                                            <a:pt x="1277031" y="365760"/>
                                                                                          </a:cubicBezTo>
                                                                                          <a:cubicBezTo>
                                                                                            <a:pt x="1286220" y="367598"/>
                                                                                            <a:pt x="1295584" y="368411"/>
                                                                                            <a:pt x="1304860" y="369736"/>
                                                                                          </a:cubicBezTo>
                                                                                          <a:cubicBezTo>
                                                                                            <a:pt x="1307511" y="372386"/>
                                                                                            <a:pt x="1309598" y="375759"/>
                                                                                            <a:pt x="1312812" y="377687"/>
                                                                                          </a:cubicBezTo>
                                                                                          <a:cubicBezTo>
                                                                                            <a:pt x="1323410" y="384046"/>
                                                                                            <a:pt x="1356978" y="385245"/>
                                                                                            <a:pt x="1360520" y="385638"/>
                                                                                          </a:cubicBezTo>
                                                                                          <a:cubicBezTo>
                                                                                            <a:pt x="1363170" y="393589"/>
                                                                                            <a:pt x="1366438" y="401361"/>
                                                                                            <a:pt x="1368471" y="409492"/>
                                                                                          </a:cubicBezTo>
                                                                                          <a:cubicBezTo>
                                                                                            <a:pt x="1369796" y="414793"/>
                                                                                            <a:pt x="1370295" y="420373"/>
                                                                                            <a:pt x="1372447" y="425395"/>
                                                                                          </a:cubicBezTo>
                                                                                          <a:cubicBezTo>
                                                                                            <a:pt x="1374329" y="429787"/>
                                                                                            <a:pt x="1377748" y="433346"/>
                                                                                            <a:pt x="1380398" y="437322"/>
                                                                                          </a:cubicBezTo>
                                                                                          <a:cubicBezTo>
                                                                                            <a:pt x="1381723" y="445273"/>
                                                                                            <a:pt x="1377814" y="456491"/>
                                                                                            <a:pt x="1384374" y="461176"/>
                                                                                          </a:cubicBezTo>
                                                                                          <a:cubicBezTo>
                                                                                            <a:pt x="1390933" y="465861"/>
                                                                                            <a:pt x="1400194" y="456531"/>
                                                                                            <a:pt x="1408227" y="457200"/>
                                                                                          </a:cubicBezTo>
                                                                                          <a:cubicBezTo>
                                                                                            <a:pt x="1446345" y="460377"/>
                                                                                            <a:pt x="1418985" y="465552"/>
                                                                                            <a:pt x="1444008" y="469127"/>
                                                                                          </a:cubicBezTo>
                                                                                          <a:lnTo>
                                                                                            <a:pt x="1471838" y="473103"/>
                                                                                          </a:lnTo>
                                                                                          <a:cubicBezTo>
                                                                                            <a:pt x="1474488" y="477079"/>
                                                                                            <a:pt x="1475640" y="482659"/>
                                                                                            <a:pt x="1479789" y="485030"/>
                                                                                          </a:cubicBezTo>
                                                                                          <a:cubicBezTo>
                                                                                            <a:pt x="1485656" y="488382"/>
                                                                                            <a:pt x="1493148" y="487227"/>
                                                                                            <a:pt x="1499667" y="489005"/>
                                                                                          </a:cubicBezTo>
                                                                                          <a:cubicBezTo>
                                                                                            <a:pt x="1507753" y="491210"/>
                                                                                            <a:pt x="1515390" y="494925"/>
                                                                                            <a:pt x="1523521" y="496957"/>
                                                                                          </a:cubicBezTo>
                                                                                          <a:lnTo>
                                                                                            <a:pt x="1539424" y="500932"/>
                                                                                          </a:lnTo>
                                                                                          <a:cubicBezTo>
                                                                                            <a:pt x="1544238" y="515374"/>
                                                                                            <a:pt x="1543400" y="508668"/>
                                                                                            <a:pt x="1543400" y="520811"/>
                                                                                          </a:cubicBezTo>
                                                                                          <a:lnTo>
                                                                                            <a:pt x="1491716" y="584421"/>
                                                                                          </a:lnTo>
                                                                                          <a:cubicBezTo>
                                                                                            <a:pt x="1485090" y="593698"/>
                                                                                            <a:pt x="1477703" y="602476"/>
                                                                                            <a:pt x="1471838" y="612251"/>
                                                                                          </a:cubicBezTo>
                                                                                          <a:cubicBezTo>
                                                                                            <a:pt x="1469682" y="615845"/>
                                                                                            <a:pt x="1470825" y="621215"/>
                                                                                            <a:pt x="1467862" y="624178"/>
                                                                                          </a:cubicBezTo>
                                                                                          <a:cubicBezTo>
                                                                                            <a:pt x="1464899" y="627141"/>
                                                                                            <a:pt x="1459911" y="626828"/>
                                                                                            <a:pt x="1455935" y="628153"/>
                                                                                          </a:cubicBezTo>
                                                                                          <a:cubicBezTo>
                                                                                            <a:pt x="1453285" y="630804"/>
                                                                                            <a:pt x="1449912" y="632891"/>
                                                                                            <a:pt x="1447984" y="636105"/>
                                                                                          </a:cubicBezTo>
                                                                                          <a:cubicBezTo>
                                                                                            <a:pt x="1441460" y="646978"/>
                                                                                            <a:pt x="1440899" y="679483"/>
                                                                                            <a:pt x="1440033" y="683812"/>
                                                                                          </a:cubicBezTo>
                                                                                          <a:cubicBezTo>
                                                                                            <a:pt x="1438389" y="692031"/>
                                                                                            <a:pt x="1432081" y="707666"/>
                                                                                            <a:pt x="1432081" y="707666"/>
                                                                                          </a:cubicBezTo>
                                                                                          <a:cubicBezTo>
                                                                                            <a:pt x="1435302" y="723770"/>
                                                                                            <a:pt x="1441402" y="743372"/>
                                                                                            <a:pt x="1432081" y="759350"/>
                                                                                          </a:cubicBezTo>
                                                                                          <a:cubicBezTo>
                                                                                            <a:pt x="1425482" y="770662"/>
                                                                                            <a:pt x="1408197" y="775262"/>
                                                                                            <a:pt x="1396300" y="779228"/>
                                                                                          </a:cubicBezTo>
                                                                                          <a:cubicBezTo>
                                                                                            <a:pt x="1362514" y="767964"/>
                                                                                            <a:pt x="1403711" y="783674"/>
                                                                                            <a:pt x="1376422" y="767301"/>
                                                                                          </a:cubicBezTo>
                                                                                          <a:cubicBezTo>
                                                                                            <a:pt x="1372828" y="765145"/>
                                                                                            <a:pt x="1368471" y="764650"/>
                                                                                            <a:pt x="1364495" y="763325"/>
                                                                                          </a:cubicBezTo>
                                                                                          <a:cubicBezTo>
                                                                                            <a:pt x="1357869" y="764650"/>
                                                                                            <a:pt x="1348365" y="761679"/>
                                                                                            <a:pt x="1344617" y="767301"/>
                                                                                          </a:cubicBezTo>
                                                                                          <a:cubicBezTo>
                                                                                            <a:pt x="1340869" y="772923"/>
                                                                                            <a:pt x="1348593" y="780422"/>
                                                                                            <a:pt x="1348593" y="787179"/>
                                                                                          </a:cubicBezTo>
                                                                                          <a:cubicBezTo>
                                                                                            <a:pt x="1348593" y="806122"/>
                                                                                            <a:pt x="1344673" y="801446"/>
                                                                                            <a:pt x="1332690" y="811033"/>
                                                                                          </a:cubicBezTo>
                                                                                          <a:cubicBezTo>
                                                                                            <a:pt x="1317097" y="823508"/>
                                                                                            <a:pt x="1333526" y="816057"/>
                                                                                            <a:pt x="1312812" y="822960"/>
                                                                                          </a:cubicBezTo>
                                                                                          <a:cubicBezTo>
                                                                                            <a:pt x="1310161" y="825611"/>
                                                                                            <a:pt x="1308213" y="829236"/>
                                                                                            <a:pt x="1304860" y="830912"/>
                                                                                          </a:cubicBezTo>
                                                                                          <a:cubicBezTo>
                                                                                            <a:pt x="1297364" y="834660"/>
                                                                                            <a:pt x="1281007" y="838863"/>
                                                                                            <a:pt x="1281007" y="838863"/>
                                                                                          </a:cubicBezTo>
                                                                                          <a:cubicBezTo>
                                                                                            <a:pt x="1278356" y="841513"/>
                                                                                            <a:pt x="1274731" y="843461"/>
                                                                                            <a:pt x="1273055" y="846814"/>
                                                                                          </a:cubicBezTo>
                                                                                          <a:cubicBezTo>
                                                                                            <a:pt x="1269307" y="854311"/>
                                                                                            <a:pt x="1272078" y="866019"/>
                                                                                            <a:pt x="1265104" y="870668"/>
                                                                                          </a:cubicBezTo>
                                                                                          <a:cubicBezTo>
                                                                                            <a:pt x="1261128" y="873318"/>
                                                                                            <a:pt x="1256908" y="875634"/>
                                                                                            <a:pt x="1253177" y="878619"/>
                                                                                          </a:cubicBezTo>
                                                                                          <a:cubicBezTo>
                                                                                            <a:pt x="1250250" y="880961"/>
                                                                                            <a:pt x="1248440" y="884642"/>
                                                                                            <a:pt x="1245226" y="886571"/>
                                                                                          </a:cubicBezTo>
                                                                                          <a:cubicBezTo>
                                                                                            <a:pt x="1241633" y="888727"/>
                                                                                            <a:pt x="1237275" y="889221"/>
                                                                                            <a:pt x="1233299" y="890546"/>
                                                                                          </a:cubicBezTo>
                                                                                          <a:cubicBezTo>
                                                                                            <a:pt x="1222036" y="924333"/>
                                                                                            <a:pt x="1237744" y="883138"/>
                                                                                            <a:pt x="1221372" y="910425"/>
                                                                                          </a:cubicBezTo>
                                                                                          <a:cubicBezTo>
                                                                                            <a:pt x="1219216" y="914019"/>
                                                                                            <a:pt x="1218721" y="918376"/>
                                                                                            <a:pt x="1217396" y="922352"/>
                                                                                          </a:cubicBezTo>
                                                                                          <a:cubicBezTo>
                                                                                            <a:pt x="1216071" y="935604"/>
                                                                                            <a:pt x="1215445" y="948945"/>
                                                                                            <a:pt x="1213420" y="962108"/>
                                                                                          </a:cubicBezTo>
                                                                                          <a:cubicBezTo>
                                                                                            <a:pt x="1212783" y="966250"/>
                                                                                            <a:pt x="1207571" y="970287"/>
                                                                                            <a:pt x="1209445" y="974035"/>
                                                                                          </a:cubicBezTo>
                                                                                          <a:cubicBezTo>
                                                                                            <a:pt x="1211319" y="977783"/>
                                                                                            <a:pt x="1217396" y="976686"/>
                                                                                            <a:pt x="1221372" y="978011"/>
                                                                                          </a:cubicBezTo>
                                                                                          <a:cubicBezTo>
                                                                                            <a:pt x="1226580" y="972803"/>
                                                                                            <a:pt x="1242656" y="954126"/>
                                                                                            <a:pt x="1253177" y="950181"/>
                                                                                          </a:cubicBezTo>
                                                                                          <a:cubicBezTo>
                                                                                            <a:pt x="1259504" y="947808"/>
                                                                                            <a:pt x="1266429" y="947530"/>
                                                                                            <a:pt x="1273055" y="946205"/>
                                                                                          </a:cubicBezTo>
                                                                                          <a:cubicBezTo>
                                                                                            <a:pt x="1279827" y="947173"/>
                                                                                            <a:pt x="1308836" y="944262"/>
                                                                                            <a:pt x="1308836" y="962108"/>
                                                                                          </a:cubicBezTo>
                                                                                          <a:cubicBezTo>
                                                                                            <a:pt x="1308836" y="970489"/>
                                                                                            <a:pt x="1303535" y="978011"/>
                                                                                            <a:pt x="1300885" y="985962"/>
                                                                                          </a:cubicBezTo>
                                                                                          <a:lnTo>
                                                                                            <a:pt x="1296909" y="997889"/>
                                                                                          </a:lnTo>
                                                                                          <a:cubicBezTo>
                                                                                            <a:pt x="1300885" y="1000539"/>
                                                                                            <a:pt x="1305851" y="1002109"/>
                                                                                            <a:pt x="1308836" y="1005840"/>
                                                                                          </a:cubicBezTo>
                                                                                          <a:cubicBezTo>
                                                                                            <a:pt x="1314140" y="1012469"/>
                                                                                            <a:pt x="1314351" y="1027368"/>
                                                                                            <a:pt x="1308836" y="1033670"/>
                                                                                          </a:cubicBezTo>
                                                                                          <a:cubicBezTo>
                                                                                            <a:pt x="1302543" y="1040862"/>
                                                                                            <a:pt x="1284982" y="1049572"/>
                                                                                            <a:pt x="1284982" y="1049572"/>
                                                                                          </a:cubicBezTo>
                                                                                          <a:cubicBezTo>
                                                                                            <a:pt x="1286307" y="1061499"/>
                                                                                            <a:pt x="1284501" y="1074211"/>
                                                                                            <a:pt x="1288958" y="1085353"/>
                                                                                          </a:cubicBezTo>
                                                                                          <a:cubicBezTo>
                                                                                            <a:pt x="1290514" y="1089244"/>
                                                                                            <a:pt x="1297922" y="1086366"/>
                                                                                            <a:pt x="1300885" y="1089329"/>
                                                                                          </a:cubicBezTo>
                                                                                          <a:cubicBezTo>
                                                                                            <a:pt x="1302836" y="1091280"/>
                                                                                            <a:pt x="1308735" y="1116956"/>
                                                                                            <a:pt x="1308836" y="1117158"/>
                                                                                          </a:cubicBezTo>
                                                                                          <a:cubicBezTo>
                                                                                            <a:pt x="1310512" y="1120511"/>
                                                                                            <a:pt x="1314137" y="1122459"/>
                                                                                            <a:pt x="1316787" y="1125110"/>
                                                                                          </a:cubicBezTo>
                                                                                          <a:cubicBezTo>
                                                                                            <a:pt x="1315462" y="1130411"/>
                                                                                            <a:pt x="1315255" y="1136125"/>
                                                                                            <a:pt x="1312812" y="1141012"/>
                                                                                          </a:cubicBezTo>
                                                                                          <a:cubicBezTo>
                                                                                            <a:pt x="1309612" y="1147411"/>
                                                                                            <a:pt x="1297616" y="1153170"/>
                                                                                            <a:pt x="1292934" y="1156915"/>
                                                                                          </a:cubicBezTo>
                                                                                          <a:cubicBezTo>
                                                                                            <a:pt x="1290007" y="1159257"/>
                                                                                            <a:pt x="1288196" y="1162938"/>
                                                                                            <a:pt x="1284982" y="1164866"/>
                                                                                          </a:cubicBezTo>
                                                                                          <a:cubicBezTo>
                                                                                            <a:pt x="1280908" y="1167311"/>
                                                                                            <a:pt x="1260124" y="1172075"/>
                                                                                            <a:pt x="1257153" y="1172818"/>
                                                                                          </a:cubicBezTo>
                                                                                          <a:cubicBezTo>
                                                                                            <a:pt x="1259997" y="1187042"/>
                                                                                            <a:pt x="1258842" y="1194385"/>
                                                                                            <a:pt x="1269080" y="1204623"/>
                                                                                          </a:cubicBezTo>
                                                                                          <a:cubicBezTo>
                                                                                            <a:pt x="1272459" y="1208002"/>
                                                                                            <a:pt x="1277031" y="1209924"/>
                                                                                            <a:pt x="1281007" y="1212574"/>
                                                                                          </a:cubicBezTo>
                                                                                          <a:cubicBezTo>
                                                                                            <a:pt x="1282332" y="1217875"/>
                                                                                            <a:pt x="1285526" y="1223040"/>
                                                                                            <a:pt x="1284982" y="1228477"/>
                                                                                          </a:cubicBezTo>
                                                                                          <a:cubicBezTo>
                                                                                            <a:pt x="1283500" y="1243295"/>
                                                                                            <a:pt x="1277425" y="1256044"/>
                                                                                            <a:pt x="1265104" y="1264258"/>
                                                                                          </a:cubicBezTo>
                                                                                          <a:cubicBezTo>
                                                                                            <a:pt x="1261617" y="1266582"/>
                                                                                            <a:pt x="1257153" y="1266908"/>
                                                                                            <a:pt x="1253177" y="1268233"/>
                                                                                          </a:cubicBezTo>
                                                                                          <a:cubicBezTo>
                                                                                            <a:pt x="1255827" y="1276184"/>
                                                                                            <a:pt x="1259484" y="1283868"/>
                                                                                            <a:pt x="1261128" y="1292087"/>
                                                                                          </a:cubicBezTo>
                                                                                          <a:lnTo>
                                                                                            <a:pt x="1265104" y="1311965"/>
                                                                                          </a:lnTo>
                                                                                          <a:lnTo>
                                                                                            <a:pt x="1277031" y="1355698"/>
                                                                                          </a:lnTo>
                                                                                          <a:cubicBezTo>
                                                                                            <a:pt x="1286307" y="1362324"/>
                                                                                            <a:pt x="1295085" y="1369711"/>
                                                                                            <a:pt x="1304860" y="1375576"/>
                                                                                          </a:cubicBezTo>
                                                                                          <a:cubicBezTo>
                                                                                            <a:pt x="1310975" y="1379245"/>
                                                                                            <a:pt x="1332387" y="1382671"/>
                                                                                            <a:pt x="1336666" y="1383527"/>
                                                                                          </a:cubicBezTo>
                                                                                          <a:cubicBezTo>
                                                                                            <a:pt x="1335341" y="1390153"/>
                                                                                            <a:pt x="1335352" y="1397194"/>
                                                                                            <a:pt x="1332690" y="1403405"/>
                                                                                          </a:cubicBezTo>
                                                                                          <a:cubicBezTo>
                                                                                            <a:pt x="1318255" y="1437087"/>
                                                                                            <a:pt x="1329861" y="1382348"/>
                                                                                            <a:pt x="1320763" y="1423284"/>
                                                                                          </a:cubicBezTo>
                                                                                          <a:cubicBezTo>
                                                                                            <a:pt x="1319014" y="1431153"/>
                                                                                            <a:pt x="1323391" y="1442515"/>
                                                                                            <a:pt x="1316787" y="1447138"/>
                                                                                          </a:cubicBezTo>
                                                                                          <a:cubicBezTo>
                                                                                            <a:pt x="1306956" y="1454020"/>
                                                                                            <a:pt x="1292934" y="1449788"/>
                                                                                            <a:pt x="1281007" y="1451113"/>
                                                                                          </a:cubicBezTo>
                                                                                          <a:cubicBezTo>
                                                                                            <a:pt x="1274398" y="1457722"/>
                                                                                            <a:pt x="1270156" y="1463004"/>
                                                                                            <a:pt x="1261128" y="1467016"/>
                                                                                          </a:cubicBezTo>
                                                                                          <a:cubicBezTo>
                                                                                            <a:pt x="1253469" y="1470420"/>
                                                                                            <a:pt x="1244771" y="1471219"/>
                                                                                            <a:pt x="1237274" y="1474967"/>
                                                                                          </a:cubicBezTo>
                                                                                          <a:cubicBezTo>
                                                                                            <a:pt x="1231973" y="1477617"/>
                                                                                            <a:pt x="1226874" y="1480717"/>
                                                                                            <a:pt x="1221372" y="1482918"/>
                                                                                          </a:cubicBezTo>
                                                                                          <a:cubicBezTo>
                                                                                            <a:pt x="1213590" y="1486031"/>
                                                                                            <a:pt x="1205469" y="1488220"/>
                                                                                            <a:pt x="1197518" y="1490870"/>
                                                                                          </a:cubicBezTo>
                                                                                          <a:lnTo>
                                                                                            <a:pt x="1185591" y="1494845"/>
                                                                                          </a:lnTo>
                                                                                          <a:cubicBezTo>
                                                                                            <a:pt x="1178194" y="1502243"/>
                                                                                            <a:pt x="1175746" y="1505732"/>
                                                                                            <a:pt x="1165713" y="1510748"/>
                                                                                          </a:cubicBezTo>
                                                                                          <a:cubicBezTo>
                                                                                            <a:pt x="1161965" y="1512622"/>
                                                                                            <a:pt x="1157762" y="1513399"/>
                                                                                            <a:pt x="1153786" y="1514724"/>
                                                                                          </a:cubicBezTo>
                                                                                          <a:cubicBezTo>
                                                                                            <a:pt x="1132859" y="1535648"/>
                                                                                            <a:pt x="1143659" y="1528839"/>
                                                                                            <a:pt x="1086200" y="1518699"/>
                                                                                          </a:cubicBezTo>
                                                                                          <a:cubicBezTo>
                                                                                            <a:pt x="1082509" y="1518048"/>
                                                                                            <a:pt x="1081462" y="1512676"/>
                                                                                            <a:pt x="1078248" y="1510748"/>
                                                                                          </a:cubicBezTo>
                                                                                          <a:cubicBezTo>
                                                                                            <a:pt x="1074654" y="1508592"/>
                                                                                            <a:pt x="1069984" y="1508807"/>
                                                                                            <a:pt x="1066321" y="1506772"/>
                                                                                          </a:cubicBezTo>
                                                                                          <a:cubicBezTo>
                                                                                            <a:pt x="1057967" y="1502131"/>
                                                                                            <a:pt x="1051533" y="1493892"/>
                                                                                            <a:pt x="1042467" y="1490870"/>
                                                                                          </a:cubicBezTo>
                                                                                          <a:cubicBezTo>
                                                                                            <a:pt x="1038491" y="1489545"/>
                                                                                            <a:pt x="1034288" y="1488768"/>
                                                                                            <a:pt x="1030540" y="1486894"/>
                                                                                          </a:cubicBezTo>
                                                                                          <a:cubicBezTo>
                                                                                            <a:pt x="1020512" y="1481880"/>
                                                                                            <a:pt x="1018057" y="1478386"/>
                                                                                            <a:pt x="1010662" y="1470992"/>
                                                                                          </a:cubicBezTo>
                                                                                          <a:cubicBezTo>
                                                                                            <a:pt x="1009337" y="1467016"/>
                                                                                            <a:pt x="1007703" y="1463131"/>
                                                                                            <a:pt x="1006687" y="1459065"/>
                                                                                          </a:cubicBezTo>
                                                                                          <a:cubicBezTo>
                                                                                            <a:pt x="1005048" y="1452509"/>
                                                                                            <a:pt x="1008755" y="1442208"/>
                                                                                            <a:pt x="1002711" y="1439186"/>
                                                                                          </a:cubicBezTo>
                                                                                          <a:cubicBezTo>
                                                                                            <a:pt x="994329" y="1434995"/>
                                                                                            <a:pt x="984158" y="1441837"/>
                                                                                            <a:pt x="974881" y="1443162"/>
                                                                                          </a:cubicBezTo>
                                                                                          <a:cubicBezTo>
                                                                                            <a:pt x="969580" y="1441837"/>
                                                                                            <a:pt x="963866" y="1441630"/>
                                                                                            <a:pt x="958979" y="1439186"/>
                                                                                          </a:cubicBezTo>
                                                                                          <a:cubicBezTo>
                                                                                            <a:pt x="955626" y="1437510"/>
                                                                                            <a:pt x="954380" y="1432911"/>
                                                                                            <a:pt x="951027" y="1431235"/>
                                                                                          </a:cubicBezTo>
                                                                                          <a:cubicBezTo>
                                                                                            <a:pt x="943531" y="1427487"/>
                                                                                            <a:pt x="927174" y="1423284"/>
                                                                                            <a:pt x="927174" y="1423284"/>
                                                                                          </a:cubicBezTo>
                                                                                          <a:cubicBezTo>
                                                                                            <a:pt x="917754" y="1413864"/>
                                                                                            <a:pt x="908856" y="1403926"/>
                                                                                            <a:pt x="895368" y="1399430"/>
                                                                                          </a:cubicBezTo>
                                                                                          <a:lnTo>
                                                                                            <a:pt x="871514" y="1391478"/>
                                                                                          </a:lnTo>
                                                                                          <a:lnTo>
                                                                                            <a:pt x="859587" y="1387503"/>
                                                                                          </a:lnTo>
                                                                                          <a:cubicBezTo>
                                                                                            <a:pt x="852961" y="1388828"/>
                                                                                            <a:pt x="845861" y="1388682"/>
                                                                                            <a:pt x="839709" y="1391478"/>
                                                                                          </a:cubicBezTo>
                                                                                          <a:cubicBezTo>
                                                                                            <a:pt x="831009" y="1395432"/>
                                                                                            <a:pt x="824921" y="1404359"/>
                                                                                            <a:pt x="815855" y="1407381"/>
                                                                                          </a:cubicBezTo>
                                                                                          <a:cubicBezTo>
                                                                                            <a:pt x="783111" y="1418295"/>
                                                                                            <a:pt x="800298" y="1414147"/>
                                                                                            <a:pt x="764172" y="1419308"/>
                                                                                          </a:cubicBezTo>
                                                                                          <a:cubicBezTo>
                                                                                            <a:pt x="756221" y="1421958"/>
                                                                                            <a:pt x="742969" y="1419308"/>
                                                                                            <a:pt x="740318" y="1427259"/>
                                                                                          </a:cubicBezTo>
                                                                                          <a:cubicBezTo>
                                                                                            <a:pt x="738993" y="1431235"/>
                                                                                            <a:pt x="738498" y="1435592"/>
                                                                                            <a:pt x="736342" y="1439186"/>
                                                                                          </a:cubicBezTo>
                                                                                          <a:cubicBezTo>
                                                                                            <a:pt x="734414" y="1442400"/>
                                                                                            <a:pt x="730732" y="1444211"/>
                                                                                            <a:pt x="728391" y="1447138"/>
                                                                                          </a:cubicBezTo>
                                                                                          <a:cubicBezTo>
                                                                                            <a:pt x="725406" y="1450869"/>
                                                                                            <a:pt x="723090" y="1455089"/>
                                                                                            <a:pt x="720440" y="1459065"/>
                                                                                          </a:cubicBezTo>
                                                                                          <a:cubicBezTo>
                                                                                            <a:pt x="714821" y="1487159"/>
                                                                                            <a:pt x="718600" y="1472536"/>
                                                                                            <a:pt x="708513" y="1502797"/>
                                                                                          </a:cubicBezTo>
                                                                                          <a:lnTo>
                                                                                            <a:pt x="704537" y="1514724"/>
                                                                                          </a:lnTo>
                                                                                          <a:cubicBezTo>
                                                                                            <a:pt x="703212" y="1518700"/>
                                                                                            <a:pt x="702435" y="1522903"/>
                                                                                            <a:pt x="700561" y="1526651"/>
                                                                                          </a:cubicBezTo>
                                                                                          <a:cubicBezTo>
                                                                                            <a:pt x="695260" y="1537253"/>
                                                                                            <a:pt x="691022" y="1548456"/>
                                                                                            <a:pt x="684659" y="1558456"/>
                                                                                          </a:cubicBezTo>
                                                                                          <a:cubicBezTo>
                                                                                            <a:pt x="681640" y="1563199"/>
                                                                                            <a:pt x="676708" y="1566407"/>
                                                                                            <a:pt x="672732" y="1570383"/>
                                                                                          </a:cubicBezTo>
                                                                                          <a:cubicBezTo>
                                                                                            <a:pt x="670571" y="1559580"/>
                                                                                            <a:pt x="672119" y="1548210"/>
                                                                                            <a:pt x="660805" y="1542553"/>
                                                                                          </a:cubicBezTo>
                                                                                          <a:cubicBezTo>
                                                                                            <a:pt x="653308" y="1538805"/>
                                                                                            <a:pt x="636951" y="1534602"/>
                                                                                            <a:pt x="636951" y="1534602"/>
                                                                                          </a:cubicBezTo>
                                                                                          <a:cubicBezTo>
                                                                                            <a:pt x="631650" y="1537252"/>
                                                                                            <a:pt x="626968" y="1542271"/>
                                                                                            <a:pt x="621048" y="1542553"/>
                                                                                          </a:cubicBezTo>
                                                                                          <a:cubicBezTo>
                                                                                            <a:pt x="559473" y="1545485"/>
                                                                                            <a:pt x="569956" y="1549575"/>
                                                                                            <a:pt x="541535" y="1530626"/>
                                                                                          </a:cubicBezTo>
                                                                                          <a:cubicBezTo>
                                                                                            <a:pt x="530275" y="1496839"/>
                                                                                            <a:pt x="545980" y="1538034"/>
                                                                                            <a:pt x="529608" y="1510748"/>
                                                                                          </a:cubicBezTo>
                                                                                          <a:cubicBezTo>
                                                                                            <a:pt x="522570" y="1499018"/>
                                                                                            <a:pt x="530276" y="1498427"/>
                                                                                            <a:pt x="517681" y="1490870"/>
                                                                                          </a:cubicBezTo>
                                                                                          <a:cubicBezTo>
                                                                                            <a:pt x="514087" y="1488714"/>
                                                                                            <a:pt x="509502" y="1488768"/>
                                                                                            <a:pt x="505754" y="1486894"/>
                                                                                          </a:cubicBezTo>
                                                                                          <a:cubicBezTo>
                                                                                            <a:pt x="501480" y="1484757"/>
                                                                                            <a:pt x="498101" y="1481080"/>
                                                                                            <a:pt x="493827" y="1478943"/>
                                                                                          </a:cubicBezTo>
                                                                                          <a:cubicBezTo>
                                                                                            <a:pt x="474231" y="1469145"/>
                                                                                            <a:pt x="488963" y="1482207"/>
                                                                                            <a:pt x="469974" y="1467016"/>
                                                                                          </a:cubicBezTo>
                                                                                          <a:cubicBezTo>
                                                                                            <a:pt x="467047" y="1464674"/>
                                                                                            <a:pt x="465021" y="1461314"/>
                                                                                            <a:pt x="462022" y="1459065"/>
                                                                                          </a:cubicBezTo>
                                                                                          <a:cubicBezTo>
                                                                                            <a:pt x="454377" y="1453331"/>
                                                                                            <a:pt x="444925" y="1449919"/>
                                                                                            <a:pt x="438168" y="1443162"/>
                                                                                          </a:cubicBezTo>
                                                                                          <a:cubicBezTo>
                                                                                            <a:pt x="422862" y="1427856"/>
                                                                                            <a:pt x="430919" y="1434354"/>
                                                                                            <a:pt x="414314" y="1423284"/>
                                                                                          </a:cubicBezTo>
                                                                                          <a:cubicBezTo>
                                                                                            <a:pt x="382511" y="1433883"/>
                                                                                            <a:pt x="419613" y="1417984"/>
                                                                                            <a:pt x="398412" y="1439186"/>
                                                                                          </a:cubicBezTo>
                                                                                          <a:cubicBezTo>
                                                                                            <a:pt x="395449" y="1442149"/>
                                                                                            <a:pt x="390461" y="1441837"/>
                                                                                            <a:pt x="386485" y="1443162"/>
                                                                                          </a:cubicBezTo>
                                                                                          <a:cubicBezTo>
                                                                                            <a:pt x="379859" y="1441837"/>
                                                                                            <a:pt x="372818" y="1441848"/>
                                                                                            <a:pt x="366607" y="1439186"/>
                                                                                          </a:cubicBezTo>
                                                                                          <a:cubicBezTo>
                                                                                            <a:pt x="355756" y="1434536"/>
                                                                                            <a:pt x="359768" y="1427788"/>
                                                                                            <a:pt x="354680" y="1419308"/>
                                                                                          </a:cubicBezTo>
                                                                                          <a:cubicBezTo>
                                                                                            <a:pt x="349223" y="1410214"/>
                                                                                            <a:pt x="344181" y="1410508"/>
                                                                                            <a:pt x="334801" y="1407381"/>
                                                                                          </a:cubicBezTo>
                                                                                          <a:cubicBezTo>
                                                                                            <a:pt x="329500" y="1408706"/>
                                                                                            <a:pt x="324153" y="1409856"/>
                                                                                            <a:pt x="318899" y="1411357"/>
                                                                                          </a:cubicBezTo>
                                                                                          <a:cubicBezTo>
                                                                                            <a:pt x="314870" y="1412508"/>
                                                                                            <a:pt x="311163" y="1415332"/>
                                                                                            <a:pt x="306972" y="1415332"/>
                                                                                          </a:cubicBezTo>
                                                                                          <a:cubicBezTo>
                                                                                            <a:pt x="301508" y="1415332"/>
                                                                                            <a:pt x="296370" y="1412682"/>
                                                                                            <a:pt x="291069" y="1411357"/>
                                                                                          </a:cubicBezTo>
                                                                                          <a:cubicBezTo>
                                                                                            <a:pt x="281078" y="1381379"/>
                                                                                            <a:pt x="294556" y="1418330"/>
                                                                                            <a:pt x="279142" y="1387503"/>
                                                                                          </a:cubicBezTo>
                                                                                          <a:cubicBezTo>
                                                                                            <a:pt x="277268" y="1383755"/>
                                                                                            <a:pt x="278805" y="1377655"/>
                                                                                            <a:pt x="275167" y="1375576"/>
                                                                                          </a:cubicBezTo>
                                                                                          <a:cubicBezTo>
                                                                                            <a:pt x="268168" y="1371576"/>
                                                                                            <a:pt x="259133" y="1373555"/>
                                                                                            <a:pt x="251313" y="1371600"/>
                                                                                          </a:cubicBezTo>
                                                                                          <a:cubicBezTo>
                                                                                            <a:pt x="243182" y="1369567"/>
                                                                                            <a:pt x="227459" y="1363649"/>
                                                                                            <a:pt x="227459" y="1363649"/>
                                                                                          </a:cubicBezTo>
                                                                                          <a:lnTo>
                                                                                            <a:pt x="219507" y="1339795"/>
                                                                                          </a:lnTo>
                                                                                          <a:cubicBezTo>
                                                                                            <a:pt x="216379" y="1330411"/>
                                                                                            <a:pt x="216678" y="1325376"/>
                                                                                            <a:pt x="207580" y="1319917"/>
                                                                                          </a:cubicBezTo>
                                                                                          <a:cubicBezTo>
                                                                                            <a:pt x="203987" y="1317761"/>
                                                                                            <a:pt x="199629" y="1317266"/>
                                                                                            <a:pt x="195654" y="1315941"/>
                                                                                          </a:cubicBezTo>
                                                                                          <a:cubicBezTo>
                                                                                            <a:pt x="193003" y="1313291"/>
                                                                                            <a:pt x="190044" y="1310917"/>
                                                                                            <a:pt x="187702" y="1307990"/>
                                                                                          </a:cubicBezTo>
                                                                                          <a:cubicBezTo>
                                                                                            <a:pt x="184717" y="1304259"/>
                                                                                            <a:pt x="183482" y="1299048"/>
                                                                                            <a:pt x="179751" y="1296063"/>
                                                                                          </a:cubicBezTo>
                                                                                          <a:cubicBezTo>
                                                                                            <a:pt x="176479" y="1293445"/>
                                                                                            <a:pt x="171800" y="1293412"/>
                                                                                            <a:pt x="167824" y="1292087"/>
                                                                                          </a:cubicBezTo>
                                                                                          <a:cubicBezTo>
                                                                                            <a:pt x="139995" y="1301363"/>
                                                                                            <a:pt x="146621" y="1307989"/>
                                                                                            <a:pt x="139994" y="1288112"/>
                                                                                          </a:cubicBezTo>
                                                                                          <a:cubicBezTo>
                                                                                            <a:pt x="143257" y="1268538"/>
                                                                                            <a:pt x="147334" y="1259978"/>
                                                                                            <a:pt x="139994" y="1240404"/>
                                                                                          </a:cubicBezTo>
                                                                                          <a:cubicBezTo>
                                                                                            <a:pt x="138678" y="1236894"/>
                                                                                            <a:pt x="123429" y="1230465"/>
                                                                                            <a:pt x="120116" y="1228477"/>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88" name="Freeform 287"/>
                                                                                <p:cNvSpPr/>
                                                                                <p:nvPr/>
                                                                              </p:nvSpPr>
                                                                              <p:spPr>
                                                                                <a:xfrm>
                                                                                  <a:off x="2890299" y="4416944"/>
                                                                                  <a:ext cx="548640" cy="357814"/>
                                                                                </a:xfrm>
                                                                                <a:custGeom>
                                                                                  <a:avLst/>
                                                                                  <a:gdLst>
                                                                                    <a:gd name="connsiteX0" fmla="*/ 222637 w 548640"/>
                                                                                    <a:gd name="connsiteY0" fmla="*/ 23859 h 357814"/>
                                                                                    <a:gd name="connsiteX1" fmla="*/ 222637 w 548640"/>
                                                                                    <a:gd name="connsiteY1" fmla="*/ 23859 h 357814"/>
                                                                                    <a:gd name="connsiteX2" fmla="*/ 194807 w 548640"/>
                                                                                    <a:gd name="connsiteY2" fmla="*/ 47713 h 357814"/>
                                                                                    <a:gd name="connsiteX3" fmla="*/ 170953 w 548640"/>
                                                                                    <a:gd name="connsiteY3" fmla="*/ 43738 h 357814"/>
                                                                                    <a:gd name="connsiteX4" fmla="*/ 147099 w 548640"/>
                                                                                    <a:gd name="connsiteY4" fmla="*/ 35786 h 357814"/>
                                                                                    <a:gd name="connsiteX5" fmla="*/ 127221 w 548640"/>
                                                                                    <a:gd name="connsiteY5" fmla="*/ 39762 h 357814"/>
                                                                                    <a:gd name="connsiteX6" fmla="*/ 123245 w 548640"/>
                                                                                    <a:gd name="connsiteY6" fmla="*/ 63616 h 357814"/>
                                                                                    <a:gd name="connsiteX7" fmla="*/ 119270 w 548640"/>
                                                                                    <a:gd name="connsiteY7" fmla="*/ 75543 h 357814"/>
                                                                                    <a:gd name="connsiteX8" fmla="*/ 107343 w 548640"/>
                                                                                    <a:gd name="connsiteY8" fmla="*/ 79519 h 357814"/>
                                                                                    <a:gd name="connsiteX9" fmla="*/ 87464 w 548640"/>
                                                                                    <a:gd name="connsiteY9" fmla="*/ 95421 h 357814"/>
                                                                                    <a:gd name="connsiteX10" fmla="*/ 67586 w 548640"/>
                                                                                    <a:gd name="connsiteY10" fmla="*/ 111324 h 357814"/>
                                                                                    <a:gd name="connsiteX11" fmla="*/ 59635 w 548640"/>
                                                                                    <a:gd name="connsiteY11" fmla="*/ 135178 h 357814"/>
                                                                                    <a:gd name="connsiteX12" fmla="*/ 35781 w 548640"/>
                                                                                    <a:gd name="connsiteY12" fmla="*/ 151080 h 357814"/>
                                                                                    <a:gd name="connsiteX13" fmla="*/ 31805 w 548640"/>
                                                                                    <a:gd name="connsiteY13" fmla="*/ 163007 h 357814"/>
                                                                                    <a:gd name="connsiteX14" fmla="*/ 11927 w 548640"/>
                                                                                    <a:gd name="connsiteY14" fmla="*/ 182886 h 357814"/>
                                                                                    <a:gd name="connsiteX15" fmla="*/ 0 w 548640"/>
                                                                                    <a:gd name="connsiteY15" fmla="*/ 250472 h 357814"/>
                                                                                    <a:gd name="connsiteX16" fmla="*/ 11927 w 548640"/>
                                                                                    <a:gd name="connsiteY16" fmla="*/ 254447 h 357814"/>
                                                                                    <a:gd name="connsiteX17" fmla="*/ 19878 w 548640"/>
                                                                                    <a:gd name="connsiteY17" fmla="*/ 242520 h 357814"/>
                                                                                    <a:gd name="connsiteX18" fmla="*/ 31805 w 548640"/>
                                                                                    <a:gd name="connsiteY18" fmla="*/ 218666 h 357814"/>
                                                                                    <a:gd name="connsiteX19" fmla="*/ 55659 w 548640"/>
                                                                                    <a:gd name="connsiteY19" fmla="*/ 210715 h 357814"/>
                                                                                    <a:gd name="connsiteX20" fmla="*/ 87464 w 548640"/>
                                                                                    <a:gd name="connsiteY20" fmla="*/ 226618 h 357814"/>
                                                                                    <a:gd name="connsiteX21" fmla="*/ 91440 w 548640"/>
                                                                                    <a:gd name="connsiteY21" fmla="*/ 238545 h 357814"/>
                                                                                    <a:gd name="connsiteX22" fmla="*/ 75538 w 548640"/>
                                                                                    <a:gd name="connsiteY22" fmla="*/ 262399 h 357814"/>
                                                                                    <a:gd name="connsiteX23" fmla="*/ 71562 w 548640"/>
                                                                                    <a:gd name="connsiteY23" fmla="*/ 274326 h 357814"/>
                                                                                    <a:gd name="connsiteX24" fmla="*/ 83489 w 548640"/>
                                                                                    <a:gd name="connsiteY24" fmla="*/ 282277 h 357814"/>
                                                                                    <a:gd name="connsiteX25" fmla="*/ 95416 w 548640"/>
                                                                                    <a:gd name="connsiteY25" fmla="*/ 286253 h 357814"/>
                                                                                    <a:gd name="connsiteX26" fmla="*/ 103367 w 548640"/>
                                                                                    <a:gd name="connsiteY26" fmla="*/ 298179 h 357814"/>
                                                                                    <a:gd name="connsiteX27" fmla="*/ 99391 w 548640"/>
                                                                                    <a:gd name="connsiteY27" fmla="*/ 322033 h 357814"/>
                                                                                    <a:gd name="connsiteX28" fmla="*/ 111318 w 548640"/>
                                                                                    <a:gd name="connsiteY28" fmla="*/ 326009 h 357814"/>
                                                                                    <a:gd name="connsiteX29" fmla="*/ 127221 w 548640"/>
                                                                                    <a:gd name="connsiteY29" fmla="*/ 322033 h 357814"/>
                                                                                    <a:gd name="connsiteX30" fmla="*/ 163002 w 548640"/>
                                                                                    <a:gd name="connsiteY30" fmla="*/ 306131 h 357814"/>
                                                                                    <a:gd name="connsiteX31" fmla="*/ 174929 w 548640"/>
                                                                                    <a:gd name="connsiteY31" fmla="*/ 310106 h 357814"/>
                                                                                    <a:gd name="connsiteX32" fmla="*/ 182880 w 548640"/>
                                                                                    <a:gd name="connsiteY32" fmla="*/ 318058 h 357814"/>
                                                                                    <a:gd name="connsiteX33" fmla="*/ 194807 w 548640"/>
                                                                                    <a:gd name="connsiteY33" fmla="*/ 326009 h 357814"/>
                                                                                    <a:gd name="connsiteX34" fmla="*/ 214685 w 548640"/>
                                                                                    <a:gd name="connsiteY34" fmla="*/ 322033 h 357814"/>
                                                                                    <a:gd name="connsiteX35" fmla="*/ 234564 w 548640"/>
                                                                                    <a:gd name="connsiteY35" fmla="*/ 302155 h 357814"/>
                                                                                    <a:gd name="connsiteX36" fmla="*/ 258418 w 548640"/>
                                                                                    <a:gd name="connsiteY36" fmla="*/ 290228 h 357814"/>
                                                                                    <a:gd name="connsiteX37" fmla="*/ 274320 w 548640"/>
                                                                                    <a:gd name="connsiteY37" fmla="*/ 250472 h 357814"/>
                                                                                    <a:gd name="connsiteX38" fmla="*/ 294198 w 548640"/>
                                                                                    <a:gd name="connsiteY38" fmla="*/ 254447 h 357814"/>
                                                                                    <a:gd name="connsiteX39" fmla="*/ 298174 w 548640"/>
                                                                                    <a:gd name="connsiteY39" fmla="*/ 282277 h 357814"/>
                                                                                    <a:gd name="connsiteX40" fmla="*/ 310101 w 548640"/>
                                                                                    <a:gd name="connsiteY40" fmla="*/ 286253 h 357814"/>
                                                                                    <a:gd name="connsiteX41" fmla="*/ 318052 w 548640"/>
                                                                                    <a:gd name="connsiteY41" fmla="*/ 298179 h 357814"/>
                                                                                    <a:gd name="connsiteX42" fmla="*/ 326004 w 548640"/>
                                                                                    <a:gd name="connsiteY42" fmla="*/ 329985 h 357814"/>
                                                                                    <a:gd name="connsiteX43" fmla="*/ 329979 w 548640"/>
                                                                                    <a:gd name="connsiteY43" fmla="*/ 341912 h 357814"/>
                                                                                    <a:gd name="connsiteX44" fmla="*/ 349858 w 548640"/>
                                                                                    <a:gd name="connsiteY44" fmla="*/ 357814 h 357814"/>
                                                                                    <a:gd name="connsiteX45" fmla="*/ 353833 w 548640"/>
                                                                                    <a:gd name="connsiteY45" fmla="*/ 345887 h 357814"/>
                                                                                    <a:gd name="connsiteX46" fmla="*/ 357809 w 548640"/>
                                                                                    <a:gd name="connsiteY46" fmla="*/ 322033 h 357814"/>
                                                                                    <a:gd name="connsiteX47" fmla="*/ 381663 w 548640"/>
                                                                                    <a:gd name="connsiteY47" fmla="*/ 306131 h 357814"/>
                                                                                    <a:gd name="connsiteX48" fmla="*/ 389614 w 548640"/>
                                                                                    <a:gd name="connsiteY48" fmla="*/ 298179 h 357814"/>
                                                                                    <a:gd name="connsiteX49" fmla="*/ 393590 w 548640"/>
                                                                                    <a:gd name="connsiteY49" fmla="*/ 286253 h 357814"/>
                                                                                    <a:gd name="connsiteX50" fmla="*/ 397565 w 548640"/>
                                                                                    <a:gd name="connsiteY50" fmla="*/ 262399 h 357814"/>
                                                                                    <a:gd name="connsiteX51" fmla="*/ 409492 w 548640"/>
                                                                                    <a:gd name="connsiteY51" fmla="*/ 266374 h 357814"/>
                                                                                    <a:gd name="connsiteX52" fmla="*/ 417444 w 548640"/>
                                                                                    <a:gd name="connsiteY52" fmla="*/ 274326 h 357814"/>
                                                                                    <a:gd name="connsiteX53" fmla="*/ 469127 w 548640"/>
                                                                                    <a:gd name="connsiteY53" fmla="*/ 290228 h 357814"/>
                                                                                    <a:gd name="connsiteX54" fmla="*/ 477078 w 548640"/>
                                                                                    <a:gd name="connsiteY54" fmla="*/ 302155 h 357814"/>
                                                                                    <a:gd name="connsiteX55" fmla="*/ 481054 w 548640"/>
                                                                                    <a:gd name="connsiteY55" fmla="*/ 314082 h 357814"/>
                                                                                    <a:gd name="connsiteX56" fmla="*/ 492981 w 548640"/>
                                                                                    <a:gd name="connsiteY56" fmla="*/ 310106 h 357814"/>
                                                                                    <a:gd name="connsiteX57" fmla="*/ 500932 w 548640"/>
                                                                                    <a:gd name="connsiteY57" fmla="*/ 250472 h 357814"/>
                                                                                    <a:gd name="connsiteX58" fmla="*/ 532738 w 548640"/>
                                                                                    <a:gd name="connsiteY58" fmla="*/ 258423 h 357814"/>
                                                                                    <a:gd name="connsiteX59" fmla="*/ 536713 w 548640"/>
                                                                                    <a:gd name="connsiteY59" fmla="*/ 246496 h 357814"/>
                                                                                    <a:gd name="connsiteX60" fmla="*/ 540689 w 548640"/>
                                                                                    <a:gd name="connsiteY60" fmla="*/ 222642 h 357814"/>
                                                                                    <a:gd name="connsiteX61" fmla="*/ 548640 w 548640"/>
                                                                                    <a:gd name="connsiteY61" fmla="*/ 210715 h 357814"/>
                                                                                    <a:gd name="connsiteX62" fmla="*/ 536713 w 548640"/>
                                                                                    <a:gd name="connsiteY62" fmla="*/ 186861 h 357814"/>
                                                                                    <a:gd name="connsiteX63" fmla="*/ 524786 w 548640"/>
                                                                                    <a:gd name="connsiteY63" fmla="*/ 182886 h 357814"/>
                                                                                    <a:gd name="connsiteX64" fmla="*/ 496957 w 548640"/>
                                                                                    <a:gd name="connsiteY64" fmla="*/ 178910 h 357814"/>
                                                                                    <a:gd name="connsiteX65" fmla="*/ 485030 w 548640"/>
                                                                                    <a:gd name="connsiteY65" fmla="*/ 174934 h 357814"/>
                                                                                    <a:gd name="connsiteX66" fmla="*/ 469127 w 548640"/>
                                                                                    <a:gd name="connsiteY66" fmla="*/ 139153 h 357814"/>
                                                                                    <a:gd name="connsiteX67" fmla="*/ 449249 w 548640"/>
                                                                                    <a:gd name="connsiteY67" fmla="*/ 135178 h 357814"/>
                                                                                    <a:gd name="connsiteX68" fmla="*/ 441298 w 548640"/>
                                                                                    <a:gd name="connsiteY68" fmla="*/ 127226 h 357814"/>
                                                                                    <a:gd name="connsiteX69" fmla="*/ 457200 w 548640"/>
                                                                                    <a:gd name="connsiteY69" fmla="*/ 103373 h 357814"/>
                                                                                    <a:gd name="connsiteX70" fmla="*/ 461176 w 548640"/>
                                                                                    <a:gd name="connsiteY70" fmla="*/ 91446 h 357814"/>
                                                                                    <a:gd name="connsiteX71" fmla="*/ 449249 w 548640"/>
                                                                                    <a:gd name="connsiteY71" fmla="*/ 71567 h 357814"/>
                                                                                    <a:gd name="connsiteX72" fmla="*/ 441298 w 548640"/>
                                                                                    <a:gd name="connsiteY72" fmla="*/ 59640 h 357814"/>
                                                                                    <a:gd name="connsiteX73" fmla="*/ 433346 w 548640"/>
                                                                                    <a:gd name="connsiteY73" fmla="*/ 51689 h 357814"/>
                                                                                    <a:gd name="connsiteX74" fmla="*/ 425395 w 548640"/>
                                                                                    <a:gd name="connsiteY74" fmla="*/ 39762 h 357814"/>
                                                                                    <a:gd name="connsiteX75" fmla="*/ 413468 w 548640"/>
                                                                                    <a:gd name="connsiteY75" fmla="*/ 35786 h 357814"/>
                                                                                    <a:gd name="connsiteX76" fmla="*/ 405517 w 548640"/>
                                                                                    <a:gd name="connsiteY76" fmla="*/ 23859 h 357814"/>
                                                                                    <a:gd name="connsiteX77" fmla="*/ 393590 w 548640"/>
                                                                                    <a:gd name="connsiteY77" fmla="*/ 19884 h 357814"/>
                                                                                    <a:gd name="connsiteX78" fmla="*/ 361784 w 548640"/>
                                                                                    <a:gd name="connsiteY78" fmla="*/ 11933 h 357814"/>
                                                                                    <a:gd name="connsiteX79" fmla="*/ 353833 w 548640"/>
                                                                                    <a:gd name="connsiteY79" fmla="*/ 3981 h 357814"/>
                                                                                    <a:gd name="connsiteX80" fmla="*/ 326004 w 548640"/>
                                                                                    <a:gd name="connsiteY80" fmla="*/ 3981 h 357814"/>
                                                                                    <a:gd name="connsiteX81" fmla="*/ 322028 w 548640"/>
                                                                                    <a:gd name="connsiteY81" fmla="*/ 15908 h 357814"/>
                                                                                    <a:gd name="connsiteX82" fmla="*/ 298174 w 548640"/>
                                                                                    <a:gd name="connsiteY82" fmla="*/ 27835 h 357814"/>
                                                                                    <a:gd name="connsiteX83" fmla="*/ 222637 w 548640"/>
                                                                                    <a:gd name="connsiteY83" fmla="*/ 23859 h 35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48640" h="357814">
                                                                                      <a:moveTo>
                                                                                        <a:pt x="222637" y="23859"/>
                                                                                      </a:moveTo>
                                                                                      <a:lnTo>
                                                                                        <a:pt x="222637" y="23859"/>
                                                                                      </a:lnTo>
                                                                                      <a:cubicBezTo>
                                                                                        <a:pt x="213360" y="31810"/>
                                                                                        <a:pt x="206211" y="43327"/>
                                                                                        <a:pt x="194807" y="47713"/>
                                                                                      </a:cubicBezTo>
                                                                                      <a:cubicBezTo>
                                                                                        <a:pt x="187283" y="50607"/>
                                                                                        <a:pt x="178773" y="45693"/>
                                                                                        <a:pt x="170953" y="43738"/>
                                                                                      </a:cubicBezTo>
                                                                                      <a:cubicBezTo>
                                                                                        <a:pt x="162822" y="41705"/>
                                                                                        <a:pt x="147099" y="35786"/>
                                                                                        <a:pt x="147099" y="35786"/>
                                                                                      </a:cubicBezTo>
                                                                                      <a:cubicBezTo>
                                                                                        <a:pt x="140473" y="37111"/>
                                                                                        <a:pt x="131619" y="34631"/>
                                                                                        <a:pt x="127221" y="39762"/>
                                                                                      </a:cubicBezTo>
                                                                                      <a:cubicBezTo>
                                                                                        <a:pt x="121975" y="45882"/>
                                                                                        <a:pt x="124994" y="55747"/>
                                                                                        <a:pt x="123245" y="63616"/>
                                                                                      </a:cubicBezTo>
                                                                                      <a:cubicBezTo>
                                                                                        <a:pt x="122336" y="67707"/>
                                                                                        <a:pt x="122233" y="72580"/>
                                                                                        <a:pt x="119270" y="75543"/>
                                                                                      </a:cubicBezTo>
                                                                                      <a:cubicBezTo>
                                                                                        <a:pt x="116307" y="78506"/>
                                                                                        <a:pt x="111319" y="78194"/>
                                                                                        <a:pt x="107343" y="79519"/>
                                                                                      </a:cubicBezTo>
                                                                                      <a:cubicBezTo>
                                                                                        <a:pt x="88134" y="98726"/>
                                                                                        <a:pt x="112553" y="75349"/>
                                                                                        <a:pt x="87464" y="95421"/>
                                                                                      </a:cubicBezTo>
                                                                                      <a:cubicBezTo>
                                                                                        <a:pt x="59140" y="118081"/>
                                                                                        <a:pt x="104295" y="86852"/>
                                                                                        <a:pt x="67586" y="111324"/>
                                                                                      </a:cubicBezTo>
                                                                                      <a:cubicBezTo>
                                                                                        <a:pt x="64936" y="119275"/>
                                                                                        <a:pt x="66609" y="130529"/>
                                                                                        <a:pt x="59635" y="135178"/>
                                                                                      </a:cubicBezTo>
                                                                                      <a:lnTo>
                                                                                        <a:pt x="35781" y="151080"/>
                                                                                      </a:lnTo>
                                                                                      <a:cubicBezTo>
                                                                                        <a:pt x="34456" y="155056"/>
                                                                                        <a:pt x="34319" y="159654"/>
                                                                                        <a:pt x="31805" y="163007"/>
                                                                                      </a:cubicBezTo>
                                                                                      <a:cubicBezTo>
                                                                                        <a:pt x="26183" y="170504"/>
                                                                                        <a:pt x="11927" y="182886"/>
                                                                                        <a:pt x="11927" y="182886"/>
                                                                                      </a:cubicBezTo>
                                                                                      <a:cubicBezTo>
                                                                                        <a:pt x="-653" y="220626"/>
                                                                                        <a:pt x="4735" y="198392"/>
                                                                                        <a:pt x="0" y="250472"/>
                                                                                      </a:cubicBezTo>
                                                                                      <a:cubicBezTo>
                                                                                        <a:pt x="3976" y="251797"/>
                                                                                        <a:pt x="8036" y="256004"/>
                                                                                        <a:pt x="11927" y="254447"/>
                                                                                      </a:cubicBezTo>
                                                                                      <a:cubicBezTo>
                                                                                        <a:pt x="16363" y="252672"/>
                                                                                        <a:pt x="17741" y="246794"/>
                                                                                        <a:pt x="19878" y="242520"/>
                                                                                      </a:cubicBezTo>
                                                                                      <a:cubicBezTo>
                                                                                        <a:pt x="23619" y="235038"/>
                                                                                        <a:pt x="23520" y="223844"/>
                                                                                        <a:pt x="31805" y="218666"/>
                                                                                      </a:cubicBezTo>
                                                                                      <a:cubicBezTo>
                                                                                        <a:pt x="38912" y="214224"/>
                                                                                        <a:pt x="55659" y="210715"/>
                                                                                        <a:pt x="55659" y="210715"/>
                                                                                      </a:cubicBezTo>
                                                                                      <a:cubicBezTo>
                                                                                        <a:pt x="83069" y="219851"/>
                                                                                        <a:pt x="73587" y="212739"/>
                                                                                        <a:pt x="87464" y="226618"/>
                                                                                      </a:cubicBezTo>
                                                                                      <a:cubicBezTo>
                                                                                        <a:pt x="88789" y="230594"/>
                                                                                        <a:pt x="92765" y="234569"/>
                                                                                        <a:pt x="91440" y="238545"/>
                                                                                      </a:cubicBezTo>
                                                                                      <a:cubicBezTo>
                                                                                        <a:pt x="88418" y="247611"/>
                                                                                        <a:pt x="78560" y="253333"/>
                                                                                        <a:pt x="75538" y="262399"/>
                                                                                      </a:cubicBezTo>
                                                                                      <a:lnTo>
                                                                                        <a:pt x="71562" y="274326"/>
                                                                                      </a:lnTo>
                                                                                      <a:cubicBezTo>
                                                                                        <a:pt x="75538" y="276976"/>
                                                                                        <a:pt x="79215" y="280140"/>
                                                                                        <a:pt x="83489" y="282277"/>
                                                                                      </a:cubicBezTo>
                                                                                      <a:cubicBezTo>
                                                                                        <a:pt x="87237" y="284151"/>
                                                                                        <a:pt x="92144" y="283635"/>
                                                                                        <a:pt x="95416" y="286253"/>
                                                                                      </a:cubicBezTo>
                                                                                      <a:cubicBezTo>
                                                                                        <a:pt x="99147" y="289238"/>
                                                                                        <a:pt x="100717" y="294204"/>
                                                                                        <a:pt x="103367" y="298179"/>
                                                                                      </a:cubicBezTo>
                                                                                      <a:cubicBezTo>
                                                                                        <a:pt x="102042" y="306130"/>
                                                                                        <a:pt x="97177" y="314282"/>
                                                                                        <a:pt x="99391" y="322033"/>
                                                                                      </a:cubicBezTo>
                                                                                      <a:cubicBezTo>
                                                                                        <a:pt x="100542" y="326063"/>
                                                                                        <a:pt x="107127" y="326009"/>
                                                                                        <a:pt x="111318" y="326009"/>
                                                                                      </a:cubicBezTo>
                                                                                      <a:cubicBezTo>
                                                                                        <a:pt x="116782" y="326009"/>
                                                                                        <a:pt x="121987" y="323603"/>
                                                                                        <a:pt x="127221" y="322033"/>
                                                                                      </a:cubicBezTo>
                                                                                      <a:cubicBezTo>
                                                                                        <a:pt x="153028" y="314291"/>
                                                                                        <a:pt x="145572" y="317751"/>
                                                                                        <a:pt x="163002" y="306131"/>
                                                                                      </a:cubicBezTo>
                                                                                      <a:cubicBezTo>
                                                                                        <a:pt x="166978" y="307456"/>
                                                                                        <a:pt x="171336" y="307950"/>
                                                                                        <a:pt x="174929" y="310106"/>
                                                                                      </a:cubicBezTo>
                                                                                      <a:cubicBezTo>
                                                                                        <a:pt x="178143" y="312035"/>
                                                                                        <a:pt x="179953" y="315716"/>
                                                                                        <a:pt x="182880" y="318058"/>
                                                                                      </a:cubicBezTo>
                                                                                      <a:cubicBezTo>
                                                                                        <a:pt x="186611" y="321043"/>
                                                                                        <a:pt x="190831" y="323359"/>
                                                                                        <a:pt x="194807" y="326009"/>
                                                                                      </a:cubicBezTo>
                                                                                      <a:cubicBezTo>
                                                                                        <a:pt x="201433" y="324684"/>
                                                                                        <a:pt x="208891" y="325510"/>
                                                                                        <a:pt x="214685" y="322033"/>
                                                                                      </a:cubicBezTo>
                                                                                      <a:cubicBezTo>
                                                                                        <a:pt x="222720" y="317212"/>
                                                                                        <a:pt x="226767" y="307353"/>
                                                                                        <a:pt x="234564" y="302155"/>
                                                                                      </a:cubicBezTo>
                                                                                      <a:cubicBezTo>
                                                                                        <a:pt x="249978" y="291879"/>
                                                                                        <a:pt x="241958" y="295715"/>
                                                                                        <a:pt x="258418" y="290228"/>
                                                                                      </a:cubicBezTo>
                                                                                      <a:cubicBezTo>
                                                                                        <a:pt x="259785" y="279294"/>
                                                                                        <a:pt x="254935" y="252895"/>
                                                                                        <a:pt x="274320" y="250472"/>
                                                                                      </a:cubicBezTo>
                                                                                      <a:cubicBezTo>
                                                                                        <a:pt x="281025" y="249634"/>
                                                                                        <a:pt x="287572" y="253122"/>
                                                                                        <a:pt x="294198" y="254447"/>
                                                                                      </a:cubicBezTo>
                                                                                      <a:cubicBezTo>
                                                                                        <a:pt x="295523" y="263724"/>
                                                                                        <a:pt x="293983" y="273895"/>
                                                                                        <a:pt x="298174" y="282277"/>
                                                                                      </a:cubicBezTo>
                                                                                      <a:cubicBezTo>
                                                                                        <a:pt x="300048" y="286025"/>
                                                                                        <a:pt x="306829" y="283635"/>
                                                                                        <a:pt x="310101" y="286253"/>
                                                                                      </a:cubicBezTo>
                                                                                      <a:cubicBezTo>
                                                                                        <a:pt x="313832" y="289238"/>
                                                                                        <a:pt x="315915" y="293906"/>
                                                                                        <a:pt x="318052" y="298179"/>
                                                                                      </a:cubicBezTo>
                                                                                      <a:cubicBezTo>
                                                                                        <a:pt x="322596" y="307267"/>
                                                                                        <a:pt x="323736" y="320911"/>
                                                                                        <a:pt x="326004" y="329985"/>
                                                                                      </a:cubicBezTo>
                                                                                      <a:cubicBezTo>
                                                                                        <a:pt x="327020" y="334051"/>
                                                                                        <a:pt x="327823" y="338319"/>
                                                                                        <a:pt x="329979" y="341912"/>
                                                                                      </a:cubicBezTo>
                                                                                      <a:cubicBezTo>
                                                                                        <a:pt x="333755" y="348205"/>
                                                                                        <a:pt x="344443" y="354204"/>
                                                                                        <a:pt x="349858" y="357814"/>
                                                                                      </a:cubicBezTo>
                                                                                      <a:cubicBezTo>
                                                                                        <a:pt x="351183" y="353838"/>
                                                                                        <a:pt x="352924" y="349978"/>
                                                                                        <a:pt x="353833" y="345887"/>
                                                                                      </a:cubicBezTo>
                                                                                      <a:cubicBezTo>
                                                                                        <a:pt x="355582" y="338018"/>
                                                                                        <a:pt x="353186" y="328637"/>
                                                                                        <a:pt x="357809" y="322033"/>
                                                                                      </a:cubicBezTo>
                                                                                      <a:cubicBezTo>
                                                                                        <a:pt x="363289" y="314204"/>
                                                                                        <a:pt x="374906" y="312889"/>
                                                                                        <a:pt x="381663" y="306131"/>
                                                                                      </a:cubicBezTo>
                                                                                      <a:lnTo>
                                                                                        <a:pt x="389614" y="298179"/>
                                                                                      </a:lnTo>
                                                                                      <a:cubicBezTo>
                                                                                        <a:pt x="390939" y="294204"/>
                                                                                        <a:pt x="392681" y="290344"/>
                                                                                        <a:pt x="393590" y="286253"/>
                                                                                      </a:cubicBezTo>
                                                                                      <a:cubicBezTo>
                                                                                        <a:pt x="395339" y="278384"/>
                                                                                        <a:pt x="392530" y="268694"/>
                                                                                        <a:pt x="397565" y="262399"/>
                                                                                      </a:cubicBezTo>
                                                                                      <a:cubicBezTo>
                                                                                        <a:pt x="400183" y="259127"/>
                                                                                        <a:pt x="405516" y="265049"/>
                                                                                        <a:pt x="409492" y="266374"/>
                                                                                      </a:cubicBezTo>
                                                                                      <a:cubicBezTo>
                                                                                        <a:pt x="412143" y="269025"/>
                                                                                        <a:pt x="415515" y="271112"/>
                                                                                        <a:pt x="417444" y="274326"/>
                                                                                      </a:cubicBezTo>
                                                                                      <a:cubicBezTo>
                                                                                        <a:pt x="434063" y="302025"/>
                                                                                        <a:pt x="388308" y="283494"/>
                                                                                        <a:pt x="469127" y="290228"/>
                                                                                      </a:cubicBezTo>
                                                                                      <a:cubicBezTo>
                                                                                        <a:pt x="471777" y="294204"/>
                                                                                        <a:pt x="474941" y="297881"/>
                                                                                        <a:pt x="477078" y="302155"/>
                                                                                      </a:cubicBezTo>
                                                                                      <a:cubicBezTo>
                                                                                        <a:pt x="478952" y="305903"/>
                                                                                        <a:pt x="477306" y="312208"/>
                                                                                        <a:pt x="481054" y="314082"/>
                                                                                      </a:cubicBezTo>
                                                                                      <a:cubicBezTo>
                                                                                        <a:pt x="484802" y="315956"/>
                                                                                        <a:pt x="489005" y="311431"/>
                                                                                        <a:pt x="492981" y="310106"/>
                                                                                      </a:cubicBezTo>
                                                                                      <a:cubicBezTo>
                                                                                        <a:pt x="490269" y="291124"/>
                                                                                        <a:pt x="482252" y="266817"/>
                                                                                        <a:pt x="500932" y="250472"/>
                                                                                      </a:cubicBezTo>
                                                                                      <a:cubicBezTo>
                                                                                        <a:pt x="503580" y="248155"/>
                                                                                        <a:pt x="527635" y="256722"/>
                                                                                        <a:pt x="532738" y="258423"/>
                                                                                      </a:cubicBezTo>
                                                                                      <a:cubicBezTo>
                                                                                        <a:pt x="534063" y="254447"/>
                                                                                        <a:pt x="535804" y="250587"/>
                                                                                        <a:pt x="536713" y="246496"/>
                                                                                      </a:cubicBezTo>
                                                                                      <a:cubicBezTo>
                                                                                        <a:pt x="538462" y="238627"/>
                                                                                        <a:pt x="538140" y="230289"/>
                                                                                        <a:pt x="540689" y="222642"/>
                                                                                      </a:cubicBezTo>
                                                                                      <a:cubicBezTo>
                                                                                        <a:pt x="542200" y="218109"/>
                                                                                        <a:pt x="545990" y="214691"/>
                                                                                        <a:pt x="548640" y="210715"/>
                                                                                      </a:cubicBezTo>
                                                                                      <a:cubicBezTo>
                                                                                        <a:pt x="545782" y="199283"/>
                                                                                        <a:pt x="547137" y="193115"/>
                                                                                        <a:pt x="536713" y="186861"/>
                                                                                      </a:cubicBezTo>
                                                                                      <a:cubicBezTo>
                                                                                        <a:pt x="533120" y="184705"/>
                                                                                        <a:pt x="528762" y="184211"/>
                                                                                        <a:pt x="524786" y="182886"/>
                                                                                      </a:cubicBezTo>
                                                                                      <a:cubicBezTo>
                                                                                        <a:pt x="477077" y="198788"/>
                                                                                        <a:pt x="513521" y="195475"/>
                                                                                        <a:pt x="496957" y="178910"/>
                                                                                      </a:cubicBezTo>
                                                                                      <a:cubicBezTo>
                                                                                        <a:pt x="493994" y="175947"/>
                                                                                        <a:pt x="489006" y="176259"/>
                                                                                        <a:pt x="485030" y="174934"/>
                                                                                      </a:cubicBezTo>
                                                                                      <a:cubicBezTo>
                                                                                        <a:pt x="484019" y="171902"/>
                                                                                        <a:pt x="476909" y="143600"/>
                                                                                        <a:pt x="469127" y="139153"/>
                                                                                      </a:cubicBezTo>
                                                                                      <a:cubicBezTo>
                                                                                        <a:pt x="463260" y="135801"/>
                                                                                        <a:pt x="455875" y="136503"/>
                                                                                        <a:pt x="449249" y="135178"/>
                                                                                      </a:cubicBezTo>
                                                                                      <a:cubicBezTo>
                                                                                        <a:pt x="446599" y="132527"/>
                                                                                        <a:pt x="442033" y="130902"/>
                                                                                        <a:pt x="441298" y="127226"/>
                                                                                      </a:cubicBezTo>
                                                                                      <a:cubicBezTo>
                                                                                        <a:pt x="439380" y="117635"/>
                                                                                        <a:pt x="452601" y="107972"/>
                                                                                        <a:pt x="457200" y="103373"/>
                                                                                      </a:cubicBezTo>
                                                                                      <a:cubicBezTo>
                                                                                        <a:pt x="458525" y="99397"/>
                                                                                        <a:pt x="461176" y="95637"/>
                                                                                        <a:pt x="461176" y="91446"/>
                                                                                      </a:cubicBezTo>
                                                                                      <a:cubicBezTo>
                                                                                        <a:pt x="461176" y="79365"/>
                                                                                        <a:pt x="455547" y="79440"/>
                                                                                        <a:pt x="449249" y="71567"/>
                                                                                      </a:cubicBezTo>
                                                                                      <a:cubicBezTo>
                                                                                        <a:pt x="446264" y="67836"/>
                                                                                        <a:pt x="444283" y="63371"/>
                                                                                        <a:pt x="441298" y="59640"/>
                                                                                      </a:cubicBezTo>
                                                                                      <a:cubicBezTo>
                                                                                        <a:pt x="438956" y="56713"/>
                                                                                        <a:pt x="435688" y="54616"/>
                                                                                        <a:pt x="433346" y="51689"/>
                                                                                      </a:cubicBezTo>
                                                                                      <a:cubicBezTo>
                                                                                        <a:pt x="430361" y="47958"/>
                                                                                        <a:pt x="429126" y="42747"/>
                                                                                        <a:pt x="425395" y="39762"/>
                                                                                      </a:cubicBezTo>
                                                                                      <a:cubicBezTo>
                                                                                        <a:pt x="422123" y="37144"/>
                                                                                        <a:pt x="417444" y="37111"/>
                                                                                        <a:pt x="413468" y="35786"/>
                                                                                      </a:cubicBezTo>
                                                                                      <a:cubicBezTo>
                                                                                        <a:pt x="410818" y="31810"/>
                                                                                        <a:pt x="409248" y="26844"/>
                                                                                        <a:pt x="405517" y="23859"/>
                                                                                      </a:cubicBezTo>
                                                                                      <a:cubicBezTo>
                                                                                        <a:pt x="402245" y="21241"/>
                                                                                        <a:pt x="397656" y="20900"/>
                                                                                        <a:pt x="393590" y="19884"/>
                                                                                      </a:cubicBezTo>
                                                                                      <a:lnTo>
                                                                                        <a:pt x="361784" y="11933"/>
                                                                                      </a:lnTo>
                                                                                      <a:cubicBezTo>
                                                                                        <a:pt x="359134" y="9282"/>
                                                                                        <a:pt x="357047" y="5910"/>
                                                                                        <a:pt x="353833" y="3981"/>
                                                                                      </a:cubicBezTo>
                                                                                      <a:cubicBezTo>
                                                                                        <a:pt x="342092" y="-3064"/>
                                                                                        <a:pt x="338971" y="740"/>
                                                                                        <a:pt x="326004" y="3981"/>
                                                                                      </a:cubicBezTo>
                                                                                      <a:cubicBezTo>
                                                                                        <a:pt x="324679" y="7957"/>
                                                                                        <a:pt x="324646" y="12636"/>
                                                                                        <a:pt x="322028" y="15908"/>
                                                                                      </a:cubicBezTo>
                                                                                      <a:cubicBezTo>
                                                                                        <a:pt x="316423" y="22913"/>
                                                                                        <a:pt x="306030" y="25216"/>
                                                                                        <a:pt x="298174" y="27835"/>
                                                                                      </a:cubicBezTo>
                                                                                      <a:cubicBezTo>
                                                                                        <a:pt x="233250" y="23506"/>
                                                                                        <a:pt x="235226" y="24522"/>
                                                                                        <a:pt x="222637" y="23859"/>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84" name="Group 283"/>
                                                                              <p:cNvGrpSpPr/>
                                                                              <p:nvPr/>
                                                                            </p:nvGrpSpPr>
                                                                            <p:grpSpPr>
                                                                              <a:xfrm>
                                                                                <a:off x="2647649" y="3668862"/>
                                                                                <a:ext cx="397701" cy="398230"/>
                                                                                <a:chOff x="2647649" y="3668862"/>
                                                                                <a:chExt cx="397701" cy="398230"/>
                                                                              </a:xfrm>
                                                                              <a:grpFill/>
                                                                            </p:grpSpPr>
                                                                            <p:sp>
                                                                              <p:nvSpPr>
                                                                                <p:cNvPr id="285" name="Freeform 284"/>
                                                                                <p:cNvSpPr/>
                                                                                <p:nvPr/>
                                                                              </p:nvSpPr>
                                                                              <p:spPr>
                                                                                <a:xfrm>
                                                                                  <a:off x="2647649" y="3668862"/>
                                                                                  <a:ext cx="397701" cy="386303"/>
                                                                                </a:xfrm>
                                                                                <a:custGeom>
                                                                                  <a:avLst/>
                                                                                  <a:gdLst>
                                                                                    <a:gd name="connsiteX0" fmla="*/ 4111 w 397701"/>
                                                                                    <a:gd name="connsiteY0" fmla="*/ 12592 h 386303"/>
                                                                                    <a:gd name="connsiteX1" fmla="*/ 4111 w 397701"/>
                                                                                    <a:gd name="connsiteY1" fmla="*/ 12592 h 386303"/>
                                                                                    <a:gd name="connsiteX2" fmla="*/ 4111 w 397701"/>
                                                                                    <a:gd name="connsiteY2" fmla="*/ 80178 h 386303"/>
                                                                                    <a:gd name="connsiteX3" fmla="*/ 12062 w 397701"/>
                                                                                    <a:gd name="connsiteY3" fmla="*/ 92105 h 386303"/>
                                                                                    <a:gd name="connsiteX4" fmla="*/ 23989 w 397701"/>
                                                                                    <a:gd name="connsiteY4" fmla="*/ 96081 h 386303"/>
                                                                                    <a:gd name="connsiteX5" fmla="*/ 63746 w 397701"/>
                                                                                    <a:gd name="connsiteY5" fmla="*/ 96081 h 386303"/>
                                                                                    <a:gd name="connsiteX6" fmla="*/ 67721 w 397701"/>
                                                                                    <a:gd name="connsiteY6" fmla="*/ 108008 h 386303"/>
                                                                                    <a:gd name="connsiteX7" fmla="*/ 71697 w 397701"/>
                                                                                    <a:gd name="connsiteY7" fmla="*/ 135837 h 386303"/>
                                                                                    <a:gd name="connsiteX8" fmla="*/ 79648 w 397701"/>
                                                                                    <a:gd name="connsiteY8" fmla="*/ 147764 h 386303"/>
                                                                                    <a:gd name="connsiteX9" fmla="*/ 87600 w 397701"/>
                                                                                    <a:gd name="connsiteY9" fmla="*/ 171618 h 386303"/>
                                                                                    <a:gd name="connsiteX10" fmla="*/ 99527 w 397701"/>
                                                                                    <a:gd name="connsiteY10" fmla="*/ 191496 h 386303"/>
                                                                                    <a:gd name="connsiteX11" fmla="*/ 143259 w 397701"/>
                                                                                    <a:gd name="connsiteY11" fmla="*/ 203423 h 386303"/>
                                                                                    <a:gd name="connsiteX12" fmla="*/ 147234 w 397701"/>
                                                                                    <a:gd name="connsiteY12" fmla="*/ 215350 h 386303"/>
                                                                                    <a:gd name="connsiteX13" fmla="*/ 135308 w 397701"/>
                                                                                    <a:gd name="connsiteY13" fmla="*/ 239204 h 386303"/>
                                                                                    <a:gd name="connsiteX14" fmla="*/ 139283 w 397701"/>
                                                                                    <a:gd name="connsiteY14" fmla="*/ 255107 h 386303"/>
                                                                                    <a:gd name="connsiteX15" fmla="*/ 163137 w 397701"/>
                                                                                    <a:gd name="connsiteY15" fmla="*/ 274985 h 386303"/>
                                                                                    <a:gd name="connsiteX16" fmla="*/ 190967 w 397701"/>
                                                                                    <a:gd name="connsiteY16" fmla="*/ 271009 h 386303"/>
                                                                                    <a:gd name="connsiteX17" fmla="*/ 198918 w 397701"/>
                                                                                    <a:gd name="connsiteY17" fmla="*/ 259082 h 386303"/>
                                                                                    <a:gd name="connsiteX18" fmla="*/ 210845 w 397701"/>
                                                                                    <a:gd name="connsiteY18" fmla="*/ 251131 h 386303"/>
                                                                                    <a:gd name="connsiteX19" fmla="*/ 226748 w 397701"/>
                                                                                    <a:gd name="connsiteY19" fmla="*/ 314741 h 386303"/>
                                                                                    <a:gd name="connsiteX20" fmla="*/ 242650 w 397701"/>
                                                                                    <a:gd name="connsiteY20" fmla="*/ 346547 h 386303"/>
                                                                                    <a:gd name="connsiteX21" fmla="*/ 254577 w 397701"/>
                                                                                    <a:gd name="connsiteY21" fmla="*/ 354498 h 386303"/>
                                                                                    <a:gd name="connsiteX22" fmla="*/ 278431 w 397701"/>
                                                                                    <a:gd name="connsiteY22" fmla="*/ 382328 h 386303"/>
                                                                                    <a:gd name="connsiteX23" fmla="*/ 290358 w 397701"/>
                                                                                    <a:gd name="connsiteY23" fmla="*/ 386303 h 386303"/>
                                                                                    <a:gd name="connsiteX24" fmla="*/ 318188 w 397701"/>
                                                                                    <a:gd name="connsiteY24" fmla="*/ 374376 h 386303"/>
                                                                                    <a:gd name="connsiteX25" fmla="*/ 322163 w 397701"/>
                                                                                    <a:gd name="connsiteY25" fmla="*/ 362449 h 386303"/>
                                                                                    <a:gd name="connsiteX26" fmla="*/ 326139 w 397701"/>
                                                                                    <a:gd name="connsiteY26" fmla="*/ 318717 h 386303"/>
                                                                                    <a:gd name="connsiteX27" fmla="*/ 334090 w 397701"/>
                                                                                    <a:gd name="connsiteY27" fmla="*/ 306790 h 386303"/>
                                                                                    <a:gd name="connsiteX28" fmla="*/ 338066 w 397701"/>
                                                                                    <a:gd name="connsiteY28" fmla="*/ 294863 h 386303"/>
                                                                                    <a:gd name="connsiteX29" fmla="*/ 353968 w 397701"/>
                                                                                    <a:gd name="connsiteY29" fmla="*/ 298839 h 386303"/>
                                                                                    <a:gd name="connsiteX30" fmla="*/ 377822 w 397701"/>
                                                                                    <a:gd name="connsiteY30" fmla="*/ 282936 h 386303"/>
                                                                                    <a:gd name="connsiteX31" fmla="*/ 381798 w 397701"/>
                                                                                    <a:gd name="connsiteY31" fmla="*/ 271009 h 386303"/>
                                                                                    <a:gd name="connsiteX32" fmla="*/ 393725 w 397701"/>
                                                                                    <a:gd name="connsiteY32" fmla="*/ 263058 h 386303"/>
                                                                                    <a:gd name="connsiteX33" fmla="*/ 397701 w 397701"/>
                                                                                    <a:gd name="connsiteY33" fmla="*/ 251131 h 386303"/>
                                                                                    <a:gd name="connsiteX34" fmla="*/ 389749 w 397701"/>
                                                                                    <a:gd name="connsiteY34" fmla="*/ 223301 h 386303"/>
                                                                                    <a:gd name="connsiteX35" fmla="*/ 385774 w 397701"/>
                                                                                    <a:gd name="connsiteY35" fmla="*/ 183545 h 386303"/>
                                                                                    <a:gd name="connsiteX36" fmla="*/ 381798 w 397701"/>
                                                                                    <a:gd name="connsiteY36" fmla="*/ 171618 h 386303"/>
                                                                                    <a:gd name="connsiteX37" fmla="*/ 369871 w 397701"/>
                                                                                    <a:gd name="connsiteY37" fmla="*/ 163667 h 386303"/>
                                                                                    <a:gd name="connsiteX38" fmla="*/ 349993 w 397701"/>
                                                                                    <a:gd name="connsiteY38" fmla="*/ 151740 h 386303"/>
                                                                                    <a:gd name="connsiteX39" fmla="*/ 346017 w 397701"/>
                                                                                    <a:gd name="connsiteY39" fmla="*/ 139813 h 386303"/>
                                                                                    <a:gd name="connsiteX40" fmla="*/ 361920 w 397701"/>
                                                                                    <a:gd name="connsiteY40" fmla="*/ 119935 h 386303"/>
                                                                                    <a:gd name="connsiteX41" fmla="*/ 369871 w 397701"/>
                                                                                    <a:gd name="connsiteY41" fmla="*/ 96081 h 386303"/>
                                                                                    <a:gd name="connsiteX42" fmla="*/ 373847 w 397701"/>
                                                                                    <a:gd name="connsiteY42" fmla="*/ 84154 h 386303"/>
                                                                                    <a:gd name="connsiteX43" fmla="*/ 369871 w 397701"/>
                                                                                    <a:gd name="connsiteY43" fmla="*/ 64275 h 386303"/>
                                                                                    <a:gd name="connsiteX44" fmla="*/ 346017 w 397701"/>
                                                                                    <a:gd name="connsiteY44" fmla="*/ 56324 h 386303"/>
                                                                                    <a:gd name="connsiteX45" fmla="*/ 322163 w 397701"/>
                                                                                    <a:gd name="connsiteY45" fmla="*/ 48373 h 386303"/>
                                                                                    <a:gd name="connsiteX46" fmla="*/ 310236 w 397701"/>
                                                                                    <a:gd name="connsiteY46" fmla="*/ 44397 h 386303"/>
                                                                                    <a:gd name="connsiteX47" fmla="*/ 286382 w 397701"/>
                                                                                    <a:gd name="connsiteY47" fmla="*/ 32470 h 386303"/>
                                                                                    <a:gd name="connsiteX48" fmla="*/ 278431 w 397701"/>
                                                                                    <a:gd name="connsiteY48" fmla="*/ 20543 h 386303"/>
                                                                                    <a:gd name="connsiteX49" fmla="*/ 210845 w 397701"/>
                                                                                    <a:gd name="connsiteY49" fmla="*/ 16568 h 386303"/>
                                                                                    <a:gd name="connsiteX50" fmla="*/ 186991 w 397701"/>
                                                                                    <a:gd name="connsiteY50" fmla="*/ 24519 h 386303"/>
                                                                                    <a:gd name="connsiteX51" fmla="*/ 163137 w 397701"/>
                                                                                    <a:gd name="connsiteY51" fmla="*/ 36446 h 386303"/>
                                                                                    <a:gd name="connsiteX52" fmla="*/ 139283 w 397701"/>
                                                                                    <a:gd name="connsiteY52" fmla="*/ 32470 h 386303"/>
                                                                                    <a:gd name="connsiteX53" fmla="*/ 131332 w 397701"/>
                                                                                    <a:gd name="connsiteY53" fmla="*/ 20543 h 386303"/>
                                                                                    <a:gd name="connsiteX54" fmla="*/ 103502 w 397701"/>
                                                                                    <a:gd name="connsiteY54" fmla="*/ 12592 h 386303"/>
                                                                                    <a:gd name="connsiteX55" fmla="*/ 99527 w 397701"/>
                                                                                    <a:gd name="connsiteY55" fmla="*/ 665 h 386303"/>
                                                                                    <a:gd name="connsiteX56" fmla="*/ 63746 w 397701"/>
                                                                                    <a:gd name="connsiteY56" fmla="*/ 4641 h 386303"/>
                                                                                    <a:gd name="connsiteX57" fmla="*/ 35916 w 397701"/>
                                                                                    <a:gd name="connsiteY57" fmla="*/ 12592 h 386303"/>
                                                                                    <a:gd name="connsiteX58" fmla="*/ 20014 w 397701"/>
                                                                                    <a:gd name="connsiteY58" fmla="*/ 16568 h 386303"/>
                                                                                    <a:gd name="connsiteX59" fmla="*/ 12062 w 397701"/>
                                                                                    <a:gd name="connsiteY59" fmla="*/ 24519 h 386303"/>
                                                                                    <a:gd name="connsiteX60" fmla="*/ 4111 w 397701"/>
                                                                                    <a:gd name="connsiteY60" fmla="*/ 12592 h 38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97701" h="386303">
                                                                                      <a:moveTo>
                                                                                        <a:pt x="4111" y="12592"/>
                                                                                      </a:moveTo>
                                                                                      <a:lnTo>
                                                                                        <a:pt x="4111" y="12592"/>
                                                                                      </a:lnTo>
                                                                                      <a:cubicBezTo>
                                                                                        <a:pt x="2243" y="35004"/>
                                                                                        <a:pt x="-4125" y="58215"/>
                                                                                        <a:pt x="4111" y="80178"/>
                                                                                      </a:cubicBezTo>
                                                                                      <a:cubicBezTo>
                                                                                        <a:pt x="5789" y="84652"/>
                                                                                        <a:pt x="8331" y="89120"/>
                                                                                        <a:pt x="12062" y="92105"/>
                                                                                      </a:cubicBezTo>
                                                                                      <a:cubicBezTo>
                                                                                        <a:pt x="15334" y="94723"/>
                                                                                        <a:pt x="20013" y="94756"/>
                                                                                        <a:pt x="23989" y="96081"/>
                                                                                      </a:cubicBezTo>
                                                                                      <a:cubicBezTo>
                                                                                        <a:pt x="36222" y="93634"/>
                                                                                        <a:pt x="51513" y="87925"/>
                                                                                        <a:pt x="63746" y="96081"/>
                                                                                      </a:cubicBezTo>
                                                                                      <a:cubicBezTo>
                                                                                        <a:pt x="67233" y="98406"/>
                                                                                        <a:pt x="66396" y="104032"/>
                                                                                        <a:pt x="67721" y="108008"/>
                                                                                      </a:cubicBezTo>
                                                                                      <a:cubicBezTo>
                                                                                        <a:pt x="69046" y="117284"/>
                                                                                        <a:pt x="69004" y="126862"/>
                                                                                        <a:pt x="71697" y="135837"/>
                                                                                      </a:cubicBezTo>
                                                                                      <a:cubicBezTo>
                                                                                        <a:pt x="73070" y="140414"/>
                                                                                        <a:pt x="77707" y="143398"/>
                                                                                        <a:pt x="79648" y="147764"/>
                                                                                      </a:cubicBezTo>
                                                                                      <a:cubicBezTo>
                                                                                        <a:pt x="83052" y="155423"/>
                                                                                        <a:pt x="84950" y="163667"/>
                                                                                        <a:pt x="87600" y="171618"/>
                                                                                      </a:cubicBezTo>
                                                                                      <a:cubicBezTo>
                                                                                        <a:pt x="90321" y="179781"/>
                                                                                        <a:pt x="90793" y="187129"/>
                                                                                        <a:pt x="99527" y="191496"/>
                                                                                      </a:cubicBezTo>
                                                                                      <a:cubicBezTo>
                                                                                        <a:pt x="112982" y="198224"/>
                                                                                        <a:pt x="128714" y="200514"/>
                                                                                        <a:pt x="143259" y="203423"/>
                                                                                      </a:cubicBezTo>
                                                                                      <a:cubicBezTo>
                                                                                        <a:pt x="144584" y="207399"/>
                                                                                        <a:pt x="147234" y="211159"/>
                                                                                        <a:pt x="147234" y="215350"/>
                                                                                      </a:cubicBezTo>
                                                                                      <a:cubicBezTo>
                                                                                        <a:pt x="147234" y="223581"/>
                                                                                        <a:pt x="139329" y="233173"/>
                                                                                        <a:pt x="135308" y="239204"/>
                                                                                      </a:cubicBezTo>
                                                                                      <a:cubicBezTo>
                                                                                        <a:pt x="136633" y="244505"/>
                                                                                        <a:pt x="136572" y="250363"/>
                                                                                        <a:pt x="139283" y="255107"/>
                                                                                      </a:cubicBezTo>
                                                                                      <a:cubicBezTo>
                                                                                        <a:pt x="143992" y="263349"/>
                                                                                        <a:pt x="155537" y="269918"/>
                                                                                        <a:pt x="163137" y="274985"/>
                                                                                      </a:cubicBezTo>
                                                                                      <a:cubicBezTo>
                                                                                        <a:pt x="172414" y="273660"/>
                                                                                        <a:pt x="182404" y="274815"/>
                                                                                        <a:pt x="190967" y="271009"/>
                                                                                      </a:cubicBezTo>
                                                                                      <a:cubicBezTo>
                                                                                        <a:pt x="195333" y="269068"/>
                                                                                        <a:pt x="195539" y="262461"/>
                                                                                        <a:pt x="198918" y="259082"/>
                                                                                      </a:cubicBezTo>
                                                                                      <a:cubicBezTo>
                                                                                        <a:pt x="202297" y="255703"/>
                                                                                        <a:pt x="206869" y="253781"/>
                                                                                        <a:pt x="210845" y="251131"/>
                                                                                      </a:cubicBezTo>
                                                                                      <a:cubicBezTo>
                                                                                        <a:pt x="239604" y="270303"/>
                                                                                        <a:pt x="217157" y="250800"/>
                                                                                        <a:pt x="226748" y="314741"/>
                                                                                      </a:cubicBezTo>
                                                                                      <a:cubicBezTo>
                                                                                        <a:pt x="229116" y="330527"/>
                                                                                        <a:pt x="231800" y="337867"/>
                                                                                        <a:pt x="242650" y="346547"/>
                                                                                      </a:cubicBezTo>
                                                                                      <a:cubicBezTo>
                                                                                        <a:pt x="246381" y="349532"/>
                                                                                        <a:pt x="250601" y="351848"/>
                                                                                        <a:pt x="254577" y="354498"/>
                                                                                      </a:cubicBezTo>
                                                                                      <a:cubicBezTo>
                                                                                        <a:pt x="259664" y="362129"/>
                                                                                        <a:pt x="270167" y="379574"/>
                                                                                        <a:pt x="278431" y="382328"/>
                                                                                      </a:cubicBezTo>
                                                                                      <a:lnTo>
                                                                                        <a:pt x="290358" y="386303"/>
                                                                                      </a:lnTo>
                                                                                      <a:cubicBezTo>
                                                                                        <a:pt x="303481" y="383679"/>
                                                                                        <a:pt x="311244" y="385949"/>
                                                                                        <a:pt x="318188" y="374376"/>
                                                                                      </a:cubicBezTo>
                                                                                      <a:cubicBezTo>
                                                                                        <a:pt x="320344" y="370783"/>
                                                                                        <a:pt x="320838" y="366425"/>
                                                                                        <a:pt x="322163" y="362449"/>
                                                                                      </a:cubicBezTo>
                                                                                      <a:cubicBezTo>
                                                                                        <a:pt x="323488" y="347872"/>
                                                                                        <a:pt x="323072" y="333030"/>
                                                                                        <a:pt x="326139" y="318717"/>
                                                                                      </a:cubicBezTo>
                                                                                      <a:cubicBezTo>
                                                                                        <a:pt x="327140" y="314045"/>
                                                                                        <a:pt x="331953" y="311064"/>
                                                                                        <a:pt x="334090" y="306790"/>
                                                                                      </a:cubicBezTo>
                                                                                      <a:cubicBezTo>
                                                                                        <a:pt x="335964" y="303042"/>
                                                                                        <a:pt x="336741" y="298839"/>
                                                                                        <a:pt x="338066" y="294863"/>
                                                                                      </a:cubicBezTo>
                                                                                      <a:cubicBezTo>
                                                                                        <a:pt x="343367" y="296188"/>
                                                                                        <a:pt x="348504" y="298839"/>
                                                                                        <a:pt x="353968" y="298839"/>
                                                                                      </a:cubicBezTo>
                                                                                      <a:cubicBezTo>
                                                                                        <a:pt x="368800" y="298839"/>
                                                                                        <a:pt x="371830" y="294919"/>
                                                                                        <a:pt x="377822" y="282936"/>
                                                                                      </a:cubicBezTo>
                                                                                      <a:cubicBezTo>
                                                                                        <a:pt x="379696" y="279188"/>
                                                                                        <a:pt x="379180" y="274281"/>
                                                                                        <a:pt x="381798" y="271009"/>
                                                                                      </a:cubicBezTo>
                                                                                      <a:cubicBezTo>
                                                                                        <a:pt x="384783" y="267278"/>
                                                                                        <a:pt x="389749" y="265708"/>
                                                                                        <a:pt x="393725" y="263058"/>
                                                                                      </a:cubicBezTo>
                                                                                      <a:cubicBezTo>
                                                                                        <a:pt x="395050" y="259082"/>
                                                                                        <a:pt x="397701" y="255322"/>
                                                                                        <a:pt x="397701" y="251131"/>
                                                                                      </a:cubicBezTo>
                                                                                      <a:cubicBezTo>
                                                                                        <a:pt x="397701" y="246139"/>
                                                                                        <a:pt x="391624" y="228926"/>
                                                                                        <a:pt x="389749" y="223301"/>
                                                                                      </a:cubicBezTo>
                                                                                      <a:cubicBezTo>
                                                                                        <a:pt x="388424" y="210049"/>
                                                                                        <a:pt x="387799" y="196708"/>
                                                                                        <a:pt x="385774" y="183545"/>
                                                                                      </a:cubicBezTo>
                                                                                      <a:cubicBezTo>
                                                                                        <a:pt x="385137" y="179403"/>
                                                                                        <a:pt x="384416" y="174890"/>
                                                                                        <a:pt x="381798" y="171618"/>
                                                                                      </a:cubicBezTo>
                                                                                      <a:cubicBezTo>
                                                                                        <a:pt x="378813" y="167887"/>
                                                                                        <a:pt x="373602" y="166652"/>
                                                                                        <a:pt x="369871" y="163667"/>
                                                                                      </a:cubicBezTo>
                                                                                      <a:cubicBezTo>
                                                                                        <a:pt x="354278" y="151192"/>
                                                                                        <a:pt x="370707" y="158643"/>
                                                                                        <a:pt x="349993" y="151740"/>
                                                                                      </a:cubicBezTo>
                                                                                      <a:cubicBezTo>
                                                                                        <a:pt x="348668" y="147764"/>
                                                                                        <a:pt x="346017" y="144004"/>
                                                                                        <a:pt x="346017" y="139813"/>
                                                                                      </a:cubicBezTo>
                                                                                      <a:cubicBezTo>
                                                                                        <a:pt x="346017" y="127011"/>
                                                                                        <a:pt x="352762" y="126040"/>
                                                                                        <a:pt x="361920" y="119935"/>
                                                                                      </a:cubicBezTo>
                                                                                      <a:lnTo>
                                                                                        <a:pt x="369871" y="96081"/>
                                                                                      </a:lnTo>
                                                                                      <a:lnTo>
                                                                                        <a:pt x="373847" y="84154"/>
                                                                                      </a:lnTo>
                                                                                      <a:cubicBezTo>
                                                                                        <a:pt x="372522" y="77528"/>
                                                                                        <a:pt x="374649" y="69053"/>
                                                                                        <a:pt x="369871" y="64275"/>
                                                                                      </a:cubicBezTo>
                                                                                      <a:cubicBezTo>
                                                                                        <a:pt x="363944" y="58348"/>
                                                                                        <a:pt x="353968" y="58974"/>
                                                                                        <a:pt x="346017" y="56324"/>
                                                                                      </a:cubicBezTo>
                                                                                      <a:lnTo>
                                                                                        <a:pt x="322163" y="48373"/>
                                                                                      </a:lnTo>
                                                                                      <a:cubicBezTo>
                                                                                        <a:pt x="318187" y="47048"/>
                                                                                        <a:pt x="313723" y="46722"/>
                                                                                        <a:pt x="310236" y="44397"/>
                                                                                      </a:cubicBezTo>
                                                                                      <a:cubicBezTo>
                                                                                        <a:pt x="294822" y="34121"/>
                                                                                        <a:pt x="302842" y="37957"/>
                                                                                        <a:pt x="286382" y="32470"/>
                                                                                      </a:cubicBezTo>
                                                                                      <a:cubicBezTo>
                                                                                        <a:pt x="283732" y="28494"/>
                                                                                        <a:pt x="281810" y="23922"/>
                                                                                        <a:pt x="278431" y="20543"/>
                                                                                      </a:cubicBezTo>
                                                                                      <a:cubicBezTo>
                                                                                        <a:pt x="259554" y="1666"/>
                                                                                        <a:pt x="238079" y="14623"/>
                                                                                        <a:pt x="210845" y="16568"/>
                                                                                      </a:cubicBezTo>
                                                                                      <a:cubicBezTo>
                                                                                        <a:pt x="202894" y="19218"/>
                                                                                        <a:pt x="193965" y="19870"/>
                                                                                        <a:pt x="186991" y="24519"/>
                                                                                      </a:cubicBezTo>
                                                                                      <a:cubicBezTo>
                                                                                        <a:pt x="171577" y="34795"/>
                                                                                        <a:pt x="179597" y="30959"/>
                                                                                        <a:pt x="163137" y="36446"/>
                                                                                      </a:cubicBezTo>
                                                                                      <a:cubicBezTo>
                                                                                        <a:pt x="155186" y="35121"/>
                                                                                        <a:pt x="146493" y="36075"/>
                                                                                        <a:pt x="139283" y="32470"/>
                                                                                      </a:cubicBezTo>
                                                                                      <a:cubicBezTo>
                                                                                        <a:pt x="135009" y="30333"/>
                                                                                        <a:pt x="135063" y="23528"/>
                                                                                        <a:pt x="131332" y="20543"/>
                                                                                      </a:cubicBezTo>
                                                                                      <a:cubicBezTo>
                                                                                        <a:pt x="128742" y="18471"/>
                                                                                        <a:pt x="104538" y="12851"/>
                                                                                        <a:pt x="103502" y="12592"/>
                                                                                      </a:cubicBezTo>
                                                                                      <a:cubicBezTo>
                                                                                        <a:pt x="102177" y="8616"/>
                                                                                        <a:pt x="103636" y="1487"/>
                                                                                        <a:pt x="99527" y="665"/>
                                                                                      </a:cubicBezTo>
                                                                                      <a:cubicBezTo>
                                                                                        <a:pt x="87760" y="-1688"/>
                                                                                        <a:pt x="75607" y="2816"/>
                                                                                        <a:pt x="63746" y="4641"/>
                                                                                      </a:cubicBezTo>
                                                                                      <a:cubicBezTo>
                                                                                        <a:pt x="50274" y="6713"/>
                                                                                        <a:pt x="48044" y="9127"/>
                                                                                        <a:pt x="35916" y="12592"/>
                                                                                      </a:cubicBezTo>
                                                                                      <a:cubicBezTo>
                                                                                        <a:pt x="30662" y="14093"/>
                                                                                        <a:pt x="25315" y="15243"/>
                                                                                        <a:pt x="20014" y="16568"/>
                                                                                      </a:cubicBezTo>
                                                                                      <a:cubicBezTo>
                                                                                        <a:pt x="17363" y="19218"/>
                                                                                        <a:pt x="13991" y="21305"/>
                                                                                        <a:pt x="12062" y="24519"/>
                                                                                      </a:cubicBezTo>
                                                                                      <a:cubicBezTo>
                                                                                        <a:pt x="7668" y="31842"/>
                                                                                        <a:pt x="5436" y="14580"/>
                                                                                        <a:pt x="4111" y="12592"/>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86" name="Freeform 285"/>
                                                                                <p:cNvSpPr/>
                                                                                <p:nvPr/>
                                                                              </p:nvSpPr>
                                                                              <p:spPr>
                                                                                <a:xfrm>
                                                                                  <a:off x="2969812" y="3971677"/>
                                                                                  <a:ext cx="75538" cy="95415"/>
                                                                                </a:xfrm>
                                                                                <a:custGeom>
                                                                                  <a:avLst/>
                                                                                  <a:gdLst>
                                                                                    <a:gd name="connsiteX0" fmla="*/ 43732 w 75538"/>
                                                                                    <a:gd name="connsiteY0" fmla="*/ 0 h 95415"/>
                                                                                    <a:gd name="connsiteX1" fmla="*/ 43732 w 75538"/>
                                                                                    <a:gd name="connsiteY1" fmla="*/ 0 h 95415"/>
                                                                                    <a:gd name="connsiteX2" fmla="*/ 11927 w 75538"/>
                                                                                    <a:gd name="connsiteY2" fmla="*/ 11926 h 95415"/>
                                                                                    <a:gd name="connsiteX3" fmla="*/ 7951 w 75538"/>
                                                                                    <a:gd name="connsiteY3" fmla="*/ 23853 h 95415"/>
                                                                                    <a:gd name="connsiteX4" fmla="*/ 0 w 75538"/>
                                                                                    <a:gd name="connsiteY4" fmla="*/ 55659 h 95415"/>
                                                                                    <a:gd name="connsiteX5" fmla="*/ 3976 w 75538"/>
                                                                                    <a:gd name="connsiteY5" fmla="*/ 87464 h 95415"/>
                                                                                    <a:gd name="connsiteX6" fmla="*/ 15903 w 75538"/>
                                                                                    <a:gd name="connsiteY6" fmla="*/ 91440 h 95415"/>
                                                                                    <a:gd name="connsiteX7" fmla="*/ 43732 w 75538"/>
                                                                                    <a:gd name="connsiteY7" fmla="*/ 95415 h 95415"/>
                                                                                    <a:gd name="connsiteX8" fmla="*/ 59635 w 75538"/>
                                                                                    <a:gd name="connsiteY8" fmla="*/ 91440 h 95415"/>
                                                                                    <a:gd name="connsiteX9" fmla="*/ 67586 w 75538"/>
                                                                                    <a:gd name="connsiteY9" fmla="*/ 67586 h 95415"/>
                                                                                    <a:gd name="connsiteX10" fmla="*/ 75538 w 75538"/>
                                                                                    <a:gd name="connsiteY10" fmla="*/ 59634 h 95415"/>
                                                                                    <a:gd name="connsiteX11" fmla="*/ 59635 w 75538"/>
                                                                                    <a:gd name="connsiteY11" fmla="*/ 35780 h 95415"/>
                                                                                    <a:gd name="connsiteX12" fmla="*/ 39757 w 75538"/>
                                                                                    <a:gd name="connsiteY12" fmla="*/ 0 h 95415"/>
                                                                                    <a:gd name="connsiteX13" fmla="*/ 43732 w 75538"/>
                                                                                    <a:gd name="connsiteY13" fmla="*/ 0 h 9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538" h="95415">
                                                                                      <a:moveTo>
                                                                                        <a:pt x="43732" y="0"/>
                                                                                      </a:moveTo>
                                                                                      <a:lnTo>
                                                                                        <a:pt x="43732" y="0"/>
                                                                                      </a:lnTo>
                                                                                      <a:cubicBezTo>
                                                                                        <a:pt x="33130" y="3975"/>
                                                                                        <a:pt x="21348" y="5646"/>
                                                                                        <a:pt x="11927" y="11926"/>
                                                                                      </a:cubicBezTo>
                                                                                      <a:cubicBezTo>
                                                                                        <a:pt x="8440" y="14251"/>
                                                                                        <a:pt x="8967" y="19787"/>
                                                                                        <a:pt x="7951" y="23853"/>
                                                                                      </a:cubicBezTo>
                                                                                      <a:lnTo>
                                                                                        <a:pt x="0" y="55659"/>
                                                                                      </a:lnTo>
                                                                                      <a:cubicBezTo>
                                                                                        <a:pt x="1325" y="66261"/>
                                                                                        <a:pt x="-363" y="77701"/>
                                                                                        <a:pt x="3976" y="87464"/>
                                                                                      </a:cubicBezTo>
                                                                                      <a:cubicBezTo>
                                                                                        <a:pt x="5678" y="91294"/>
                                                                                        <a:pt x="11794" y="90618"/>
                                                                                        <a:pt x="15903" y="91440"/>
                                                                                      </a:cubicBezTo>
                                                                                      <a:cubicBezTo>
                                                                                        <a:pt x="25092" y="93278"/>
                                                                                        <a:pt x="34456" y="94090"/>
                                                                                        <a:pt x="43732" y="95415"/>
                                                                                      </a:cubicBezTo>
                                                                                      <a:cubicBezTo>
                                                                                        <a:pt x="49033" y="94090"/>
                                                                                        <a:pt x="56079" y="95589"/>
                                                                                        <a:pt x="59635" y="91440"/>
                                                                                      </a:cubicBezTo>
                                                                                      <a:cubicBezTo>
                                                                                        <a:pt x="65090" y="85076"/>
                                                                                        <a:pt x="61659" y="73513"/>
                                                                                        <a:pt x="67586" y="67586"/>
                                                                                      </a:cubicBezTo>
                                                                                      <a:lnTo>
                                                                                        <a:pt x="75538" y="59634"/>
                                                                                      </a:lnTo>
                                                                                      <a:cubicBezTo>
                                                                                        <a:pt x="66084" y="31274"/>
                                                                                        <a:pt x="79489" y="65561"/>
                                                                                        <a:pt x="59635" y="35780"/>
                                                                                      </a:cubicBezTo>
                                                                                      <a:cubicBezTo>
                                                                                        <a:pt x="53633" y="26777"/>
                                                                                        <a:pt x="55712" y="0"/>
                                                                                        <a:pt x="39757" y="0"/>
                                                                                      </a:cubicBezTo>
                                                                                      <a:lnTo>
                                                                                        <a:pt x="43732"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82" name="Freeform 281"/>
                                                                            <p:cNvSpPr/>
                                                                            <p:nvPr/>
                                                                          </p:nvSpPr>
                                                                          <p:spPr>
                                                                            <a:xfrm>
                                                                              <a:off x="2782842" y="3358949"/>
                                                                              <a:ext cx="457200" cy="473074"/>
                                                                            </a:xfrm>
                                                                            <a:custGeom>
                                                                              <a:avLst/>
                                                                              <a:gdLst>
                                                                                <a:gd name="connsiteX0" fmla="*/ 26427 w 457200"/>
                                                                                <a:gd name="connsiteY0" fmla="*/ 303937 h 473074"/>
                                                                                <a:gd name="connsiteX1" fmla="*/ 26427 w 457200"/>
                                                                                <a:gd name="connsiteY1" fmla="*/ 303937 h 473074"/>
                                                                                <a:gd name="connsiteX2" fmla="*/ 42284 w 457200"/>
                                                                                <a:gd name="connsiteY2" fmla="*/ 322436 h 473074"/>
                                                                                <a:gd name="connsiteX3" fmla="*/ 50212 w 457200"/>
                                                                                <a:gd name="connsiteY3" fmla="*/ 327722 h 473074"/>
                                                                                <a:gd name="connsiteX4" fmla="*/ 60783 w 457200"/>
                                                                                <a:gd name="connsiteY4" fmla="*/ 325079 h 473074"/>
                                                                                <a:gd name="connsiteX5" fmla="*/ 76640 w 457200"/>
                                                                                <a:gd name="connsiteY5" fmla="*/ 311865 h 473074"/>
                                                                                <a:gd name="connsiteX6" fmla="*/ 84568 w 457200"/>
                                                                                <a:gd name="connsiteY6" fmla="*/ 309222 h 473074"/>
                                                                                <a:gd name="connsiteX7" fmla="*/ 105711 w 457200"/>
                                                                                <a:gd name="connsiteY7" fmla="*/ 311865 h 473074"/>
                                                                                <a:gd name="connsiteX8" fmla="*/ 124210 w 457200"/>
                                                                                <a:gd name="connsiteY8" fmla="*/ 317150 h 473074"/>
                                                                                <a:gd name="connsiteX9" fmla="*/ 140067 w 457200"/>
                                                                                <a:gd name="connsiteY9" fmla="*/ 327722 h 473074"/>
                                                                                <a:gd name="connsiteX10" fmla="*/ 147995 w 457200"/>
                                                                                <a:gd name="connsiteY10" fmla="*/ 333007 h 473074"/>
                                                                                <a:gd name="connsiteX11" fmla="*/ 155923 w 457200"/>
                                                                                <a:gd name="connsiteY11" fmla="*/ 335650 h 473074"/>
                                                                                <a:gd name="connsiteX12" fmla="*/ 171780 w 457200"/>
                                                                                <a:gd name="connsiteY12" fmla="*/ 346221 h 473074"/>
                                                                                <a:gd name="connsiteX13" fmla="*/ 179708 w 457200"/>
                                                                                <a:gd name="connsiteY13" fmla="*/ 348864 h 473074"/>
                                                                                <a:gd name="connsiteX14" fmla="*/ 187637 w 457200"/>
                                                                                <a:gd name="connsiteY14" fmla="*/ 354149 h 473074"/>
                                                                                <a:gd name="connsiteX15" fmla="*/ 203493 w 457200"/>
                                                                                <a:gd name="connsiteY15" fmla="*/ 359435 h 473074"/>
                                                                                <a:gd name="connsiteX16" fmla="*/ 211422 w 457200"/>
                                                                                <a:gd name="connsiteY16" fmla="*/ 362078 h 473074"/>
                                                                                <a:gd name="connsiteX17" fmla="*/ 219350 w 457200"/>
                                                                                <a:gd name="connsiteY17" fmla="*/ 367363 h 473074"/>
                                                                                <a:gd name="connsiteX18" fmla="*/ 224635 w 457200"/>
                                                                                <a:gd name="connsiteY18" fmla="*/ 375291 h 473074"/>
                                                                                <a:gd name="connsiteX19" fmla="*/ 232564 w 457200"/>
                                                                                <a:gd name="connsiteY19" fmla="*/ 377934 h 473074"/>
                                                                                <a:gd name="connsiteX20" fmla="*/ 227278 w 457200"/>
                                                                                <a:gd name="connsiteY20" fmla="*/ 409648 h 473074"/>
                                                                                <a:gd name="connsiteX21" fmla="*/ 221993 w 457200"/>
                                                                                <a:gd name="connsiteY21" fmla="*/ 417576 h 473074"/>
                                                                                <a:gd name="connsiteX22" fmla="*/ 216707 w 457200"/>
                                                                                <a:gd name="connsiteY22" fmla="*/ 433433 h 473074"/>
                                                                                <a:gd name="connsiteX23" fmla="*/ 214064 w 457200"/>
                                                                                <a:gd name="connsiteY23" fmla="*/ 441361 h 473074"/>
                                                                                <a:gd name="connsiteX24" fmla="*/ 211422 w 457200"/>
                                                                                <a:gd name="connsiteY24" fmla="*/ 449289 h 473074"/>
                                                                                <a:gd name="connsiteX25" fmla="*/ 216707 w 457200"/>
                                                                                <a:gd name="connsiteY25" fmla="*/ 457217 h 473074"/>
                                                                                <a:gd name="connsiteX26" fmla="*/ 224635 w 457200"/>
                                                                                <a:gd name="connsiteY26" fmla="*/ 465146 h 473074"/>
                                                                                <a:gd name="connsiteX27" fmla="*/ 227278 w 457200"/>
                                                                                <a:gd name="connsiteY27" fmla="*/ 473074 h 473074"/>
                                                                                <a:gd name="connsiteX28" fmla="*/ 237849 w 457200"/>
                                                                                <a:gd name="connsiteY28" fmla="*/ 470431 h 473074"/>
                                                                                <a:gd name="connsiteX29" fmla="*/ 248420 w 457200"/>
                                                                                <a:gd name="connsiteY29" fmla="*/ 454575 h 473074"/>
                                                                                <a:gd name="connsiteX30" fmla="*/ 248420 w 457200"/>
                                                                                <a:gd name="connsiteY30" fmla="*/ 430790 h 473074"/>
                                                                                <a:gd name="connsiteX31" fmla="*/ 256349 w 457200"/>
                                                                                <a:gd name="connsiteY31" fmla="*/ 425504 h 473074"/>
                                                                                <a:gd name="connsiteX32" fmla="*/ 272205 w 457200"/>
                                                                                <a:gd name="connsiteY32" fmla="*/ 420219 h 473074"/>
                                                                                <a:gd name="connsiteX33" fmla="*/ 269563 w 457200"/>
                                                                                <a:gd name="connsiteY33" fmla="*/ 409648 h 473074"/>
                                                                                <a:gd name="connsiteX34" fmla="*/ 266920 w 457200"/>
                                                                                <a:gd name="connsiteY34" fmla="*/ 401719 h 473074"/>
                                                                                <a:gd name="connsiteX35" fmla="*/ 280134 w 457200"/>
                                                                                <a:gd name="connsiteY35" fmla="*/ 370006 h 473074"/>
                                                                                <a:gd name="connsiteX36" fmla="*/ 293348 w 457200"/>
                                                                                <a:gd name="connsiteY36" fmla="*/ 356792 h 473074"/>
                                                                                <a:gd name="connsiteX37" fmla="*/ 290705 w 457200"/>
                                                                                <a:gd name="connsiteY37" fmla="*/ 322436 h 473074"/>
                                                                                <a:gd name="connsiteX38" fmla="*/ 288062 w 457200"/>
                                                                                <a:gd name="connsiteY38" fmla="*/ 314508 h 473074"/>
                                                                                <a:gd name="connsiteX39" fmla="*/ 280134 w 457200"/>
                                                                                <a:gd name="connsiteY39" fmla="*/ 311865 h 473074"/>
                                                                                <a:gd name="connsiteX40" fmla="*/ 280134 w 457200"/>
                                                                                <a:gd name="connsiteY40" fmla="*/ 288080 h 473074"/>
                                                                                <a:gd name="connsiteX41" fmla="*/ 288062 w 457200"/>
                                                                                <a:gd name="connsiteY41" fmla="*/ 285437 h 473074"/>
                                                                                <a:gd name="connsiteX42" fmla="*/ 335632 w 457200"/>
                                                                                <a:gd name="connsiteY42" fmla="*/ 285437 h 473074"/>
                                                                                <a:gd name="connsiteX43" fmla="*/ 364703 w 457200"/>
                                                                                <a:gd name="connsiteY43" fmla="*/ 282794 h 473074"/>
                                                                                <a:gd name="connsiteX44" fmla="*/ 369988 w 457200"/>
                                                                                <a:gd name="connsiteY44" fmla="*/ 274866 h 473074"/>
                                                                                <a:gd name="connsiteX45" fmla="*/ 372631 w 457200"/>
                                                                                <a:gd name="connsiteY45" fmla="*/ 256367 h 473074"/>
                                                                                <a:gd name="connsiteX46" fmla="*/ 388487 w 457200"/>
                                                                                <a:gd name="connsiteY46" fmla="*/ 248438 h 473074"/>
                                                                                <a:gd name="connsiteX47" fmla="*/ 391130 w 457200"/>
                                                                                <a:gd name="connsiteY47" fmla="*/ 240510 h 473074"/>
                                                                                <a:gd name="connsiteX48" fmla="*/ 404344 w 457200"/>
                                                                                <a:gd name="connsiteY48" fmla="*/ 224653 h 473074"/>
                                                                                <a:gd name="connsiteX49" fmla="*/ 406987 w 457200"/>
                                                                                <a:gd name="connsiteY49" fmla="*/ 198226 h 473074"/>
                                                                                <a:gd name="connsiteX50" fmla="*/ 404344 w 457200"/>
                                                                                <a:gd name="connsiteY50" fmla="*/ 190297 h 473074"/>
                                                                                <a:gd name="connsiteX51" fmla="*/ 396416 w 457200"/>
                                                                                <a:gd name="connsiteY51" fmla="*/ 185012 h 473074"/>
                                                                                <a:gd name="connsiteX52" fmla="*/ 391130 w 457200"/>
                                                                                <a:gd name="connsiteY52" fmla="*/ 177083 h 473074"/>
                                                                                <a:gd name="connsiteX53" fmla="*/ 393773 w 457200"/>
                                                                                <a:gd name="connsiteY53" fmla="*/ 163869 h 473074"/>
                                                                                <a:gd name="connsiteX54" fmla="*/ 401701 w 457200"/>
                                                                                <a:gd name="connsiteY54" fmla="*/ 158584 h 473074"/>
                                                                                <a:gd name="connsiteX55" fmla="*/ 420201 w 457200"/>
                                                                                <a:gd name="connsiteY55" fmla="*/ 153298 h 473074"/>
                                                                                <a:gd name="connsiteX56" fmla="*/ 425486 w 457200"/>
                                                                                <a:gd name="connsiteY56" fmla="*/ 145370 h 473074"/>
                                                                                <a:gd name="connsiteX57" fmla="*/ 430772 w 457200"/>
                                                                                <a:gd name="connsiteY57" fmla="*/ 113657 h 473074"/>
                                                                                <a:gd name="connsiteX58" fmla="*/ 436057 w 457200"/>
                                                                                <a:gd name="connsiteY58" fmla="*/ 97800 h 473074"/>
                                                                                <a:gd name="connsiteX59" fmla="*/ 438700 w 457200"/>
                                                                                <a:gd name="connsiteY59" fmla="*/ 89872 h 473074"/>
                                                                                <a:gd name="connsiteX60" fmla="*/ 451914 w 457200"/>
                                                                                <a:gd name="connsiteY60" fmla="*/ 74015 h 473074"/>
                                                                                <a:gd name="connsiteX61" fmla="*/ 457200 w 457200"/>
                                                                                <a:gd name="connsiteY61" fmla="*/ 58159 h 473074"/>
                                                                                <a:gd name="connsiteX62" fmla="*/ 451914 w 457200"/>
                                                                                <a:gd name="connsiteY62" fmla="*/ 50230 h 473074"/>
                                                                                <a:gd name="connsiteX63" fmla="*/ 430772 w 457200"/>
                                                                                <a:gd name="connsiteY63" fmla="*/ 26445 h 473074"/>
                                                                                <a:gd name="connsiteX64" fmla="*/ 425486 w 457200"/>
                                                                                <a:gd name="connsiteY64" fmla="*/ 10589 h 473074"/>
                                                                                <a:gd name="connsiteX65" fmla="*/ 422844 w 457200"/>
                                                                                <a:gd name="connsiteY65" fmla="*/ 2660 h 473074"/>
                                                                                <a:gd name="connsiteX66" fmla="*/ 414915 w 457200"/>
                                                                                <a:gd name="connsiteY66" fmla="*/ 17 h 473074"/>
                                                                                <a:gd name="connsiteX67" fmla="*/ 391130 w 457200"/>
                                                                                <a:gd name="connsiteY67" fmla="*/ 2660 h 473074"/>
                                                                                <a:gd name="connsiteX68" fmla="*/ 332989 w 457200"/>
                                                                                <a:gd name="connsiteY68" fmla="*/ 2660 h 473074"/>
                                                                                <a:gd name="connsiteX69" fmla="*/ 311847 w 457200"/>
                                                                                <a:gd name="connsiteY69" fmla="*/ 7946 h 473074"/>
                                                                                <a:gd name="connsiteX70" fmla="*/ 295990 w 457200"/>
                                                                                <a:gd name="connsiteY70" fmla="*/ 13231 h 473074"/>
                                                                                <a:gd name="connsiteX71" fmla="*/ 288062 w 457200"/>
                                                                                <a:gd name="connsiteY71" fmla="*/ 18517 h 473074"/>
                                                                                <a:gd name="connsiteX72" fmla="*/ 282776 w 457200"/>
                                                                                <a:gd name="connsiteY72" fmla="*/ 26445 h 473074"/>
                                                                                <a:gd name="connsiteX73" fmla="*/ 266920 w 457200"/>
                                                                                <a:gd name="connsiteY73" fmla="*/ 37016 h 473074"/>
                                                                                <a:gd name="connsiteX74" fmla="*/ 258992 w 457200"/>
                                                                                <a:gd name="connsiteY74" fmla="*/ 42302 h 473074"/>
                                                                                <a:gd name="connsiteX75" fmla="*/ 253706 w 457200"/>
                                                                                <a:gd name="connsiteY75" fmla="*/ 50230 h 473074"/>
                                                                                <a:gd name="connsiteX76" fmla="*/ 256349 w 457200"/>
                                                                                <a:gd name="connsiteY76" fmla="*/ 63444 h 473074"/>
                                                                                <a:gd name="connsiteX77" fmla="*/ 258992 w 457200"/>
                                                                                <a:gd name="connsiteY77" fmla="*/ 100443 h 473074"/>
                                                                                <a:gd name="connsiteX78" fmla="*/ 269563 w 457200"/>
                                                                                <a:gd name="connsiteY78" fmla="*/ 116300 h 473074"/>
                                                                                <a:gd name="connsiteX79" fmla="*/ 261634 w 457200"/>
                                                                                <a:gd name="connsiteY79" fmla="*/ 121585 h 473074"/>
                                                                                <a:gd name="connsiteX80" fmla="*/ 245778 w 457200"/>
                                                                                <a:gd name="connsiteY80" fmla="*/ 126871 h 473074"/>
                                                                                <a:gd name="connsiteX81" fmla="*/ 232564 w 457200"/>
                                                                                <a:gd name="connsiteY81" fmla="*/ 150656 h 473074"/>
                                                                                <a:gd name="connsiteX82" fmla="*/ 216707 w 457200"/>
                                                                                <a:gd name="connsiteY82" fmla="*/ 161227 h 473074"/>
                                                                                <a:gd name="connsiteX83" fmla="*/ 198208 w 457200"/>
                                                                                <a:gd name="connsiteY83" fmla="*/ 158584 h 473074"/>
                                                                                <a:gd name="connsiteX84" fmla="*/ 200850 w 457200"/>
                                                                                <a:gd name="connsiteY84" fmla="*/ 148013 h 473074"/>
                                                                                <a:gd name="connsiteX85" fmla="*/ 214064 w 457200"/>
                                                                                <a:gd name="connsiteY85" fmla="*/ 132156 h 473074"/>
                                                                                <a:gd name="connsiteX86" fmla="*/ 216707 w 457200"/>
                                                                                <a:gd name="connsiteY86" fmla="*/ 76658 h 473074"/>
                                                                                <a:gd name="connsiteX87" fmla="*/ 221993 w 457200"/>
                                                                                <a:gd name="connsiteY87" fmla="*/ 68730 h 473074"/>
                                                                                <a:gd name="connsiteX88" fmla="*/ 224635 w 457200"/>
                                                                                <a:gd name="connsiteY88" fmla="*/ 60801 h 473074"/>
                                                                                <a:gd name="connsiteX89" fmla="*/ 190279 w 457200"/>
                                                                                <a:gd name="connsiteY89" fmla="*/ 58159 h 473074"/>
                                                                                <a:gd name="connsiteX90" fmla="*/ 179708 w 457200"/>
                                                                                <a:gd name="connsiteY90" fmla="*/ 74015 h 473074"/>
                                                                                <a:gd name="connsiteX91" fmla="*/ 166494 w 457200"/>
                                                                                <a:gd name="connsiteY91" fmla="*/ 113657 h 473074"/>
                                                                                <a:gd name="connsiteX92" fmla="*/ 161209 w 457200"/>
                                                                                <a:gd name="connsiteY92" fmla="*/ 129513 h 473074"/>
                                                                                <a:gd name="connsiteX93" fmla="*/ 142709 w 457200"/>
                                                                                <a:gd name="connsiteY93" fmla="*/ 153298 h 473074"/>
                                                                                <a:gd name="connsiteX94" fmla="*/ 129496 w 457200"/>
                                                                                <a:gd name="connsiteY94" fmla="*/ 166512 h 473074"/>
                                                                                <a:gd name="connsiteX95" fmla="*/ 110996 w 457200"/>
                                                                                <a:gd name="connsiteY95" fmla="*/ 185012 h 473074"/>
                                                                                <a:gd name="connsiteX96" fmla="*/ 103068 w 457200"/>
                                                                                <a:gd name="connsiteY96" fmla="*/ 192940 h 473074"/>
                                                                                <a:gd name="connsiteX97" fmla="*/ 100425 w 457200"/>
                                                                                <a:gd name="connsiteY97" fmla="*/ 200868 h 473074"/>
                                                                                <a:gd name="connsiteX98" fmla="*/ 92497 w 457200"/>
                                                                                <a:gd name="connsiteY98" fmla="*/ 203511 h 473074"/>
                                                                                <a:gd name="connsiteX99" fmla="*/ 89854 w 457200"/>
                                                                                <a:gd name="connsiteY99" fmla="*/ 211439 h 473074"/>
                                                                                <a:gd name="connsiteX100" fmla="*/ 76640 w 457200"/>
                                                                                <a:gd name="connsiteY100" fmla="*/ 227296 h 473074"/>
                                                                                <a:gd name="connsiteX101" fmla="*/ 68712 w 457200"/>
                                                                                <a:gd name="connsiteY101" fmla="*/ 229939 h 473074"/>
                                                                                <a:gd name="connsiteX102" fmla="*/ 60783 w 457200"/>
                                                                                <a:gd name="connsiteY102" fmla="*/ 235224 h 473074"/>
                                                                                <a:gd name="connsiteX103" fmla="*/ 58141 w 457200"/>
                                                                                <a:gd name="connsiteY103" fmla="*/ 253724 h 473074"/>
                                                                                <a:gd name="connsiteX104" fmla="*/ 63426 w 457200"/>
                                                                                <a:gd name="connsiteY104" fmla="*/ 269580 h 473074"/>
                                                                                <a:gd name="connsiteX105" fmla="*/ 60783 w 457200"/>
                                                                                <a:gd name="connsiteY105" fmla="*/ 282794 h 473074"/>
                                                                                <a:gd name="connsiteX106" fmla="*/ 58141 w 457200"/>
                                                                                <a:gd name="connsiteY106" fmla="*/ 298651 h 473074"/>
                                                                                <a:gd name="connsiteX107" fmla="*/ 44927 w 457200"/>
                                                                                <a:gd name="connsiteY107" fmla="*/ 296008 h 473074"/>
                                                                                <a:gd name="connsiteX108" fmla="*/ 42284 w 457200"/>
                                                                                <a:gd name="connsiteY108" fmla="*/ 272223 h 473074"/>
                                                                                <a:gd name="connsiteX109" fmla="*/ 34356 w 457200"/>
                                                                                <a:gd name="connsiteY109" fmla="*/ 269580 h 473074"/>
                                                                                <a:gd name="connsiteX110" fmla="*/ 13213 w 457200"/>
                                                                                <a:gd name="connsiteY110" fmla="*/ 272223 h 473074"/>
                                                                                <a:gd name="connsiteX111" fmla="*/ 5285 w 457200"/>
                                                                                <a:gd name="connsiteY111" fmla="*/ 274866 h 473074"/>
                                                                                <a:gd name="connsiteX112" fmla="*/ 0 w 457200"/>
                                                                                <a:gd name="connsiteY112" fmla="*/ 290723 h 473074"/>
                                                                                <a:gd name="connsiteX113" fmla="*/ 2642 w 457200"/>
                                                                                <a:gd name="connsiteY113" fmla="*/ 298651 h 473074"/>
                                                                                <a:gd name="connsiteX114" fmla="*/ 15856 w 457200"/>
                                                                                <a:gd name="connsiteY114" fmla="*/ 311865 h 473074"/>
                                                                                <a:gd name="connsiteX115" fmla="*/ 31713 w 457200"/>
                                                                                <a:gd name="connsiteY115" fmla="*/ 317150 h 473074"/>
                                                                                <a:gd name="connsiteX116" fmla="*/ 26427 w 457200"/>
                                                                                <a:gd name="connsiteY116" fmla="*/ 303937 h 47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57200" h="473074">
                                                                                  <a:moveTo>
                                                                                    <a:pt x="26427" y="303937"/>
                                                                                  </a:moveTo>
                                                                                  <a:lnTo>
                                                                                    <a:pt x="26427" y="303937"/>
                                                                                  </a:lnTo>
                                                                                  <a:cubicBezTo>
                                                                                    <a:pt x="31713" y="310103"/>
                                                                                    <a:pt x="36541" y="316693"/>
                                                                                    <a:pt x="42284" y="322436"/>
                                                                                  </a:cubicBezTo>
                                                                                  <a:cubicBezTo>
                                                                                    <a:pt x="44530" y="324682"/>
                                                                                    <a:pt x="47068" y="327273"/>
                                                                                    <a:pt x="50212" y="327722"/>
                                                                                  </a:cubicBezTo>
                                                                                  <a:cubicBezTo>
                                                                                    <a:pt x="53808" y="328236"/>
                                                                                    <a:pt x="57259" y="325960"/>
                                                                                    <a:pt x="60783" y="325079"/>
                                                                                  </a:cubicBezTo>
                                                                                  <a:cubicBezTo>
                                                                                    <a:pt x="66629" y="319233"/>
                                                                                    <a:pt x="69280" y="315545"/>
                                                                                    <a:pt x="76640" y="311865"/>
                                                                                  </a:cubicBezTo>
                                                                                  <a:cubicBezTo>
                                                                                    <a:pt x="79132" y="310619"/>
                                                                                    <a:pt x="81925" y="310103"/>
                                                                                    <a:pt x="84568" y="309222"/>
                                                                                  </a:cubicBezTo>
                                                                                  <a:cubicBezTo>
                                                                                    <a:pt x="91616" y="310103"/>
                                                                                    <a:pt x="98705" y="310697"/>
                                                                                    <a:pt x="105711" y="311865"/>
                                                                                  </a:cubicBezTo>
                                                                                  <a:cubicBezTo>
                                                                                    <a:pt x="112343" y="312970"/>
                                                                                    <a:pt x="117930" y="315057"/>
                                                                                    <a:pt x="124210" y="317150"/>
                                                                                  </a:cubicBezTo>
                                                                                  <a:lnTo>
                                                                                    <a:pt x="140067" y="327722"/>
                                                                                  </a:lnTo>
                                                                                  <a:cubicBezTo>
                                                                                    <a:pt x="142710" y="329484"/>
                                                                                    <a:pt x="144982" y="332003"/>
                                                                                    <a:pt x="147995" y="333007"/>
                                                                                  </a:cubicBezTo>
                                                                                  <a:cubicBezTo>
                                                                                    <a:pt x="150638" y="333888"/>
                                                                                    <a:pt x="153488" y="334297"/>
                                                                                    <a:pt x="155923" y="335650"/>
                                                                                  </a:cubicBezTo>
                                                                                  <a:cubicBezTo>
                                                                                    <a:pt x="161476" y="338735"/>
                                                                                    <a:pt x="165754" y="344212"/>
                                                                                    <a:pt x="171780" y="346221"/>
                                                                                  </a:cubicBezTo>
                                                                                  <a:cubicBezTo>
                                                                                    <a:pt x="174423" y="347102"/>
                                                                                    <a:pt x="177216" y="347618"/>
                                                                                    <a:pt x="179708" y="348864"/>
                                                                                  </a:cubicBezTo>
                                                                                  <a:cubicBezTo>
                                                                                    <a:pt x="182549" y="350284"/>
                                                                                    <a:pt x="184734" y="352859"/>
                                                                                    <a:pt x="187637" y="354149"/>
                                                                                  </a:cubicBezTo>
                                                                                  <a:cubicBezTo>
                                                                                    <a:pt x="192728" y="356412"/>
                                                                                    <a:pt x="198208" y="357673"/>
                                                                                    <a:pt x="203493" y="359435"/>
                                                                                  </a:cubicBezTo>
                                                                                  <a:cubicBezTo>
                                                                                    <a:pt x="206136" y="360316"/>
                                                                                    <a:pt x="209104" y="360533"/>
                                                                                    <a:pt x="211422" y="362078"/>
                                                                                  </a:cubicBezTo>
                                                                                  <a:lnTo>
                                                                                    <a:pt x="219350" y="367363"/>
                                                                                  </a:lnTo>
                                                                                  <a:cubicBezTo>
                                                                                    <a:pt x="221112" y="370006"/>
                                                                                    <a:pt x="222155" y="373307"/>
                                                                                    <a:pt x="224635" y="375291"/>
                                                                                  </a:cubicBezTo>
                                                                                  <a:cubicBezTo>
                                                                                    <a:pt x="226810" y="377031"/>
                                                                                    <a:pt x="232018" y="375202"/>
                                                                                    <a:pt x="232564" y="377934"/>
                                                                                  </a:cubicBezTo>
                                                                                  <a:cubicBezTo>
                                                                                    <a:pt x="233402" y="382122"/>
                                                                                    <a:pt x="231121" y="401962"/>
                                                                                    <a:pt x="227278" y="409648"/>
                                                                                  </a:cubicBezTo>
                                                                                  <a:cubicBezTo>
                                                                                    <a:pt x="225858" y="412489"/>
                                                                                    <a:pt x="223283" y="414674"/>
                                                                                    <a:pt x="221993" y="417576"/>
                                                                                  </a:cubicBezTo>
                                                                                  <a:cubicBezTo>
                                                                                    <a:pt x="219730" y="422667"/>
                                                                                    <a:pt x="218469" y="428147"/>
                                                                                    <a:pt x="216707" y="433433"/>
                                                                                  </a:cubicBezTo>
                                                                                  <a:lnTo>
                                                                                    <a:pt x="214064" y="441361"/>
                                                                                  </a:lnTo>
                                                                                  <a:lnTo>
                                                                                    <a:pt x="211422" y="449289"/>
                                                                                  </a:lnTo>
                                                                                  <a:cubicBezTo>
                                                                                    <a:pt x="213184" y="451932"/>
                                                                                    <a:pt x="214674" y="454777"/>
                                                                                    <a:pt x="216707" y="457217"/>
                                                                                  </a:cubicBezTo>
                                                                                  <a:cubicBezTo>
                                                                                    <a:pt x="219100" y="460088"/>
                                                                                    <a:pt x="222562" y="462036"/>
                                                                                    <a:pt x="224635" y="465146"/>
                                                                                  </a:cubicBezTo>
                                                                                  <a:cubicBezTo>
                                                                                    <a:pt x="226180" y="467464"/>
                                                                                    <a:pt x="226397" y="470431"/>
                                                                                    <a:pt x="227278" y="473074"/>
                                                                                  </a:cubicBezTo>
                                                                                  <a:cubicBezTo>
                                                                                    <a:pt x="230802" y="472193"/>
                                                                                    <a:pt x="235116" y="472823"/>
                                                                                    <a:pt x="237849" y="470431"/>
                                                                                  </a:cubicBezTo>
                                                                                  <a:cubicBezTo>
                                                                                    <a:pt x="242630" y="466248"/>
                                                                                    <a:pt x="248420" y="454575"/>
                                                                                    <a:pt x="248420" y="454575"/>
                                                                                  </a:cubicBezTo>
                                                                                  <a:cubicBezTo>
                                                                                    <a:pt x="246222" y="445781"/>
                                                                                    <a:pt x="243170" y="439978"/>
                                                                                    <a:pt x="248420" y="430790"/>
                                                                                  </a:cubicBezTo>
                                                                                  <a:cubicBezTo>
                                                                                    <a:pt x="249996" y="428032"/>
                                                                                    <a:pt x="253446" y="426794"/>
                                                                                    <a:pt x="256349" y="425504"/>
                                                                                  </a:cubicBezTo>
                                                                                  <a:cubicBezTo>
                                                                                    <a:pt x="261440" y="423241"/>
                                                                                    <a:pt x="272205" y="420219"/>
                                                                                    <a:pt x="272205" y="420219"/>
                                                                                  </a:cubicBezTo>
                                                                                  <a:cubicBezTo>
                                                                                    <a:pt x="271324" y="416695"/>
                                                                                    <a:pt x="270561" y="413140"/>
                                                                                    <a:pt x="269563" y="409648"/>
                                                                                  </a:cubicBezTo>
                                                                                  <a:cubicBezTo>
                                                                                    <a:pt x="268798" y="406969"/>
                                                                                    <a:pt x="266920" y="404505"/>
                                                                                    <a:pt x="266920" y="401719"/>
                                                                                  </a:cubicBezTo>
                                                                                  <a:cubicBezTo>
                                                                                    <a:pt x="266920" y="385128"/>
                                                                                    <a:pt x="270963" y="383764"/>
                                                                                    <a:pt x="280134" y="370006"/>
                                                                                  </a:cubicBezTo>
                                                                                  <a:cubicBezTo>
                                                                                    <a:pt x="287181" y="359435"/>
                                                                                    <a:pt x="282776" y="363840"/>
                                                                                    <a:pt x="293348" y="356792"/>
                                                                                  </a:cubicBezTo>
                                                                                  <a:cubicBezTo>
                                                                                    <a:pt x="292467" y="345340"/>
                                                                                    <a:pt x="292130" y="333833"/>
                                                                                    <a:pt x="290705" y="322436"/>
                                                                                  </a:cubicBezTo>
                                                                                  <a:cubicBezTo>
                                                                                    <a:pt x="290359" y="319672"/>
                                                                                    <a:pt x="290032" y="316478"/>
                                                                                    <a:pt x="288062" y="314508"/>
                                                                                  </a:cubicBezTo>
                                                                                  <a:cubicBezTo>
                                                                                    <a:pt x="286092" y="312538"/>
                                                                                    <a:pt x="282777" y="312746"/>
                                                                                    <a:pt x="280134" y="311865"/>
                                                                                  </a:cubicBezTo>
                                                                                  <a:cubicBezTo>
                                                                                    <a:pt x="277239" y="303180"/>
                                                                                    <a:pt x="274259" y="298362"/>
                                                                                    <a:pt x="280134" y="288080"/>
                                                                                  </a:cubicBezTo>
                                                                                  <a:cubicBezTo>
                                                                                    <a:pt x="281516" y="285661"/>
                                                                                    <a:pt x="285419" y="286318"/>
                                                                                    <a:pt x="288062" y="285437"/>
                                                                                  </a:cubicBezTo>
                                                                                  <a:cubicBezTo>
                                                                                    <a:pt x="308331" y="292194"/>
                                                                                    <a:pt x="294271" y="288619"/>
                                                                                    <a:pt x="335632" y="285437"/>
                                                                                  </a:cubicBezTo>
                                                                                  <a:cubicBezTo>
                                                                                    <a:pt x="345334" y="284691"/>
                                                                                    <a:pt x="355013" y="283675"/>
                                                                                    <a:pt x="364703" y="282794"/>
                                                                                  </a:cubicBezTo>
                                                                                  <a:cubicBezTo>
                                                                                    <a:pt x="366465" y="280151"/>
                                                                                    <a:pt x="369075" y="277908"/>
                                                                                    <a:pt x="369988" y="274866"/>
                                                                                  </a:cubicBezTo>
                                                                                  <a:cubicBezTo>
                                                                                    <a:pt x="371778" y="268900"/>
                                                                                    <a:pt x="370101" y="262059"/>
                                                                                    <a:pt x="372631" y="256367"/>
                                                                                  </a:cubicBezTo>
                                                                                  <a:cubicBezTo>
                                                                                    <a:pt x="374413" y="252357"/>
                                                                                    <a:pt x="384969" y="249611"/>
                                                                                    <a:pt x="388487" y="248438"/>
                                                                                  </a:cubicBezTo>
                                                                                  <a:cubicBezTo>
                                                                                    <a:pt x="389368" y="245795"/>
                                                                                    <a:pt x="389884" y="243001"/>
                                                                                    <a:pt x="391130" y="240510"/>
                                                                                  </a:cubicBezTo>
                                                                                  <a:cubicBezTo>
                                                                                    <a:pt x="394809" y="233153"/>
                                                                                    <a:pt x="398501" y="230496"/>
                                                                                    <a:pt x="404344" y="224653"/>
                                                                                  </a:cubicBezTo>
                                                                                  <a:cubicBezTo>
                                                                                    <a:pt x="410308" y="206765"/>
                                                                                    <a:pt x="411289" y="213281"/>
                                                                                    <a:pt x="406987" y="198226"/>
                                                                                  </a:cubicBezTo>
                                                                                  <a:cubicBezTo>
                                                                                    <a:pt x="406222" y="195547"/>
                                                                                    <a:pt x="406084" y="192472"/>
                                                                                    <a:pt x="404344" y="190297"/>
                                                                                  </a:cubicBezTo>
                                                                                  <a:cubicBezTo>
                                                                                    <a:pt x="402360" y="187817"/>
                                                                                    <a:pt x="399059" y="186774"/>
                                                                                    <a:pt x="396416" y="185012"/>
                                                                                  </a:cubicBezTo>
                                                                                  <a:cubicBezTo>
                                                                                    <a:pt x="394654" y="182369"/>
                                                                                    <a:pt x="391524" y="180235"/>
                                                                                    <a:pt x="391130" y="177083"/>
                                                                                  </a:cubicBezTo>
                                                                                  <a:cubicBezTo>
                                                                                    <a:pt x="390573" y="172626"/>
                                                                                    <a:pt x="391544" y="167769"/>
                                                                                    <a:pt x="393773" y="163869"/>
                                                                                  </a:cubicBezTo>
                                                                                  <a:cubicBezTo>
                                                                                    <a:pt x="395349" y="161111"/>
                                                                                    <a:pt x="398860" y="160004"/>
                                                                                    <a:pt x="401701" y="158584"/>
                                                                                  </a:cubicBezTo>
                                                                                  <a:cubicBezTo>
                                                                                    <a:pt x="405492" y="156688"/>
                                                                                    <a:pt x="416814" y="154145"/>
                                                                                    <a:pt x="420201" y="153298"/>
                                                                                  </a:cubicBezTo>
                                                                                  <a:cubicBezTo>
                                                                                    <a:pt x="421963" y="150655"/>
                                                                                    <a:pt x="424066" y="148211"/>
                                                                                    <a:pt x="425486" y="145370"/>
                                                                                  </a:cubicBezTo>
                                                                                  <a:cubicBezTo>
                                                                                    <a:pt x="430304" y="135734"/>
                                                                                    <a:pt x="428817" y="123431"/>
                                                                                    <a:pt x="430772" y="113657"/>
                                                                                  </a:cubicBezTo>
                                                                                  <a:cubicBezTo>
                                                                                    <a:pt x="431865" y="108194"/>
                                                                                    <a:pt x="434295" y="103086"/>
                                                                                    <a:pt x="436057" y="97800"/>
                                                                                  </a:cubicBezTo>
                                                                                  <a:cubicBezTo>
                                                                                    <a:pt x="436938" y="95157"/>
                                                                                    <a:pt x="436730" y="91842"/>
                                                                                    <a:pt x="438700" y="89872"/>
                                                                                  </a:cubicBezTo>
                                                                                  <a:cubicBezTo>
                                                                                    <a:pt x="443680" y="84892"/>
                                                                                    <a:pt x="448970" y="80639"/>
                                                                                    <a:pt x="451914" y="74015"/>
                                                                                  </a:cubicBezTo>
                                                                                  <a:cubicBezTo>
                                                                                    <a:pt x="454177" y="68924"/>
                                                                                    <a:pt x="457200" y="58159"/>
                                                                                    <a:pt x="457200" y="58159"/>
                                                                                  </a:cubicBezTo>
                                                                                  <a:cubicBezTo>
                                                                                    <a:pt x="455438" y="55516"/>
                                                                                    <a:pt x="454024" y="52604"/>
                                                                                    <a:pt x="451914" y="50230"/>
                                                                                  </a:cubicBezTo>
                                                                                  <a:cubicBezTo>
                                                                                    <a:pt x="446589" y="44239"/>
                                                                                    <a:pt x="434773" y="35447"/>
                                                                                    <a:pt x="430772" y="26445"/>
                                                                                  </a:cubicBezTo>
                                                                                  <a:cubicBezTo>
                                                                                    <a:pt x="428509" y="21354"/>
                                                                                    <a:pt x="427248" y="15874"/>
                                                                                    <a:pt x="425486" y="10589"/>
                                                                                  </a:cubicBezTo>
                                                                                  <a:cubicBezTo>
                                                                                    <a:pt x="424605" y="7946"/>
                                                                                    <a:pt x="425487" y="3541"/>
                                                                                    <a:pt x="422844" y="2660"/>
                                                                                  </a:cubicBezTo>
                                                                                  <a:lnTo>
                                                                                    <a:pt x="414915" y="17"/>
                                                                                  </a:lnTo>
                                                                                  <a:cubicBezTo>
                                                                                    <a:pt x="406987" y="898"/>
                                                                                    <a:pt x="399107" y="2660"/>
                                                                                    <a:pt x="391130" y="2660"/>
                                                                                  </a:cubicBezTo>
                                                                                  <a:cubicBezTo>
                                                                                    <a:pt x="321857" y="2660"/>
                                                                                    <a:pt x="380869" y="-3326"/>
                                                                                    <a:pt x="332989" y="2660"/>
                                                                                  </a:cubicBezTo>
                                                                                  <a:cubicBezTo>
                                                                                    <a:pt x="308950" y="10674"/>
                                                                                    <a:pt x="346901" y="-1614"/>
                                                                                    <a:pt x="311847" y="7946"/>
                                                                                  </a:cubicBezTo>
                                                                                  <a:cubicBezTo>
                                                                                    <a:pt x="306472" y="9412"/>
                                                                                    <a:pt x="295990" y="13231"/>
                                                                                    <a:pt x="295990" y="13231"/>
                                                                                  </a:cubicBezTo>
                                                                                  <a:cubicBezTo>
                                                                                    <a:pt x="293347" y="14993"/>
                                                                                    <a:pt x="290308" y="16271"/>
                                                                                    <a:pt x="288062" y="18517"/>
                                                                                  </a:cubicBezTo>
                                                                                  <a:cubicBezTo>
                                                                                    <a:pt x="285816" y="20763"/>
                                                                                    <a:pt x="285166" y="24353"/>
                                                                                    <a:pt x="282776" y="26445"/>
                                                                                  </a:cubicBezTo>
                                                                                  <a:cubicBezTo>
                                                                                    <a:pt x="277995" y="30628"/>
                                                                                    <a:pt x="272205" y="33492"/>
                                                                                    <a:pt x="266920" y="37016"/>
                                                                                  </a:cubicBezTo>
                                                                                  <a:lnTo>
                                                                                    <a:pt x="258992" y="42302"/>
                                                                                  </a:lnTo>
                                                                                  <a:cubicBezTo>
                                                                                    <a:pt x="257230" y="44945"/>
                                                                                    <a:pt x="254100" y="47078"/>
                                                                                    <a:pt x="253706" y="50230"/>
                                                                                  </a:cubicBezTo>
                                                                                  <a:cubicBezTo>
                                                                                    <a:pt x="253149" y="54687"/>
                                                                                    <a:pt x="255879" y="58977"/>
                                                                                    <a:pt x="256349" y="63444"/>
                                                                                  </a:cubicBezTo>
                                                                                  <a:cubicBezTo>
                                                                                    <a:pt x="257643" y="75740"/>
                                                                                    <a:pt x="255993" y="88448"/>
                                                                                    <a:pt x="258992" y="100443"/>
                                                                                  </a:cubicBezTo>
                                                                                  <a:cubicBezTo>
                                                                                    <a:pt x="260533" y="106606"/>
                                                                                    <a:pt x="269563" y="116300"/>
                                                                                    <a:pt x="269563" y="116300"/>
                                                                                  </a:cubicBezTo>
                                                                                  <a:cubicBezTo>
                                                                                    <a:pt x="266920" y="118062"/>
                                                                                    <a:pt x="264537" y="120295"/>
                                                                                    <a:pt x="261634" y="121585"/>
                                                                                  </a:cubicBezTo>
                                                                                  <a:cubicBezTo>
                                                                                    <a:pt x="256543" y="123848"/>
                                                                                    <a:pt x="245778" y="126871"/>
                                                                                    <a:pt x="245778" y="126871"/>
                                                                                  </a:cubicBezTo>
                                                                                  <a:cubicBezTo>
                                                                                    <a:pt x="243024" y="135132"/>
                                                                                    <a:pt x="240352" y="145464"/>
                                                                                    <a:pt x="232564" y="150656"/>
                                                                                  </a:cubicBezTo>
                                                                                  <a:lnTo>
                                                                                    <a:pt x="216707" y="161227"/>
                                                                                  </a:lnTo>
                                                                                  <a:cubicBezTo>
                                                                                    <a:pt x="210541" y="160346"/>
                                                                                    <a:pt x="202993" y="162572"/>
                                                                                    <a:pt x="198208" y="158584"/>
                                                                                  </a:cubicBezTo>
                                                                                  <a:cubicBezTo>
                                                                                    <a:pt x="195418" y="156259"/>
                                                                                    <a:pt x="199419" y="151351"/>
                                                                                    <a:pt x="200850" y="148013"/>
                                                                                  </a:cubicBezTo>
                                                                                  <a:cubicBezTo>
                                                                                    <a:pt x="203608" y="141577"/>
                                                                                    <a:pt x="209305" y="136916"/>
                                                                                    <a:pt x="214064" y="132156"/>
                                                                                  </a:cubicBezTo>
                                                                                  <a:cubicBezTo>
                                                                                    <a:pt x="214945" y="113657"/>
                                                                                    <a:pt x="214410" y="95035"/>
                                                                                    <a:pt x="216707" y="76658"/>
                                                                                  </a:cubicBezTo>
                                                                                  <a:cubicBezTo>
                                                                                    <a:pt x="217101" y="73506"/>
                                                                                    <a:pt x="220573" y="71571"/>
                                                                                    <a:pt x="221993" y="68730"/>
                                                                                  </a:cubicBezTo>
                                                                                  <a:cubicBezTo>
                                                                                    <a:pt x="223239" y="66238"/>
                                                                                    <a:pt x="223754" y="63444"/>
                                                                                    <a:pt x="224635" y="60801"/>
                                                                                  </a:cubicBezTo>
                                                                                  <a:cubicBezTo>
                                                                                    <a:pt x="212980" y="53031"/>
                                                                                    <a:pt x="209723" y="48437"/>
                                                                                    <a:pt x="190279" y="58159"/>
                                                                                  </a:cubicBezTo>
                                                                                  <a:cubicBezTo>
                                                                                    <a:pt x="184597" y="61000"/>
                                                                                    <a:pt x="179708" y="74015"/>
                                                                                    <a:pt x="179708" y="74015"/>
                                                                                  </a:cubicBezTo>
                                                                                  <a:lnTo>
                                                                                    <a:pt x="166494" y="113657"/>
                                                                                  </a:lnTo>
                                                                                  <a:cubicBezTo>
                                                                                    <a:pt x="166492" y="113662"/>
                                                                                    <a:pt x="161212" y="129509"/>
                                                                                    <a:pt x="161209" y="129513"/>
                                                                                  </a:cubicBezTo>
                                                                                  <a:cubicBezTo>
                                                                                    <a:pt x="134482" y="169605"/>
                                                                                    <a:pt x="163416" y="128449"/>
                                                                                    <a:pt x="142709" y="153298"/>
                                                                                  </a:cubicBezTo>
                                                                                  <a:cubicBezTo>
                                                                                    <a:pt x="131696" y="166514"/>
                                                                                    <a:pt x="144033" y="156821"/>
                                                                                    <a:pt x="129496" y="166512"/>
                                                                                  </a:cubicBezTo>
                                                                                  <a:cubicBezTo>
                                                                                    <a:pt x="117379" y="184687"/>
                                                                                    <a:pt x="124951" y="180360"/>
                                                                                    <a:pt x="110996" y="185012"/>
                                                                                  </a:cubicBezTo>
                                                                                  <a:cubicBezTo>
                                                                                    <a:pt x="108353" y="187655"/>
                                                                                    <a:pt x="105141" y="189830"/>
                                                                                    <a:pt x="103068" y="192940"/>
                                                                                  </a:cubicBezTo>
                                                                                  <a:cubicBezTo>
                                                                                    <a:pt x="101523" y="195258"/>
                                                                                    <a:pt x="102395" y="198898"/>
                                                                                    <a:pt x="100425" y="200868"/>
                                                                                  </a:cubicBezTo>
                                                                                  <a:cubicBezTo>
                                                                                    <a:pt x="98455" y="202838"/>
                                                                                    <a:pt x="95140" y="202630"/>
                                                                                    <a:pt x="92497" y="203511"/>
                                                                                  </a:cubicBezTo>
                                                                                  <a:cubicBezTo>
                                                                                    <a:pt x="91616" y="206154"/>
                                                                                    <a:pt x="91100" y="208947"/>
                                                                                    <a:pt x="89854" y="211439"/>
                                                                                  </a:cubicBezTo>
                                                                                  <a:cubicBezTo>
                                                                                    <a:pt x="87416" y="216314"/>
                                                                                    <a:pt x="81024" y="224373"/>
                                                                                    <a:pt x="76640" y="227296"/>
                                                                                  </a:cubicBezTo>
                                                                                  <a:cubicBezTo>
                                                                                    <a:pt x="74322" y="228841"/>
                                                                                    <a:pt x="71204" y="228693"/>
                                                                                    <a:pt x="68712" y="229939"/>
                                                                                  </a:cubicBezTo>
                                                                                  <a:cubicBezTo>
                                                                                    <a:pt x="65871" y="231359"/>
                                                                                    <a:pt x="63426" y="233462"/>
                                                                                    <a:pt x="60783" y="235224"/>
                                                                                  </a:cubicBezTo>
                                                                                  <a:cubicBezTo>
                                                                                    <a:pt x="53895" y="245558"/>
                                                                                    <a:pt x="54257" y="240777"/>
                                                                                    <a:pt x="58141" y="253724"/>
                                                                                  </a:cubicBezTo>
                                                                                  <a:cubicBezTo>
                                                                                    <a:pt x="59742" y="259060"/>
                                                                                    <a:pt x="63426" y="269580"/>
                                                                                    <a:pt x="63426" y="269580"/>
                                                                                  </a:cubicBezTo>
                                                                                  <a:cubicBezTo>
                                                                                    <a:pt x="62545" y="273985"/>
                                                                                    <a:pt x="61586" y="278375"/>
                                                                                    <a:pt x="60783" y="282794"/>
                                                                                  </a:cubicBezTo>
                                                                                  <a:cubicBezTo>
                                                                                    <a:pt x="59825" y="288066"/>
                                                                                    <a:pt x="62257" y="295220"/>
                                                                                    <a:pt x="58141" y="298651"/>
                                                                                  </a:cubicBezTo>
                                                                                  <a:cubicBezTo>
                                                                                    <a:pt x="54690" y="301527"/>
                                                                                    <a:pt x="49332" y="296889"/>
                                                                                    <a:pt x="44927" y="296008"/>
                                                                                  </a:cubicBezTo>
                                                                                  <a:cubicBezTo>
                                                                                    <a:pt x="44046" y="288080"/>
                                                                                    <a:pt x="45247" y="279630"/>
                                                                                    <a:pt x="42284" y="272223"/>
                                                                                  </a:cubicBezTo>
                                                                                  <a:cubicBezTo>
                                                                                    <a:pt x="41249" y="269637"/>
                                                                                    <a:pt x="37142" y="269580"/>
                                                                                    <a:pt x="34356" y="269580"/>
                                                                                  </a:cubicBezTo>
                                                                                  <a:cubicBezTo>
                                                                                    <a:pt x="27253" y="269580"/>
                                                                                    <a:pt x="20261" y="271342"/>
                                                                                    <a:pt x="13213" y="272223"/>
                                                                                  </a:cubicBezTo>
                                                                                  <a:cubicBezTo>
                                                                                    <a:pt x="10570" y="273104"/>
                                                                                    <a:pt x="6904" y="272599"/>
                                                                                    <a:pt x="5285" y="274866"/>
                                                                                  </a:cubicBezTo>
                                                                                  <a:cubicBezTo>
                                                                                    <a:pt x="2047" y="279400"/>
                                                                                    <a:pt x="0" y="290723"/>
                                                                                    <a:pt x="0" y="290723"/>
                                                                                  </a:cubicBezTo>
                                                                                  <a:cubicBezTo>
                                                                                    <a:pt x="881" y="293366"/>
                                                                                    <a:pt x="1396" y="296160"/>
                                                                                    <a:pt x="2642" y="298651"/>
                                                                                  </a:cubicBezTo>
                                                                                  <a:cubicBezTo>
                                                                                    <a:pt x="5913" y="305193"/>
                                                                                    <a:pt x="9062" y="308846"/>
                                                                                    <a:pt x="15856" y="311865"/>
                                                                                  </a:cubicBezTo>
                                                                                  <a:cubicBezTo>
                                                                                    <a:pt x="20947" y="314128"/>
                                                                                    <a:pt x="31713" y="317150"/>
                                                                                    <a:pt x="31713" y="317150"/>
                                                                                  </a:cubicBezTo>
                                                                                  <a:cubicBezTo>
                                                                                    <a:pt x="48437" y="328300"/>
                                                                                    <a:pt x="27308" y="306139"/>
                                                                                    <a:pt x="26427" y="30393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68" name="Group 267"/>
                                                                          <p:cNvGrpSpPr/>
                                                                          <p:nvPr/>
                                                                        </p:nvGrpSpPr>
                                                                        <p:grpSpPr>
                                                                          <a:xfrm>
                                                                            <a:off x="3015406" y="2655823"/>
                                                                            <a:ext cx="1046539" cy="1881821"/>
                                                                            <a:chOff x="3015406" y="2655823"/>
                                                                            <a:chExt cx="1046539" cy="1881821"/>
                                                                          </a:xfrm>
                                                                          <a:grpFill/>
                                                                        </p:grpSpPr>
                                                                        <p:grpSp>
                                                                          <p:nvGrpSpPr>
                                                                            <p:cNvPr id="269" name="Group 268"/>
                                                                            <p:cNvGrpSpPr/>
                                                                            <p:nvPr/>
                                                                          </p:nvGrpSpPr>
                                                                          <p:grpSpPr>
                                                                            <a:xfrm>
                                                                              <a:off x="3411822" y="2655823"/>
                                                                              <a:ext cx="457200" cy="584219"/>
                                                                              <a:chOff x="3411822" y="2655823"/>
                                                                              <a:chExt cx="457200" cy="584219"/>
                                                                            </a:xfrm>
                                                                            <a:grpFill/>
                                                                          </p:grpSpPr>
                                                                          <p:grpSp>
                                                                            <p:nvGrpSpPr>
                                                                              <p:cNvPr id="273" name="Group 272"/>
                                                                              <p:cNvGrpSpPr/>
                                                                              <p:nvPr/>
                                                                            </p:nvGrpSpPr>
                                                                            <p:grpSpPr>
                                                                              <a:xfrm>
                                                                                <a:off x="3411822" y="2655823"/>
                                                                                <a:ext cx="457200" cy="584219"/>
                                                                                <a:chOff x="3411822" y="2655823"/>
                                                                                <a:chExt cx="457200" cy="584219"/>
                                                                              </a:xfrm>
                                                                              <a:grpFill/>
                                                                            </p:grpSpPr>
                                                                            <p:grpSp>
                                                                              <p:nvGrpSpPr>
                                                                                <p:cNvPr id="275" name="Group 274"/>
                                                                                <p:cNvGrpSpPr/>
                                                                                <p:nvPr/>
                                                                              </p:nvGrpSpPr>
                                                                              <p:grpSpPr>
                                                                                <a:xfrm>
                                                                                  <a:off x="3411822" y="2655823"/>
                                                                                  <a:ext cx="312073" cy="518149"/>
                                                                                  <a:chOff x="3411822" y="2655823"/>
                                                                                  <a:chExt cx="312073" cy="518149"/>
                                                                                </a:xfrm>
                                                                                <a:grpFill/>
                                                                              </p:grpSpPr>
                                                                              <p:sp>
                                                                                <p:nvSpPr>
                                                                                  <p:cNvPr id="278" name="Freeform 277"/>
                                                                                  <p:cNvSpPr/>
                                                                                  <p:nvPr/>
                                                                                </p:nvSpPr>
                                                                                <p:spPr>
                                                                                  <a:xfrm>
                                                                                    <a:off x="3411822" y="2785484"/>
                                                                                    <a:ext cx="312073" cy="388488"/>
                                                                                  </a:xfrm>
                                                                                  <a:custGeom>
                                                                                    <a:avLst/>
                                                                                    <a:gdLst>
                                                                                      <a:gd name="connsiteX0" fmla="*/ 7928 w 312073"/>
                                                                                      <a:gd name="connsiteY0" fmla="*/ 161210 h 388488"/>
                                                                                      <a:gd name="connsiteX1" fmla="*/ 7928 w 312073"/>
                                                                                      <a:gd name="connsiteY1" fmla="*/ 161210 h 388488"/>
                                                                                      <a:gd name="connsiteX2" fmla="*/ 5286 w 312073"/>
                                                                                      <a:gd name="connsiteY2" fmla="*/ 203494 h 388488"/>
                                                                                      <a:gd name="connsiteX3" fmla="*/ 0 w 312073"/>
                                                                                      <a:gd name="connsiteY3" fmla="*/ 219351 h 388488"/>
                                                                                      <a:gd name="connsiteX4" fmla="*/ 7928 w 312073"/>
                                                                                      <a:gd name="connsiteY4" fmla="*/ 245778 h 388488"/>
                                                                                      <a:gd name="connsiteX5" fmla="*/ 15857 w 312073"/>
                                                                                      <a:gd name="connsiteY5" fmla="*/ 248421 h 388488"/>
                                                                                      <a:gd name="connsiteX6" fmla="*/ 31713 w 312073"/>
                                                                                      <a:gd name="connsiteY6" fmla="*/ 258992 h 388488"/>
                                                                                      <a:gd name="connsiteX7" fmla="*/ 36999 w 312073"/>
                                                                                      <a:gd name="connsiteY7" fmla="*/ 274849 h 388488"/>
                                                                                      <a:gd name="connsiteX8" fmla="*/ 31713 w 312073"/>
                                                                                      <a:gd name="connsiteY8" fmla="*/ 301277 h 388488"/>
                                                                                      <a:gd name="connsiteX9" fmla="*/ 23785 w 312073"/>
                                                                                      <a:gd name="connsiteY9" fmla="*/ 317133 h 388488"/>
                                                                                      <a:gd name="connsiteX10" fmla="*/ 26428 w 312073"/>
                                                                                      <a:gd name="connsiteY10" fmla="*/ 332990 h 388488"/>
                                                                                      <a:gd name="connsiteX11" fmla="*/ 29070 w 312073"/>
                                                                                      <a:gd name="connsiteY11" fmla="*/ 340918 h 388488"/>
                                                                                      <a:gd name="connsiteX12" fmla="*/ 26428 w 312073"/>
                                                                                      <a:gd name="connsiteY12" fmla="*/ 351489 h 388488"/>
                                                                                      <a:gd name="connsiteX13" fmla="*/ 29070 w 312073"/>
                                                                                      <a:gd name="connsiteY13" fmla="*/ 359418 h 388488"/>
                                                                                      <a:gd name="connsiteX14" fmla="*/ 36999 w 312073"/>
                                                                                      <a:gd name="connsiteY14" fmla="*/ 362061 h 388488"/>
                                                                                      <a:gd name="connsiteX15" fmla="*/ 44927 w 312073"/>
                                                                                      <a:gd name="connsiteY15" fmla="*/ 367346 h 388488"/>
                                                                                      <a:gd name="connsiteX16" fmla="*/ 55498 w 312073"/>
                                                                                      <a:gd name="connsiteY16" fmla="*/ 369989 h 388488"/>
                                                                                      <a:gd name="connsiteX17" fmla="*/ 63427 w 312073"/>
                                                                                      <a:gd name="connsiteY17" fmla="*/ 372632 h 388488"/>
                                                                                      <a:gd name="connsiteX18" fmla="*/ 73998 w 312073"/>
                                                                                      <a:gd name="connsiteY18" fmla="*/ 375274 h 388488"/>
                                                                                      <a:gd name="connsiteX19" fmla="*/ 81926 w 312073"/>
                                                                                      <a:gd name="connsiteY19" fmla="*/ 377917 h 388488"/>
                                                                                      <a:gd name="connsiteX20" fmla="*/ 95140 w 312073"/>
                                                                                      <a:gd name="connsiteY20" fmla="*/ 380560 h 388488"/>
                                                                                      <a:gd name="connsiteX21" fmla="*/ 105711 w 312073"/>
                                                                                      <a:gd name="connsiteY21" fmla="*/ 383203 h 388488"/>
                                                                                      <a:gd name="connsiteX22" fmla="*/ 121568 w 312073"/>
                                                                                      <a:gd name="connsiteY22" fmla="*/ 388488 h 388488"/>
                                                                                      <a:gd name="connsiteX23" fmla="*/ 137424 w 312073"/>
                                                                                      <a:gd name="connsiteY23" fmla="*/ 385845 h 388488"/>
                                                                                      <a:gd name="connsiteX24" fmla="*/ 134781 w 312073"/>
                                                                                      <a:gd name="connsiteY24" fmla="*/ 377917 h 388488"/>
                                                                                      <a:gd name="connsiteX25" fmla="*/ 145353 w 312073"/>
                                                                                      <a:gd name="connsiteY25" fmla="*/ 367346 h 388488"/>
                                                                                      <a:gd name="connsiteX26" fmla="*/ 140067 w 312073"/>
                                                                                      <a:gd name="connsiteY26" fmla="*/ 343561 h 388488"/>
                                                                                      <a:gd name="connsiteX27" fmla="*/ 132139 w 312073"/>
                                                                                      <a:gd name="connsiteY27" fmla="*/ 335633 h 388488"/>
                                                                                      <a:gd name="connsiteX28" fmla="*/ 126853 w 312073"/>
                                                                                      <a:gd name="connsiteY28" fmla="*/ 327704 h 388488"/>
                                                                                      <a:gd name="connsiteX29" fmla="*/ 129496 w 312073"/>
                                                                                      <a:gd name="connsiteY29" fmla="*/ 317133 h 388488"/>
                                                                                      <a:gd name="connsiteX30" fmla="*/ 140067 w 312073"/>
                                                                                      <a:gd name="connsiteY30" fmla="*/ 301277 h 388488"/>
                                                                                      <a:gd name="connsiteX31" fmla="*/ 142710 w 312073"/>
                                                                                      <a:gd name="connsiteY31" fmla="*/ 269563 h 388488"/>
                                                                                      <a:gd name="connsiteX32" fmla="*/ 150638 w 312073"/>
                                                                                      <a:gd name="connsiteY32" fmla="*/ 264278 h 388488"/>
                                                                                      <a:gd name="connsiteX33" fmla="*/ 155924 w 312073"/>
                                                                                      <a:gd name="connsiteY33" fmla="*/ 248421 h 388488"/>
                                                                                      <a:gd name="connsiteX34" fmla="*/ 150638 w 312073"/>
                                                                                      <a:gd name="connsiteY34" fmla="*/ 232565 h 388488"/>
                                                                                      <a:gd name="connsiteX35" fmla="*/ 161209 w 312073"/>
                                                                                      <a:gd name="connsiteY35" fmla="*/ 235207 h 388488"/>
                                                                                      <a:gd name="connsiteX36" fmla="*/ 177066 w 312073"/>
                                                                                      <a:gd name="connsiteY36" fmla="*/ 240493 h 388488"/>
                                                                                      <a:gd name="connsiteX37" fmla="*/ 190280 w 312073"/>
                                                                                      <a:gd name="connsiteY37" fmla="*/ 237850 h 388488"/>
                                                                                      <a:gd name="connsiteX38" fmla="*/ 192923 w 312073"/>
                                                                                      <a:gd name="connsiteY38" fmla="*/ 211422 h 388488"/>
                                                                                      <a:gd name="connsiteX39" fmla="*/ 214065 w 312073"/>
                                                                                      <a:gd name="connsiteY39" fmla="*/ 200851 h 388488"/>
                                                                                      <a:gd name="connsiteX40" fmla="*/ 219350 w 312073"/>
                                                                                      <a:gd name="connsiteY40" fmla="*/ 184995 h 388488"/>
                                                                                      <a:gd name="connsiteX41" fmla="*/ 221993 w 312073"/>
                                                                                      <a:gd name="connsiteY41" fmla="*/ 174424 h 388488"/>
                                                                                      <a:gd name="connsiteX42" fmla="*/ 224636 w 312073"/>
                                                                                      <a:gd name="connsiteY42" fmla="*/ 161210 h 388488"/>
                                                                                      <a:gd name="connsiteX43" fmla="*/ 227279 w 312073"/>
                                                                                      <a:gd name="connsiteY43" fmla="*/ 153281 h 388488"/>
                                                                                      <a:gd name="connsiteX44" fmla="*/ 235207 w 312073"/>
                                                                                      <a:gd name="connsiteY44" fmla="*/ 150639 h 388488"/>
                                                                                      <a:gd name="connsiteX45" fmla="*/ 243135 w 312073"/>
                                                                                      <a:gd name="connsiteY45" fmla="*/ 145353 h 388488"/>
                                                                                      <a:gd name="connsiteX46" fmla="*/ 253706 w 312073"/>
                                                                                      <a:gd name="connsiteY46" fmla="*/ 161210 h 388488"/>
                                                                                      <a:gd name="connsiteX47" fmla="*/ 277491 w 312073"/>
                                                                                      <a:gd name="connsiteY47" fmla="*/ 158567 h 388488"/>
                                                                                      <a:gd name="connsiteX48" fmla="*/ 290705 w 312073"/>
                                                                                      <a:gd name="connsiteY48" fmla="*/ 134782 h 388488"/>
                                                                                      <a:gd name="connsiteX49" fmla="*/ 309205 w 312073"/>
                                                                                      <a:gd name="connsiteY49" fmla="*/ 113640 h 388488"/>
                                                                                      <a:gd name="connsiteX50" fmla="*/ 311847 w 312073"/>
                                                                                      <a:gd name="connsiteY50" fmla="*/ 105711 h 388488"/>
                                                                                      <a:gd name="connsiteX51" fmla="*/ 303919 w 312073"/>
                                                                                      <a:gd name="connsiteY51" fmla="*/ 100426 h 388488"/>
                                                                                      <a:gd name="connsiteX52" fmla="*/ 288062 w 312073"/>
                                                                                      <a:gd name="connsiteY52" fmla="*/ 95140 h 388488"/>
                                                                                      <a:gd name="connsiteX53" fmla="*/ 280134 w 312073"/>
                                                                                      <a:gd name="connsiteY53" fmla="*/ 89855 h 388488"/>
                                                                                      <a:gd name="connsiteX54" fmla="*/ 272206 w 312073"/>
                                                                                      <a:gd name="connsiteY54" fmla="*/ 81926 h 388488"/>
                                                                                      <a:gd name="connsiteX55" fmla="*/ 264277 w 312073"/>
                                                                                      <a:gd name="connsiteY55" fmla="*/ 79284 h 388488"/>
                                                                                      <a:gd name="connsiteX56" fmla="*/ 253706 w 312073"/>
                                                                                      <a:gd name="connsiteY56" fmla="*/ 68713 h 388488"/>
                                                                                      <a:gd name="connsiteX57" fmla="*/ 243135 w 312073"/>
                                                                                      <a:gd name="connsiteY57" fmla="*/ 58141 h 388488"/>
                                                                                      <a:gd name="connsiteX58" fmla="*/ 245778 w 312073"/>
                                                                                      <a:gd name="connsiteY58" fmla="*/ 47570 h 388488"/>
                                                                                      <a:gd name="connsiteX59" fmla="*/ 245778 w 312073"/>
                                                                                      <a:gd name="connsiteY59" fmla="*/ 15857 h 388488"/>
                                                                                      <a:gd name="connsiteX60" fmla="*/ 229921 w 312073"/>
                                                                                      <a:gd name="connsiteY60" fmla="*/ 5286 h 388488"/>
                                                                                      <a:gd name="connsiteX61" fmla="*/ 221993 w 312073"/>
                                                                                      <a:gd name="connsiteY61" fmla="*/ 0 h 388488"/>
                                                                                      <a:gd name="connsiteX62" fmla="*/ 169138 w 312073"/>
                                                                                      <a:gd name="connsiteY62" fmla="*/ 2643 h 388488"/>
                                                                                      <a:gd name="connsiteX63" fmla="*/ 161209 w 312073"/>
                                                                                      <a:gd name="connsiteY63" fmla="*/ 5286 h 388488"/>
                                                                                      <a:gd name="connsiteX64" fmla="*/ 153281 w 312073"/>
                                                                                      <a:gd name="connsiteY64" fmla="*/ 10571 h 388488"/>
                                                                                      <a:gd name="connsiteX65" fmla="*/ 150638 w 312073"/>
                                                                                      <a:gd name="connsiteY65" fmla="*/ 18500 h 388488"/>
                                                                                      <a:gd name="connsiteX66" fmla="*/ 150638 w 312073"/>
                                                                                      <a:gd name="connsiteY66" fmla="*/ 55499 h 388488"/>
                                                                                      <a:gd name="connsiteX67" fmla="*/ 142710 w 312073"/>
                                                                                      <a:gd name="connsiteY67" fmla="*/ 58141 h 388488"/>
                                                                                      <a:gd name="connsiteX68" fmla="*/ 126853 w 312073"/>
                                                                                      <a:gd name="connsiteY68" fmla="*/ 52856 h 388488"/>
                                                                                      <a:gd name="connsiteX69" fmla="*/ 124210 w 312073"/>
                                                                                      <a:gd name="connsiteY69" fmla="*/ 44928 h 388488"/>
                                                                                      <a:gd name="connsiteX70" fmla="*/ 121568 w 312073"/>
                                                                                      <a:gd name="connsiteY70" fmla="*/ 34356 h 388488"/>
                                                                                      <a:gd name="connsiteX71" fmla="*/ 113639 w 312073"/>
                                                                                      <a:gd name="connsiteY71" fmla="*/ 26428 h 388488"/>
                                                                                      <a:gd name="connsiteX72" fmla="*/ 105711 w 312073"/>
                                                                                      <a:gd name="connsiteY72" fmla="*/ 29071 h 388488"/>
                                                                                      <a:gd name="connsiteX73" fmla="*/ 103068 w 312073"/>
                                                                                      <a:gd name="connsiteY73" fmla="*/ 36999 h 388488"/>
                                                                                      <a:gd name="connsiteX74" fmla="*/ 89854 w 312073"/>
                                                                                      <a:gd name="connsiteY74" fmla="*/ 52856 h 388488"/>
                                                                                      <a:gd name="connsiteX75" fmla="*/ 87212 w 312073"/>
                                                                                      <a:gd name="connsiteY75" fmla="*/ 63427 h 388488"/>
                                                                                      <a:gd name="connsiteX76" fmla="*/ 71355 w 312073"/>
                                                                                      <a:gd name="connsiteY76" fmla="*/ 71355 h 388488"/>
                                                                                      <a:gd name="connsiteX77" fmla="*/ 52855 w 312073"/>
                                                                                      <a:gd name="connsiteY77" fmla="*/ 66070 h 388488"/>
                                                                                      <a:gd name="connsiteX78" fmla="*/ 44927 w 312073"/>
                                                                                      <a:gd name="connsiteY78" fmla="*/ 60784 h 388488"/>
                                                                                      <a:gd name="connsiteX79" fmla="*/ 39642 w 312073"/>
                                                                                      <a:gd name="connsiteY79" fmla="*/ 52856 h 388488"/>
                                                                                      <a:gd name="connsiteX80" fmla="*/ 34356 w 312073"/>
                                                                                      <a:gd name="connsiteY80" fmla="*/ 50213 h 388488"/>
                                                                                      <a:gd name="connsiteX81" fmla="*/ 29070 w 312073"/>
                                                                                      <a:gd name="connsiteY81" fmla="*/ 76641 h 388488"/>
                                                                                      <a:gd name="connsiteX82" fmla="*/ 23785 w 312073"/>
                                                                                      <a:gd name="connsiteY82" fmla="*/ 92498 h 388488"/>
                                                                                      <a:gd name="connsiteX83" fmla="*/ 21142 w 312073"/>
                                                                                      <a:gd name="connsiteY83" fmla="*/ 100426 h 388488"/>
                                                                                      <a:gd name="connsiteX84" fmla="*/ 15857 w 312073"/>
                                                                                      <a:gd name="connsiteY84" fmla="*/ 121568 h 388488"/>
                                                                                      <a:gd name="connsiteX85" fmla="*/ 18499 w 312073"/>
                                                                                      <a:gd name="connsiteY85" fmla="*/ 132139 h 388488"/>
                                                                                      <a:gd name="connsiteX86" fmla="*/ 26428 w 312073"/>
                                                                                      <a:gd name="connsiteY86" fmla="*/ 137425 h 388488"/>
                                                                                      <a:gd name="connsiteX87" fmla="*/ 31713 w 312073"/>
                                                                                      <a:gd name="connsiteY87" fmla="*/ 153281 h 388488"/>
                                                                                      <a:gd name="connsiteX88" fmla="*/ 29070 w 312073"/>
                                                                                      <a:gd name="connsiteY88" fmla="*/ 169138 h 388488"/>
                                                                                      <a:gd name="connsiteX89" fmla="*/ 21142 w 312073"/>
                                                                                      <a:gd name="connsiteY89" fmla="*/ 171781 h 388488"/>
                                                                                      <a:gd name="connsiteX90" fmla="*/ 7928 w 312073"/>
                                                                                      <a:gd name="connsiteY90" fmla="*/ 161210 h 38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12073" h="388488">
                                                                                        <a:moveTo>
                                                                                          <a:pt x="7928" y="161210"/>
                                                                                        </a:moveTo>
                                                                                        <a:lnTo>
                                                                                          <a:pt x="7928" y="161210"/>
                                                                                        </a:lnTo>
                                                                                        <a:cubicBezTo>
                                                                                          <a:pt x="7047" y="175305"/>
                                                                                          <a:pt x="7194" y="189501"/>
                                                                                          <a:pt x="5286" y="203494"/>
                                                                                        </a:cubicBezTo>
                                                                                        <a:cubicBezTo>
                                                                                          <a:pt x="4533" y="209015"/>
                                                                                          <a:pt x="0" y="219351"/>
                                                                                          <a:pt x="0" y="219351"/>
                                                                                        </a:cubicBezTo>
                                                                                        <a:cubicBezTo>
                                                                                          <a:pt x="1156" y="227445"/>
                                                                                          <a:pt x="175" y="239576"/>
                                                                                          <a:pt x="7928" y="245778"/>
                                                                                        </a:cubicBezTo>
                                                                                        <a:cubicBezTo>
                                                                                          <a:pt x="10103" y="247518"/>
                                                                                          <a:pt x="13214" y="247540"/>
                                                                                          <a:pt x="15857" y="248421"/>
                                                                                        </a:cubicBezTo>
                                                                                        <a:cubicBezTo>
                                                                                          <a:pt x="21142" y="251945"/>
                                                                                          <a:pt x="29704" y="252966"/>
                                                                                          <a:pt x="31713" y="258992"/>
                                                                                        </a:cubicBezTo>
                                                                                        <a:lnTo>
                                                                                          <a:pt x="36999" y="274849"/>
                                                                                        </a:lnTo>
                                                                                        <a:cubicBezTo>
                                                                                          <a:pt x="36025" y="281668"/>
                                                                                          <a:pt x="35403" y="293896"/>
                                                                                          <a:pt x="31713" y="301277"/>
                                                                                        </a:cubicBezTo>
                                                                                        <a:cubicBezTo>
                                                                                          <a:pt x="21466" y="321773"/>
                                                                                          <a:pt x="30429" y="297202"/>
                                                                                          <a:pt x="23785" y="317133"/>
                                                                                        </a:cubicBezTo>
                                                                                        <a:cubicBezTo>
                                                                                          <a:pt x="24666" y="322419"/>
                                                                                          <a:pt x="25266" y="327759"/>
                                                                                          <a:pt x="26428" y="332990"/>
                                                                                        </a:cubicBezTo>
                                                                                        <a:cubicBezTo>
                                                                                          <a:pt x="27032" y="335709"/>
                                                                                          <a:pt x="29070" y="338132"/>
                                                                                          <a:pt x="29070" y="340918"/>
                                                                                        </a:cubicBezTo>
                                                                                        <a:cubicBezTo>
                                                                                          <a:pt x="29070" y="344550"/>
                                                                                          <a:pt x="27309" y="347965"/>
                                                                                          <a:pt x="26428" y="351489"/>
                                                                                        </a:cubicBezTo>
                                                                                        <a:cubicBezTo>
                                                                                          <a:pt x="27309" y="354132"/>
                                                                                          <a:pt x="27100" y="357448"/>
                                                                                          <a:pt x="29070" y="359418"/>
                                                                                        </a:cubicBezTo>
                                                                                        <a:cubicBezTo>
                                                                                          <a:pt x="31040" y="361388"/>
                                                                                          <a:pt x="34507" y="360815"/>
                                                                                          <a:pt x="36999" y="362061"/>
                                                                                        </a:cubicBezTo>
                                                                                        <a:cubicBezTo>
                                                                                          <a:pt x="39840" y="363481"/>
                                                                                          <a:pt x="42008" y="366095"/>
                                                                                          <a:pt x="44927" y="367346"/>
                                                                                        </a:cubicBezTo>
                                                                                        <a:cubicBezTo>
                                                                                          <a:pt x="48265" y="368777"/>
                                                                                          <a:pt x="52006" y="368991"/>
                                                                                          <a:pt x="55498" y="369989"/>
                                                                                        </a:cubicBezTo>
                                                                                        <a:cubicBezTo>
                                                                                          <a:pt x="58177" y="370754"/>
                                                                                          <a:pt x="60748" y="371867"/>
                                                                                          <a:pt x="63427" y="372632"/>
                                                                                        </a:cubicBezTo>
                                                                                        <a:cubicBezTo>
                                                                                          <a:pt x="66919" y="373630"/>
                                                                                          <a:pt x="70506" y="374276"/>
                                                                                          <a:pt x="73998" y="375274"/>
                                                                                        </a:cubicBezTo>
                                                                                        <a:cubicBezTo>
                                                                                          <a:pt x="76676" y="376039"/>
                                                                                          <a:pt x="79224" y="377241"/>
                                                                                          <a:pt x="81926" y="377917"/>
                                                                                        </a:cubicBezTo>
                                                                                        <a:cubicBezTo>
                                                                                          <a:pt x="86284" y="379007"/>
                                                                                          <a:pt x="90755" y="379585"/>
                                                                                          <a:pt x="95140" y="380560"/>
                                                                                        </a:cubicBezTo>
                                                                                        <a:cubicBezTo>
                                                                                          <a:pt x="98686" y="381348"/>
                                                                                          <a:pt x="102232" y="382159"/>
                                                                                          <a:pt x="105711" y="383203"/>
                                                                                        </a:cubicBezTo>
                                                                                        <a:cubicBezTo>
                                                                                          <a:pt x="111048" y="384804"/>
                                                                                          <a:pt x="121568" y="388488"/>
                                                                                          <a:pt x="121568" y="388488"/>
                                                                                        </a:cubicBezTo>
                                                                                        <a:cubicBezTo>
                                                                                          <a:pt x="126853" y="387607"/>
                                                                                          <a:pt x="133240" y="389192"/>
                                                                                          <a:pt x="137424" y="385845"/>
                                                                                        </a:cubicBezTo>
                                                                                        <a:cubicBezTo>
                                                                                          <a:pt x="139599" y="384105"/>
                                                                                          <a:pt x="134781" y="380703"/>
                                                                                          <a:pt x="134781" y="377917"/>
                                                                                        </a:cubicBezTo>
                                                                                        <a:cubicBezTo>
                                                                                          <a:pt x="134781" y="368521"/>
                                                                                          <a:pt x="138306" y="369695"/>
                                                                                          <a:pt x="145353" y="367346"/>
                                                                                        </a:cubicBezTo>
                                                                                        <a:cubicBezTo>
                                                                                          <a:pt x="145193" y="366547"/>
                                                                                          <a:pt x="141216" y="345571"/>
                                                                                          <a:pt x="140067" y="343561"/>
                                                                                        </a:cubicBezTo>
                                                                                        <a:cubicBezTo>
                                                                                          <a:pt x="138213" y="340316"/>
                                                                                          <a:pt x="134532" y="338504"/>
                                                                                          <a:pt x="132139" y="335633"/>
                                                                                        </a:cubicBezTo>
                                                                                        <a:cubicBezTo>
                                                                                          <a:pt x="130105" y="333193"/>
                                                                                          <a:pt x="128615" y="330347"/>
                                                                                          <a:pt x="126853" y="327704"/>
                                                                                        </a:cubicBezTo>
                                                                                        <a:cubicBezTo>
                                                                                          <a:pt x="127734" y="324180"/>
                                                                                          <a:pt x="127872" y="320382"/>
                                                                                          <a:pt x="129496" y="317133"/>
                                                                                        </a:cubicBezTo>
                                                                                        <a:cubicBezTo>
                                                                                          <a:pt x="132337" y="311451"/>
                                                                                          <a:pt x="140067" y="301277"/>
                                                                                          <a:pt x="140067" y="301277"/>
                                                                                        </a:cubicBezTo>
                                                                                        <a:cubicBezTo>
                                                                                          <a:pt x="140948" y="290706"/>
                                                                                          <a:pt x="139796" y="279763"/>
                                                                                          <a:pt x="142710" y="269563"/>
                                                                                        </a:cubicBezTo>
                                                                                        <a:cubicBezTo>
                                                                                          <a:pt x="143583" y="266509"/>
                                                                                          <a:pt x="148955" y="266971"/>
                                                                                          <a:pt x="150638" y="264278"/>
                                                                                        </a:cubicBezTo>
                                                                                        <a:cubicBezTo>
                                                                                          <a:pt x="153591" y="259553"/>
                                                                                          <a:pt x="155924" y="248421"/>
                                                                                          <a:pt x="155924" y="248421"/>
                                                                                        </a:cubicBezTo>
                                                                                        <a:cubicBezTo>
                                                                                          <a:pt x="154162" y="243136"/>
                                                                                          <a:pt x="145233" y="231214"/>
                                                                                          <a:pt x="150638" y="232565"/>
                                                                                        </a:cubicBezTo>
                                                                                        <a:cubicBezTo>
                                                                                          <a:pt x="154162" y="233446"/>
                                                                                          <a:pt x="157730" y="234163"/>
                                                                                          <a:pt x="161209" y="235207"/>
                                                                                        </a:cubicBezTo>
                                                                                        <a:cubicBezTo>
                                                                                          <a:pt x="166546" y="236808"/>
                                                                                          <a:pt x="177066" y="240493"/>
                                                                                          <a:pt x="177066" y="240493"/>
                                                                                        </a:cubicBezTo>
                                                                                        <a:cubicBezTo>
                                                                                          <a:pt x="181471" y="239612"/>
                                                                                          <a:pt x="186380" y="240079"/>
                                                                                          <a:pt x="190280" y="237850"/>
                                                                                        </a:cubicBezTo>
                                                                                        <a:cubicBezTo>
                                                                                          <a:pt x="200092" y="232243"/>
                                                                                          <a:pt x="193912" y="218348"/>
                                                                                          <a:pt x="192923" y="211422"/>
                                                                                        </a:cubicBezTo>
                                                                                        <a:cubicBezTo>
                                                                                          <a:pt x="200249" y="189438"/>
                                                                                          <a:pt x="186736" y="222106"/>
                                                                                          <a:pt x="214065" y="200851"/>
                                                                                        </a:cubicBezTo>
                                                                                        <a:cubicBezTo>
                                                                                          <a:pt x="218463" y="197431"/>
                                                                                          <a:pt x="217999" y="190400"/>
                                                                                          <a:pt x="219350" y="184995"/>
                                                                                        </a:cubicBezTo>
                                                                                        <a:cubicBezTo>
                                                                                          <a:pt x="220231" y="181471"/>
                                                                                          <a:pt x="221205" y="177970"/>
                                                                                          <a:pt x="221993" y="174424"/>
                                                                                        </a:cubicBezTo>
                                                                                        <a:cubicBezTo>
                                                                                          <a:pt x="222968" y="170039"/>
                                                                                          <a:pt x="223547" y="165568"/>
                                                                                          <a:pt x="224636" y="161210"/>
                                                                                        </a:cubicBezTo>
                                                                                        <a:cubicBezTo>
                                                                                          <a:pt x="225312" y="158507"/>
                                                                                          <a:pt x="225309" y="155251"/>
                                                                                          <a:pt x="227279" y="153281"/>
                                                                                        </a:cubicBezTo>
                                                                                        <a:cubicBezTo>
                                                                                          <a:pt x="229249" y="151311"/>
                                                                                          <a:pt x="232564" y="151520"/>
                                                                                          <a:pt x="235207" y="150639"/>
                                                                                        </a:cubicBezTo>
                                                                                        <a:cubicBezTo>
                                                                                          <a:pt x="237850" y="148877"/>
                                                                                          <a:pt x="240002" y="145875"/>
                                                                                          <a:pt x="243135" y="145353"/>
                                                                                        </a:cubicBezTo>
                                                                                        <a:cubicBezTo>
                                                                                          <a:pt x="254146" y="143518"/>
                                                                                          <a:pt x="252419" y="154775"/>
                                                                                          <a:pt x="253706" y="161210"/>
                                                                                        </a:cubicBezTo>
                                                                                        <a:cubicBezTo>
                                                                                          <a:pt x="261634" y="160329"/>
                                                                                          <a:pt x="270467" y="162349"/>
                                                                                          <a:pt x="277491" y="158567"/>
                                                                                        </a:cubicBezTo>
                                                                                        <a:cubicBezTo>
                                                                                          <a:pt x="290460" y="151583"/>
                                                                                          <a:pt x="285679" y="143829"/>
                                                                                          <a:pt x="290705" y="134782"/>
                                                                                        </a:cubicBezTo>
                                                                                        <a:cubicBezTo>
                                                                                          <a:pt x="299774" y="118457"/>
                                                                                          <a:pt x="297622" y="121361"/>
                                                                                          <a:pt x="309205" y="113640"/>
                                                                                        </a:cubicBezTo>
                                                                                        <a:cubicBezTo>
                                                                                          <a:pt x="310086" y="110997"/>
                                                                                          <a:pt x="312882" y="108298"/>
                                                                                          <a:pt x="311847" y="105711"/>
                                                                                        </a:cubicBezTo>
                                                                                        <a:cubicBezTo>
                                                                                          <a:pt x="310667" y="102762"/>
                                                                                          <a:pt x="306821" y="101716"/>
                                                                                          <a:pt x="303919" y="100426"/>
                                                                                        </a:cubicBezTo>
                                                                                        <a:cubicBezTo>
                                                                                          <a:pt x="298828" y="98163"/>
                                                                                          <a:pt x="292698" y="98230"/>
                                                                                          <a:pt x="288062" y="95140"/>
                                                                                        </a:cubicBezTo>
                                                                                        <a:cubicBezTo>
                                                                                          <a:pt x="285419" y="93378"/>
                                                                                          <a:pt x="282574" y="91888"/>
                                                                                          <a:pt x="280134" y="89855"/>
                                                                                        </a:cubicBezTo>
                                                                                        <a:cubicBezTo>
                                                                                          <a:pt x="277263" y="87462"/>
                                                                                          <a:pt x="275316" y="83999"/>
                                                                                          <a:pt x="272206" y="81926"/>
                                                                                        </a:cubicBezTo>
                                                                                        <a:cubicBezTo>
                                                                                          <a:pt x="269888" y="80381"/>
                                                                                          <a:pt x="266920" y="80165"/>
                                                                                          <a:pt x="264277" y="79284"/>
                                                                                        </a:cubicBezTo>
                                                                                        <a:cubicBezTo>
                                                                                          <a:pt x="257232" y="58140"/>
                                                                                          <a:pt x="267801" y="82808"/>
                                                                                          <a:pt x="253706" y="68713"/>
                                                                                        </a:cubicBezTo>
                                                                                        <a:cubicBezTo>
                                                                                          <a:pt x="239609" y="54616"/>
                                                                                          <a:pt x="264281" y="65190"/>
                                                                                          <a:pt x="243135" y="58141"/>
                                                                                        </a:cubicBezTo>
                                                                                        <a:cubicBezTo>
                                                                                          <a:pt x="244016" y="54617"/>
                                                                                          <a:pt x="244780" y="51062"/>
                                                                                          <a:pt x="245778" y="47570"/>
                                                                                        </a:cubicBezTo>
                                                                                        <a:cubicBezTo>
                                                                                          <a:pt x="249088" y="35987"/>
                                                                                          <a:pt x="254044" y="31207"/>
                                                                                          <a:pt x="245778" y="15857"/>
                                                                                        </a:cubicBezTo>
                                                                                        <a:cubicBezTo>
                                                                                          <a:pt x="242766" y="10264"/>
                                                                                          <a:pt x="235207" y="8810"/>
                                                                                          <a:pt x="229921" y="5286"/>
                                                                                        </a:cubicBezTo>
                                                                                        <a:lnTo>
                                                                                          <a:pt x="221993" y="0"/>
                                                                                        </a:lnTo>
                                                                                        <a:cubicBezTo>
                                                                                          <a:pt x="204375" y="881"/>
                                                                                          <a:pt x="186712" y="1115"/>
                                                                                          <a:pt x="169138" y="2643"/>
                                                                                        </a:cubicBezTo>
                                                                                        <a:cubicBezTo>
                                                                                          <a:pt x="166363" y="2884"/>
                                                                                          <a:pt x="163701" y="4040"/>
                                                                                          <a:pt x="161209" y="5286"/>
                                                                                        </a:cubicBezTo>
                                                                                        <a:cubicBezTo>
                                                                                          <a:pt x="158368" y="6706"/>
                                                                                          <a:pt x="155924" y="8809"/>
                                                                                          <a:pt x="153281" y="10571"/>
                                                                                        </a:cubicBezTo>
                                                                                        <a:cubicBezTo>
                                                                                          <a:pt x="152400" y="13214"/>
                                                                                          <a:pt x="150638" y="15714"/>
                                                                                          <a:pt x="150638" y="18500"/>
                                                                                        </a:cubicBezTo>
                                                                                        <a:cubicBezTo>
                                                                                          <a:pt x="150638" y="32596"/>
                                                                                          <a:pt x="157686" y="41403"/>
                                                                                          <a:pt x="150638" y="55499"/>
                                                                                        </a:cubicBezTo>
                                                                                        <a:cubicBezTo>
                                                                                          <a:pt x="149392" y="57990"/>
                                                                                          <a:pt x="145353" y="57260"/>
                                                                                          <a:pt x="142710" y="58141"/>
                                                                                        </a:cubicBezTo>
                                                                                        <a:cubicBezTo>
                                                                                          <a:pt x="137424" y="56379"/>
                                                                                          <a:pt x="128615" y="58142"/>
                                                                                          <a:pt x="126853" y="52856"/>
                                                                                        </a:cubicBezTo>
                                                                                        <a:cubicBezTo>
                                                                                          <a:pt x="125972" y="50213"/>
                                                                                          <a:pt x="124975" y="47606"/>
                                                                                          <a:pt x="124210" y="44928"/>
                                                                                        </a:cubicBezTo>
                                                                                        <a:cubicBezTo>
                                                                                          <a:pt x="123212" y="41435"/>
                                                                                          <a:pt x="123370" y="37510"/>
                                                                                          <a:pt x="121568" y="34356"/>
                                                                                        </a:cubicBezTo>
                                                                                        <a:cubicBezTo>
                                                                                          <a:pt x="119714" y="31111"/>
                                                                                          <a:pt x="116282" y="29071"/>
                                                                                          <a:pt x="113639" y="26428"/>
                                                                                        </a:cubicBezTo>
                                                                                        <a:cubicBezTo>
                                                                                          <a:pt x="110996" y="27309"/>
                                                                                          <a:pt x="107681" y="27101"/>
                                                                                          <a:pt x="105711" y="29071"/>
                                                                                        </a:cubicBezTo>
                                                                                        <a:cubicBezTo>
                                                                                          <a:pt x="103741" y="31041"/>
                                                                                          <a:pt x="104314" y="34507"/>
                                                                                          <a:pt x="103068" y="36999"/>
                                                                                        </a:cubicBezTo>
                                                                                        <a:cubicBezTo>
                                                                                          <a:pt x="99387" y="44362"/>
                                                                                          <a:pt x="95703" y="47008"/>
                                                                                          <a:pt x="89854" y="52856"/>
                                                                                        </a:cubicBezTo>
                                                                                        <a:cubicBezTo>
                                                                                          <a:pt x="88973" y="56380"/>
                                                                                          <a:pt x="89227" y="60405"/>
                                                                                          <a:pt x="87212" y="63427"/>
                                                                                        </a:cubicBezTo>
                                                                                        <a:cubicBezTo>
                                                                                          <a:pt x="84284" y="67819"/>
                                                                                          <a:pt x="75879" y="69848"/>
                                                                                          <a:pt x="71355" y="71355"/>
                                                                                        </a:cubicBezTo>
                                                                                        <a:cubicBezTo>
                                                                                          <a:pt x="67965" y="70508"/>
                                                                                          <a:pt x="56648" y="67967"/>
                                                                                          <a:pt x="52855" y="66070"/>
                                                                                        </a:cubicBezTo>
                                                                                        <a:cubicBezTo>
                                                                                          <a:pt x="50014" y="64649"/>
                                                                                          <a:pt x="47570" y="62546"/>
                                                                                          <a:pt x="44927" y="60784"/>
                                                                                        </a:cubicBezTo>
                                                                                        <a:cubicBezTo>
                                                                                          <a:pt x="43165" y="58141"/>
                                                                                          <a:pt x="40893" y="55775"/>
                                                                                          <a:pt x="39642" y="52856"/>
                                                                                        </a:cubicBezTo>
                                                                                        <a:cubicBezTo>
                                                                                          <a:pt x="35286" y="42693"/>
                                                                                          <a:pt x="38943" y="36454"/>
                                                                                          <a:pt x="34356" y="50213"/>
                                                                                        </a:cubicBezTo>
                                                                                        <a:cubicBezTo>
                                                                                          <a:pt x="32569" y="60933"/>
                                                                                          <a:pt x="32028" y="66782"/>
                                                                                          <a:pt x="29070" y="76641"/>
                                                                                        </a:cubicBezTo>
                                                                                        <a:cubicBezTo>
                                                                                          <a:pt x="27469" y="81978"/>
                                                                                          <a:pt x="25547" y="87212"/>
                                                                                          <a:pt x="23785" y="92498"/>
                                                                                        </a:cubicBezTo>
                                                                                        <a:cubicBezTo>
                                                                                          <a:pt x="22904" y="95141"/>
                                                                                          <a:pt x="21688" y="97694"/>
                                                                                          <a:pt x="21142" y="100426"/>
                                                                                        </a:cubicBezTo>
                                                                                        <a:cubicBezTo>
                                                                                          <a:pt x="17953" y="116371"/>
                                                                                          <a:pt x="19919" y="109378"/>
                                                                                          <a:pt x="15857" y="121568"/>
                                                                                        </a:cubicBezTo>
                                                                                        <a:cubicBezTo>
                                                                                          <a:pt x="16738" y="125092"/>
                                                                                          <a:pt x="16484" y="129117"/>
                                                                                          <a:pt x="18499" y="132139"/>
                                                                                        </a:cubicBezTo>
                                                                                        <a:cubicBezTo>
                                                                                          <a:pt x="20261" y="134782"/>
                                                                                          <a:pt x="24744" y="134731"/>
                                                                                          <a:pt x="26428" y="137425"/>
                                                                                        </a:cubicBezTo>
                                                                                        <a:cubicBezTo>
                                                                                          <a:pt x="29381" y="142149"/>
                                                                                          <a:pt x="31713" y="153281"/>
                                                                                          <a:pt x="31713" y="153281"/>
                                                                                        </a:cubicBezTo>
                                                                                        <a:cubicBezTo>
                                                                                          <a:pt x="30832" y="158567"/>
                                                                                          <a:pt x="31729" y="164485"/>
                                                                                          <a:pt x="29070" y="169138"/>
                                                                                        </a:cubicBezTo>
                                                                                        <a:cubicBezTo>
                                                                                          <a:pt x="27688" y="171557"/>
                                                                                          <a:pt x="23928" y="171781"/>
                                                                                          <a:pt x="21142" y="171781"/>
                                                                                        </a:cubicBezTo>
                                                                                        <a:cubicBezTo>
                                                                                          <a:pt x="14900" y="171781"/>
                                                                                          <a:pt x="10130" y="162972"/>
                                                                                          <a:pt x="7928" y="16121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9" name="Freeform 278"/>
                                                                                  <p:cNvSpPr/>
                                                                                  <p:nvPr/>
                                                                                </p:nvSpPr>
                                                                                <p:spPr>
                                                                                  <a:xfrm>
                                                                                    <a:off x="3469963" y="2655823"/>
                                                                                    <a:ext cx="249540" cy="164017"/>
                                                                                  </a:xfrm>
                                                                                  <a:custGeom>
                                                                                    <a:avLst/>
                                                                                    <a:gdLst>
                                                                                      <a:gd name="connsiteX0" fmla="*/ 10571 w 249540"/>
                                                                                      <a:gd name="connsiteY0" fmla="*/ 164017 h 164017"/>
                                                                                      <a:gd name="connsiteX1" fmla="*/ 10571 w 249540"/>
                                                                                      <a:gd name="connsiteY1" fmla="*/ 164017 h 164017"/>
                                                                                      <a:gd name="connsiteX2" fmla="*/ 23785 w 249540"/>
                                                                                      <a:gd name="connsiteY2" fmla="*/ 145518 h 164017"/>
                                                                                      <a:gd name="connsiteX3" fmla="*/ 26428 w 249540"/>
                                                                                      <a:gd name="connsiteY3" fmla="*/ 137590 h 164017"/>
                                                                                      <a:gd name="connsiteX4" fmla="*/ 34356 w 249540"/>
                                                                                      <a:gd name="connsiteY4" fmla="*/ 129661 h 164017"/>
                                                                                      <a:gd name="connsiteX5" fmla="*/ 58141 w 249540"/>
                                                                                      <a:gd name="connsiteY5" fmla="*/ 116448 h 164017"/>
                                                                                      <a:gd name="connsiteX6" fmla="*/ 92497 w 249540"/>
                                                                                      <a:gd name="connsiteY6" fmla="*/ 111162 h 164017"/>
                                                                                      <a:gd name="connsiteX7" fmla="*/ 108354 w 249540"/>
                                                                                      <a:gd name="connsiteY7" fmla="*/ 108519 h 164017"/>
                                                                                      <a:gd name="connsiteX8" fmla="*/ 129496 w 249540"/>
                                                                                      <a:gd name="connsiteY8" fmla="*/ 103234 h 164017"/>
                                                                                      <a:gd name="connsiteX9" fmla="*/ 145353 w 249540"/>
                                                                                      <a:gd name="connsiteY9" fmla="*/ 97948 h 164017"/>
                                                                                      <a:gd name="connsiteX10" fmla="*/ 163852 w 249540"/>
                                                                                      <a:gd name="connsiteY10" fmla="*/ 100591 h 164017"/>
                                                                                      <a:gd name="connsiteX11" fmla="*/ 179709 w 249540"/>
                                                                                      <a:gd name="connsiteY11" fmla="*/ 105876 h 164017"/>
                                                                                      <a:gd name="connsiteX12" fmla="*/ 184994 w 249540"/>
                                                                                      <a:gd name="connsiteY12" fmla="*/ 113805 h 164017"/>
                                                                                      <a:gd name="connsiteX13" fmla="*/ 200851 w 249540"/>
                                                                                      <a:gd name="connsiteY13" fmla="*/ 124376 h 164017"/>
                                                                                      <a:gd name="connsiteX14" fmla="*/ 208779 w 249540"/>
                                                                                      <a:gd name="connsiteY14" fmla="*/ 121733 h 164017"/>
                                                                                      <a:gd name="connsiteX15" fmla="*/ 211422 w 249540"/>
                                                                                      <a:gd name="connsiteY15" fmla="*/ 113805 h 164017"/>
                                                                                      <a:gd name="connsiteX16" fmla="*/ 216708 w 249540"/>
                                                                                      <a:gd name="connsiteY16" fmla="*/ 105876 h 164017"/>
                                                                                      <a:gd name="connsiteX17" fmla="*/ 219350 w 249540"/>
                                                                                      <a:gd name="connsiteY17" fmla="*/ 97948 h 164017"/>
                                                                                      <a:gd name="connsiteX18" fmla="*/ 227279 w 249540"/>
                                                                                      <a:gd name="connsiteY18" fmla="*/ 82091 h 164017"/>
                                                                                      <a:gd name="connsiteX19" fmla="*/ 227279 w 249540"/>
                                                                                      <a:gd name="connsiteY19" fmla="*/ 21308 h 164017"/>
                                                                                      <a:gd name="connsiteX20" fmla="*/ 232564 w 249540"/>
                                                                                      <a:gd name="connsiteY20" fmla="*/ 5451 h 164017"/>
                                                                                      <a:gd name="connsiteX21" fmla="*/ 248421 w 249540"/>
                                                                                      <a:gd name="connsiteY21" fmla="*/ 165 h 164017"/>
                                                                                      <a:gd name="connsiteX22" fmla="*/ 235207 w 249540"/>
                                                                                      <a:gd name="connsiteY22" fmla="*/ 2808 h 164017"/>
                                                                                      <a:gd name="connsiteX23" fmla="*/ 211422 w 249540"/>
                                                                                      <a:gd name="connsiteY23" fmla="*/ 16022 h 164017"/>
                                                                                      <a:gd name="connsiteX24" fmla="*/ 190280 w 249540"/>
                                                                                      <a:gd name="connsiteY24" fmla="*/ 18665 h 164017"/>
                                                                                      <a:gd name="connsiteX25" fmla="*/ 177066 w 249540"/>
                                                                                      <a:gd name="connsiteY25" fmla="*/ 29236 h 164017"/>
                                                                                      <a:gd name="connsiteX26" fmla="*/ 174423 w 249540"/>
                                                                                      <a:gd name="connsiteY26" fmla="*/ 37164 h 164017"/>
                                                                                      <a:gd name="connsiteX27" fmla="*/ 166495 w 249540"/>
                                                                                      <a:gd name="connsiteY27" fmla="*/ 39807 h 164017"/>
                                                                                      <a:gd name="connsiteX28" fmla="*/ 155924 w 249540"/>
                                                                                      <a:gd name="connsiteY28" fmla="*/ 50378 h 164017"/>
                                                                                      <a:gd name="connsiteX29" fmla="*/ 150638 w 249540"/>
                                                                                      <a:gd name="connsiteY29" fmla="*/ 58306 h 164017"/>
                                                                                      <a:gd name="connsiteX30" fmla="*/ 134782 w 249540"/>
                                                                                      <a:gd name="connsiteY30" fmla="*/ 68878 h 164017"/>
                                                                                      <a:gd name="connsiteX31" fmla="*/ 126853 w 249540"/>
                                                                                      <a:gd name="connsiteY31" fmla="*/ 74163 h 164017"/>
                                                                                      <a:gd name="connsiteX32" fmla="*/ 118925 w 249540"/>
                                                                                      <a:gd name="connsiteY32" fmla="*/ 79449 h 164017"/>
                                                                                      <a:gd name="connsiteX33" fmla="*/ 103068 w 249540"/>
                                                                                      <a:gd name="connsiteY33" fmla="*/ 84734 h 164017"/>
                                                                                      <a:gd name="connsiteX34" fmla="*/ 29071 w 249540"/>
                                                                                      <a:gd name="connsiteY34" fmla="*/ 90020 h 164017"/>
                                                                                      <a:gd name="connsiteX35" fmla="*/ 23785 w 249540"/>
                                                                                      <a:gd name="connsiteY35" fmla="*/ 97948 h 164017"/>
                                                                                      <a:gd name="connsiteX36" fmla="*/ 15857 w 249540"/>
                                                                                      <a:gd name="connsiteY36" fmla="*/ 105876 h 164017"/>
                                                                                      <a:gd name="connsiteX37" fmla="*/ 13214 w 249540"/>
                                                                                      <a:gd name="connsiteY37" fmla="*/ 113805 h 164017"/>
                                                                                      <a:gd name="connsiteX38" fmla="*/ 0 w 249540"/>
                                                                                      <a:gd name="connsiteY38" fmla="*/ 137590 h 164017"/>
                                                                                      <a:gd name="connsiteX39" fmla="*/ 10571 w 249540"/>
                                                                                      <a:gd name="connsiteY39" fmla="*/ 153446 h 164017"/>
                                                                                      <a:gd name="connsiteX40" fmla="*/ 10571 w 249540"/>
                                                                                      <a:gd name="connsiteY40" fmla="*/ 164017 h 16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9540" h="164017">
                                                                                        <a:moveTo>
                                                                                          <a:pt x="10571" y="164017"/>
                                                                                        </a:moveTo>
                                                                                        <a:lnTo>
                                                                                          <a:pt x="10571" y="164017"/>
                                                                                        </a:lnTo>
                                                                                        <a:cubicBezTo>
                                                                                          <a:pt x="14976" y="157851"/>
                                                                                          <a:pt x="19886" y="152016"/>
                                                                                          <a:pt x="23785" y="145518"/>
                                                                                        </a:cubicBezTo>
                                                                                        <a:cubicBezTo>
                                                                                          <a:pt x="25218" y="143129"/>
                                                                                          <a:pt x="24883" y="139908"/>
                                                                                          <a:pt x="26428" y="137590"/>
                                                                                        </a:cubicBezTo>
                                                                                        <a:cubicBezTo>
                                                                                          <a:pt x="28501" y="134480"/>
                                                                                          <a:pt x="31406" y="131956"/>
                                                                                          <a:pt x="34356" y="129661"/>
                                                                                        </a:cubicBezTo>
                                                                                        <a:cubicBezTo>
                                                                                          <a:pt x="47986" y="119059"/>
                                                                                          <a:pt x="46179" y="120434"/>
                                                                                          <a:pt x="58141" y="116448"/>
                                                                                        </a:cubicBezTo>
                                                                                        <a:cubicBezTo>
                                                                                          <a:pt x="69462" y="99466"/>
                                                                                          <a:pt x="58310" y="111162"/>
                                                                                          <a:pt x="92497" y="111162"/>
                                                                                        </a:cubicBezTo>
                                                                                        <a:cubicBezTo>
                                                                                          <a:pt x="97856" y="111162"/>
                                                                                          <a:pt x="103068" y="109400"/>
                                                                                          <a:pt x="108354" y="108519"/>
                                                                                        </a:cubicBezTo>
                                                                                        <a:cubicBezTo>
                                                                                          <a:pt x="132406" y="100501"/>
                                                                                          <a:pt x="94422" y="112799"/>
                                                                                          <a:pt x="129496" y="103234"/>
                                                                                        </a:cubicBezTo>
                                                                                        <a:cubicBezTo>
                                                                                          <a:pt x="134871" y="101768"/>
                                                                                          <a:pt x="145353" y="97948"/>
                                                                                          <a:pt x="145353" y="97948"/>
                                                                                        </a:cubicBezTo>
                                                                                        <a:cubicBezTo>
                                                                                          <a:pt x="151519" y="98829"/>
                                                                                          <a:pt x="157783" y="99190"/>
                                                                                          <a:pt x="163852" y="100591"/>
                                                                                        </a:cubicBezTo>
                                                                                        <a:cubicBezTo>
                                                                                          <a:pt x="169281" y="101844"/>
                                                                                          <a:pt x="179709" y="105876"/>
                                                                                          <a:pt x="179709" y="105876"/>
                                                                                        </a:cubicBezTo>
                                                                                        <a:cubicBezTo>
                                                                                          <a:pt x="181471" y="108519"/>
                                                                                          <a:pt x="182604" y="111713"/>
                                                                                          <a:pt x="184994" y="113805"/>
                                                                                        </a:cubicBezTo>
                                                                                        <a:cubicBezTo>
                                                                                          <a:pt x="189775" y="117988"/>
                                                                                          <a:pt x="200851" y="124376"/>
                                                                                          <a:pt x="200851" y="124376"/>
                                                                                        </a:cubicBezTo>
                                                                                        <a:cubicBezTo>
                                                                                          <a:pt x="203494" y="123495"/>
                                                                                          <a:pt x="206809" y="123703"/>
                                                                                          <a:pt x="208779" y="121733"/>
                                                                                        </a:cubicBezTo>
                                                                                        <a:cubicBezTo>
                                                                                          <a:pt x="210749" y="119763"/>
                                                                                          <a:pt x="210176" y="116297"/>
                                                                                          <a:pt x="211422" y="113805"/>
                                                                                        </a:cubicBezTo>
                                                                                        <a:cubicBezTo>
                                                                                          <a:pt x="212843" y="110964"/>
                                                                                          <a:pt x="214946" y="108519"/>
                                                                                          <a:pt x="216708" y="105876"/>
                                                                                        </a:cubicBezTo>
                                                                                        <a:cubicBezTo>
                                                                                          <a:pt x="217589" y="103233"/>
                                                                                          <a:pt x="218104" y="100439"/>
                                                                                          <a:pt x="219350" y="97948"/>
                                                                                        </a:cubicBezTo>
                                                                                        <a:cubicBezTo>
                                                                                          <a:pt x="229599" y="77451"/>
                                                                                          <a:pt x="220634" y="102025"/>
                                                                                          <a:pt x="227279" y="82091"/>
                                                                                        </a:cubicBezTo>
                                                                                        <a:cubicBezTo>
                                                                                          <a:pt x="225207" y="55157"/>
                                                                                          <a:pt x="222529" y="46639"/>
                                                                                          <a:pt x="227279" y="21308"/>
                                                                                        </a:cubicBezTo>
                                                                                        <a:cubicBezTo>
                                                                                          <a:pt x="228306" y="15832"/>
                                                                                          <a:pt x="227278" y="7213"/>
                                                                                          <a:pt x="232564" y="5451"/>
                                                                                        </a:cubicBezTo>
                                                                                        <a:cubicBezTo>
                                                                                          <a:pt x="237850" y="3689"/>
                                                                                          <a:pt x="253884" y="-928"/>
                                                                                          <a:pt x="248421" y="165"/>
                                                                                        </a:cubicBezTo>
                                                                                        <a:lnTo>
                                                                                          <a:pt x="235207" y="2808"/>
                                                                                        </a:lnTo>
                                                                                        <a:cubicBezTo>
                                                                                          <a:pt x="226979" y="8293"/>
                                                                                          <a:pt x="221015" y="14278"/>
                                                                                          <a:pt x="211422" y="16022"/>
                                                                                        </a:cubicBezTo>
                                                                                        <a:cubicBezTo>
                                                                                          <a:pt x="204434" y="17293"/>
                                                                                          <a:pt x="197327" y="17784"/>
                                                                                          <a:pt x="190280" y="18665"/>
                                                                                        </a:cubicBezTo>
                                                                                        <a:cubicBezTo>
                                                                                          <a:pt x="181135" y="21713"/>
                                                                                          <a:pt x="181848" y="19673"/>
                                                                                          <a:pt x="177066" y="29236"/>
                                                                                        </a:cubicBezTo>
                                                                                        <a:cubicBezTo>
                                                                                          <a:pt x="175820" y="31728"/>
                                                                                          <a:pt x="176393" y="35194"/>
                                                                                          <a:pt x="174423" y="37164"/>
                                                                                        </a:cubicBezTo>
                                                                                        <a:cubicBezTo>
                                                                                          <a:pt x="172453" y="39134"/>
                                                                                          <a:pt x="169138" y="38926"/>
                                                                                          <a:pt x="166495" y="39807"/>
                                                                                        </a:cubicBezTo>
                                                                                        <a:cubicBezTo>
                                                                                          <a:pt x="160729" y="57104"/>
                                                                                          <a:pt x="168737" y="40128"/>
                                                                                          <a:pt x="155924" y="50378"/>
                                                                                        </a:cubicBezTo>
                                                                                        <a:cubicBezTo>
                                                                                          <a:pt x="153444" y="52362"/>
                                                                                          <a:pt x="153028" y="56214"/>
                                                                                          <a:pt x="150638" y="58306"/>
                                                                                        </a:cubicBezTo>
                                                                                        <a:cubicBezTo>
                                                                                          <a:pt x="145857" y="62489"/>
                                                                                          <a:pt x="140068" y="65354"/>
                                                                                          <a:pt x="134782" y="68878"/>
                                                                                        </a:cubicBezTo>
                                                                                        <a:lnTo>
                                                                                          <a:pt x="126853" y="74163"/>
                                                                                        </a:lnTo>
                                                                                        <a:cubicBezTo>
                                                                                          <a:pt x="124210" y="75925"/>
                                                                                          <a:pt x="121938" y="78445"/>
                                                                                          <a:pt x="118925" y="79449"/>
                                                                                        </a:cubicBezTo>
                                                                                        <a:lnTo>
                                                                                          <a:pt x="103068" y="84734"/>
                                                                                        </a:lnTo>
                                                                                        <a:cubicBezTo>
                                                                                          <a:pt x="74225" y="94348"/>
                                                                                          <a:pt x="97967" y="87264"/>
                                                                                          <a:pt x="29071" y="90020"/>
                                                                                        </a:cubicBezTo>
                                                                                        <a:cubicBezTo>
                                                                                          <a:pt x="27309" y="92663"/>
                                                                                          <a:pt x="25818" y="95508"/>
                                                                                          <a:pt x="23785" y="97948"/>
                                                                                        </a:cubicBezTo>
                                                                                        <a:cubicBezTo>
                                                                                          <a:pt x="21392" y="100819"/>
                                                                                          <a:pt x="17930" y="102766"/>
                                                                                          <a:pt x="15857" y="105876"/>
                                                                                        </a:cubicBezTo>
                                                                                        <a:cubicBezTo>
                                                                                          <a:pt x="14312" y="108194"/>
                                                                                          <a:pt x="14567" y="111370"/>
                                                                                          <a:pt x="13214" y="113805"/>
                                                                                        </a:cubicBezTo>
                                                                                        <a:cubicBezTo>
                                                                                          <a:pt x="-1932" y="141067"/>
                                                                                          <a:pt x="5980" y="119649"/>
                                                                                          <a:pt x="0" y="137590"/>
                                                                                        </a:cubicBezTo>
                                                                                        <a:cubicBezTo>
                                                                                          <a:pt x="2817" y="148857"/>
                                                                                          <a:pt x="142" y="148232"/>
                                                                                          <a:pt x="10571" y="153446"/>
                                                                                        </a:cubicBezTo>
                                                                                        <a:cubicBezTo>
                                                                                          <a:pt x="11359" y="153840"/>
                                                                                          <a:pt x="10571" y="162255"/>
                                                                                          <a:pt x="10571" y="16401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80" name="Freeform 279"/>
                                                                                  <p:cNvSpPr/>
                                                                                  <p:nvPr/>
                                                                                </p:nvSpPr>
                                                                                <p:spPr>
                                                                                  <a:xfrm>
                                                                                    <a:off x="3580960" y="3044476"/>
                                                                                    <a:ext cx="93205" cy="95140"/>
                                                                                  </a:xfrm>
                                                                                  <a:custGeom>
                                                                                    <a:avLst/>
                                                                                    <a:gdLst>
                                                                                      <a:gd name="connsiteX0" fmla="*/ 60783 w 93205"/>
                                                                                      <a:gd name="connsiteY0" fmla="*/ 2643 h 95140"/>
                                                                                      <a:gd name="connsiteX1" fmla="*/ 60783 w 93205"/>
                                                                                      <a:gd name="connsiteY1" fmla="*/ 2643 h 95140"/>
                                                                                      <a:gd name="connsiteX2" fmla="*/ 36998 w 93205"/>
                                                                                      <a:gd name="connsiteY2" fmla="*/ 0 h 95140"/>
                                                                                      <a:gd name="connsiteX3" fmla="*/ 26427 w 93205"/>
                                                                                      <a:gd name="connsiteY3" fmla="*/ 2643 h 95140"/>
                                                                                      <a:gd name="connsiteX4" fmla="*/ 2642 w 93205"/>
                                                                                      <a:gd name="connsiteY4" fmla="*/ 13214 h 95140"/>
                                                                                      <a:gd name="connsiteX5" fmla="*/ 0 w 93205"/>
                                                                                      <a:gd name="connsiteY5" fmla="*/ 21142 h 95140"/>
                                                                                      <a:gd name="connsiteX6" fmla="*/ 5285 w 93205"/>
                                                                                      <a:gd name="connsiteY6" fmla="*/ 42285 h 95140"/>
                                                                                      <a:gd name="connsiteX7" fmla="*/ 10571 w 93205"/>
                                                                                      <a:gd name="connsiteY7" fmla="*/ 50213 h 95140"/>
                                                                                      <a:gd name="connsiteX8" fmla="*/ 13213 w 93205"/>
                                                                                      <a:gd name="connsiteY8" fmla="*/ 58141 h 95140"/>
                                                                                      <a:gd name="connsiteX9" fmla="*/ 15856 w 93205"/>
                                                                                      <a:gd name="connsiteY9" fmla="*/ 76641 h 95140"/>
                                                                                      <a:gd name="connsiteX10" fmla="*/ 23785 w 93205"/>
                                                                                      <a:gd name="connsiteY10" fmla="*/ 81926 h 95140"/>
                                                                                      <a:gd name="connsiteX11" fmla="*/ 47569 w 93205"/>
                                                                                      <a:gd name="connsiteY11" fmla="*/ 87212 h 95140"/>
                                                                                      <a:gd name="connsiteX12" fmla="*/ 63426 w 93205"/>
                                                                                      <a:gd name="connsiteY12" fmla="*/ 95140 h 95140"/>
                                                                                      <a:gd name="connsiteX13" fmla="*/ 84568 w 93205"/>
                                                                                      <a:gd name="connsiteY13" fmla="*/ 89855 h 95140"/>
                                                                                      <a:gd name="connsiteX14" fmla="*/ 89854 w 93205"/>
                                                                                      <a:gd name="connsiteY14" fmla="*/ 81926 h 95140"/>
                                                                                      <a:gd name="connsiteX15" fmla="*/ 89854 w 93205"/>
                                                                                      <a:gd name="connsiteY15" fmla="*/ 42285 h 95140"/>
                                                                                      <a:gd name="connsiteX16" fmla="*/ 84568 w 93205"/>
                                                                                      <a:gd name="connsiteY16" fmla="*/ 34356 h 95140"/>
                                                                                      <a:gd name="connsiteX17" fmla="*/ 81926 w 93205"/>
                                                                                      <a:gd name="connsiteY17" fmla="*/ 18500 h 95140"/>
                                                                                      <a:gd name="connsiteX18" fmla="*/ 60783 w 93205"/>
                                                                                      <a:gd name="connsiteY18" fmla="*/ 2643 h 9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05" h="95140">
                                                                                        <a:moveTo>
                                                                                          <a:pt x="60783" y="2643"/>
                                                                                        </a:moveTo>
                                                                                        <a:lnTo>
                                                                                          <a:pt x="60783" y="2643"/>
                                                                                        </a:lnTo>
                                                                                        <a:cubicBezTo>
                                                                                          <a:pt x="52855" y="1762"/>
                                                                                          <a:pt x="44975" y="0"/>
                                                                                          <a:pt x="36998" y="0"/>
                                                                                        </a:cubicBezTo>
                                                                                        <a:cubicBezTo>
                                                                                          <a:pt x="33366" y="0"/>
                                                                                          <a:pt x="29906" y="1599"/>
                                                                                          <a:pt x="26427" y="2643"/>
                                                                                        </a:cubicBezTo>
                                                                                        <a:cubicBezTo>
                                                                                          <a:pt x="9274" y="7789"/>
                                                                                          <a:pt x="14228" y="5491"/>
                                                                                          <a:pt x="2642" y="13214"/>
                                                                                        </a:cubicBezTo>
                                                                                        <a:cubicBezTo>
                                                                                          <a:pt x="1761" y="15857"/>
                                                                                          <a:pt x="0" y="18356"/>
                                                                                          <a:pt x="0" y="21142"/>
                                                                                        </a:cubicBezTo>
                                                                                        <a:cubicBezTo>
                                                                                          <a:pt x="0" y="24160"/>
                                                                                          <a:pt x="3199" y="38113"/>
                                                                                          <a:pt x="5285" y="42285"/>
                                                                                        </a:cubicBezTo>
                                                                                        <a:cubicBezTo>
                                                                                          <a:pt x="6706" y="45126"/>
                                                                                          <a:pt x="8809" y="47570"/>
                                                                                          <a:pt x="10571" y="50213"/>
                                                                                        </a:cubicBezTo>
                                                                                        <a:cubicBezTo>
                                                                                          <a:pt x="11452" y="52856"/>
                                                                                          <a:pt x="12667" y="55410"/>
                                                                                          <a:pt x="13213" y="58141"/>
                                                                                        </a:cubicBezTo>
                                                                                        <a:cubicBezTo>
                                                                                          <a:pt x="14435" y="64249"/>
                                                                                          <a:pt x="13326" y="70949"/>
                                                                                          <a:pt x="15856" y="76641"/>
                                                                                        </a:cubicBezTo>
                                                                                        <a:cubicBezTo>
                                                                                          <a:pt x="17146" y="79544"/>
                                                                                          <a:pt x="20944" y="80506"/>
                                                                                          <a:pt x="23785" y="81926"/>
                                                                                        </a:cubicBezTo>
                                                                                        <a:cubicBezTo>
                                                                                          <a:pt x="30292" y="85180"/>
                                                                                          <a:pt x="41475" y="86196"/>
                                                                                          <a:pt x="47569" y="87212"/>
                                                                                        </a:cubicBezTo>
                                                                                        <a:cubicBezTo>
                                                                                          <a:pt x="51576" y="89883"/>
                                                                                          <a:pt x="57957" y="95140"/>
                                                                                          <a:pt x="63426" y="95140"/>
                                                                                        </a:cubicBezTo>
                                                                                        <a:cubicBezTo>
                                                                                          <a:pt x="69801" y="95140"/>
                                                                                          <a:pt x="78313" y="91939"/>
                                                                                          <a:pt x="84568" y="89855"/>
                                                                                        </a:cubicBezTo>
                                                                                        <a:cubicBezTo>
                                                                                          <a:pt x="86330" y="87212"/>
                                                                                          <a:pt x="88433" y="84767"/>
                                                                                          <a:pt x="89854" y="81926"/>
                                                                                        </a:cubicBezTo>
                                                                                        <a:cubicBezTo>
                                                                                          <a:pt x="95954" y="69727"/>
                                                                                          <a:pt x="92340" y="54716"/>
                                                                                          <a:pt x="89854" y="42285"/>
                                                                                        </a:cubicBezTo>
                                                                                        <a:cubicBezTo>
                                                                                          <a:pt x="89231" y="39170"/>
                                                                                          <a:pt x="86330" y="36999"/>
                                                                                          <a:pt x="84568" y="34356"/>
                                                                                        </a:cubicBezTo>
                                                                                        <a:cubicBezTo>
                                                                                          <a:pt x="83687" y="29071"/>
                                                                                          <a:pt x="85273" y="22684"/>
                                                                                          <a:pt x="81926" y="18500"/>
                                                                                        </a:cubicBezTo>
                                                                                        <a:cubicBezTo>
                                                                                          <a:pt x="80186" y="16325"/>
                                                                                          <a:pt x="64307" y="5286"/>
                                                                                          <a:pt x="60783" y="2643"/>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6" name="Freeform 275"/>
                                                                                <p:cNvSpPr/>
                                                                                <p:nvPr/>
                                                                              </p:nvSpPr>
                                                                              <p:spPr>
                                                                                <a:xfrm>
                                                                                  <a:off x="3713098" y="2978407"/>
                                                                                  <a:ext cx="155924" cy="261635"/>
                                                                                </a:xfrm>
                                                                                <a:custGeom>
                                                                                  <a:avLst/>
                                                                                  <a:gdLst>
                                                                                    <a:gd name="connsiteX0" fmla="*/ 5286 w 155924"/>
                                                                                    <a:gd name="connsiteY0" fmla="*/ 44927 h 261635"/>
                                                                                    <a:gd name="connsiteX1" fmla="*/ 5286 w 155924"/>
                                                                                    <a:gd name="connsiteY1" fmla="*/ 44927 h 261635"/>
                                                                                    <a:gd name="connsiteX2" fmla="*/ 2643 w 155924"/>
                                                                                    <a:gd name="connsiteY2" fmla="*/ 68712 h 261635"/>
                                                                                    <a:gd name="connsiteX3" fmla="*/ 5286 w 155924"/>
                                                                                    <a:gd name="connsiteY3" fmla="*/ 76640 h 261635"/>
                                                                                    <a:gd name="connsiteX4" fmla="*/ 0 w 155924"/>
                                                                                    <a:gd name="connsiteY4" fmla="*/ 108354 h 261635"/>
                                                                                    <a:gd name="connsiteX5" fmla="*/ 2643 w 155924"/>
                                                                                    <a:gd name="connsiteY5" fmla="*/ 132139 h 261635"/>
                                                                                    <a:gd name="connsiteX6" fmla="*/ 26428 w 155924"/>
                                                                                    <a:gd name="connsiteY6" fmla="*/ 145353 h 261635"/>
                                                                                    <a:gd name="connsiteX7" fmla="*/ 36999 w 155924"/>
                                                                                    <a:gd name="connsiteY7" fmla="*/ 147995 h 261635"/>
                                                                                    <a:gd name="connsiteX8" fmla="*/ 50213 w 155924"/>
                                                                                    <a:gd name="connsiteY8" fmla="*/ 150638 h 261635"/>
                                                                                    <a:gd name="connsiteX9" fmla="*/ 55499 w 155924"/>
                                                                                    <a:gd name="connsiteY9" fmla="*/ 158566 h 261635"/>
                                                                                    <a:gd name="connsiteX10" fmla="*/ 50213 w 155924"/>
                                                                                    <a:gd name="connsiteY10" fmla="*/ 182351 h 261635"/>
                                                                                    <a:gd name="connsiteX11" fmla="*/ 47570 w 155924"/>
                                                                                    <a:gd name="connsiteY11" fmla="*/ 198208 h 261635"/>
                                                                                    <a:gd name="connsiteX12" fmla="*/ 52856 w 155924"/>
                                                                                    <a:gd name="connsiteY12" fmla="*/ 219350 h 261635"/>
                                                                                    <a:gd name="connsiteX13" fmla="*/ 58141 w 155924"/>
                                                                                    <a:gd name="connsiteY13" fmla="*/ 248421 h 261635"/>
                                                                                    <a:gd name="connsiteX14" fmla="*/ 60784 w 155924"/>
                                                                                    <a:gd name="connsiteY14" fmla="*/ 256349 h 261635"/>
                                                                                    <a:gd name="connsiteX15" fmla="*/ 68712 w 155924"/>
                                                                                    <a:gd name="connsiteY15" fmla="*/ 261635 h 261635"/>
                                                                                    <a:gd name="connsiteX16" fmla="*/ 71355 w 155924"/>
                                                                                    <a:gd name="connsiteY16" fmla="*/ 253706 h 261635"/>
                                                                                    <a:gd name="connsiteX17" fmla="*/ 79284 w 155924"/>
                                                                                    <a:gd name="connsiteY17" fmla="*/ 235207 h 261635"/>
                                                                                    <a:gd name="connsiteX18" fmla="*/ 87212 w 155924"/>
                                                                                    <a:gd name="connsiteY18" fmla="*/ 229921 h 261635"/>
                                                                                    <a:gd name="connsiteX19" fmla="*/ 84569 w 155924"/>
                                                                                    <a:gd name="connsiteY19" fmla="*/ 221993 h 261635"/>
                                                                                    <a:gd name="connsiteX20" fmla="*/ 68712 w 155924"/>
                                                                                    <a:gd name="connsiteY20" fmla="*/ 216707 h 261635"/>
                                                                                    <a:gd name="connsiteX21" fmla="*/ 63427 w 155924"/>
                                                                                    <a:gd name="connsiteY21" fmla="*/ 208779 h 261635"/>
                                                                                    <a:gd name="connsiteX22" fmla="*/ 66070 w 155924"/>
                                                                                    <a:gd name="connsiteY22" fmla="*/ 195565 h 261635"/>
                                                                                    <a:gd name="connsiteX23" fmla="*/ 73998 w 155924"/>
                                                                                    <a:gd name="connsiteY23" fmla="*/ 192922 h 261635"/>
                                                                                    <a:gd name="connsiteX24" fmla="*/ 89855 w 155924"/>
                                                                                    <a:gd name="connsiteY24" fmla="*/ 190280 h 261635"/>
                                                                                    <a:gd name="connsiteX25" fmla="*/ 97783 w 155924"/>
                                                                                    <a:gd name="connsiteY25" fmla="*/ 174423 h 261635"/>
                                                                                    <a:gd name="connsiteX26" fmla="*/ 100426 w 155924"/>
                                                                                    <a:gd name="connsiteY26" fmla="*/ 158566 h 261635"/>
                                                                                    <a:gd name="connsiteX27" fmla="*/ 108354 w 155924"/>
                                                                                    <a:gd name="connsiteY27" fmla="*/ 155924 h 261635"/>
                                                                                    <a:gd name="connsiteX28" fmla="*/ 116282 w 155924"/>
                                                                                    <a:gd name="connsiteY28" fmla="*/ 150638 h 261635"/>
                                                                                    <a:gd name="connsiteX29" fmla="*/ 124211 w 155924"/>
                                                                                    <a:gd name="connsiteY29" fmla="*/ 147995 h 261635"/>
                                                                                    <a:gd name="connsiteX30" fmla="*/ 129496 w 155924"/>
                                                                                    <a:gd name="connsiteY30" fmla="*/ 132139 h 261635"/>
                                                                                    <a:gd name="connsiteX31" fmla="*/ 116282 w 155924"/>
                                                                                    <a:gd name="connsiteY31" fmla="*/ 116282 h 261635"/>
                                                                                    <a:gd name="connsiteX32" fmla="*/ 113640 w 155924"/>
                                                                                    <a:gd name="connsiteY32" fmla="*/ 108354 h 261635"/>
                                                                                    <a:gd name="connsiteX33" fmla="*/ 126853 w 155924"/>
                                                                                    <a:gd name="connsiteY33" fmla="*/ 89854 h 261635"/>
                                                                                    <a:gd name="connsiteX34" fmla="*/ 134782 w 155924"/>
                                                                                    <a:gd name="connsiteY34" fmla="*/ 84569 h 261635"/>
                                                                                    <a:gd name="connsiteX35" fmla="*/ 140067 w 155924"/>
                                                                                    <a:gd name="connsiteY35" fmla="*/ 76640 h 261635"/>
                                                                                    <a:gd name="connsiteX36" fmla="*/ 145353 w 155924"/>
                                                                                    <a:gd name="connsiteY36" fmla="*/ 60784 h 261635"/>
                                                                                    <a:gd name="connsiteX37" fmla="*/ 147996 w 155924"/>
                                                                                    <a:gd name="connsiteY37" fmla="*/ 34356 h 261635"/>
                                                                                    <a:gd name="connsiteX38" fmla="*/ 153281 w 155924"/>
                                                                                    <a:gd name="connsiteY38" fmla="*/ 26428 h 261635"/>
                                                                                    <a:gd name="connsiteX39" fmla="*/ 155924 w 155924"/>
                                                                                    <a:gd name="connsiteY39" fmla="*/ 18499 h 261635"/>
                                                                                    <a:gd name="connsiteX40" fmla="*/ 153281 w 155924"/>
                                                                                    <a:gd name="connsiteY40" fmla="*/ 7928 h 261635"/>
                                                                                    <a:gd name="connsiteX41" fmla="*/ 137425 w 155924"/>
                                                                                    <a:gd name="connsiteY41" fmla="*/ 0 h 261635"/>
                                                                                    <a:gd name="connsiteX42" fmla="*/ 126853 w 155924"/>
                                                                                    <a:gd name="connsiteY42" fmla="*/ 2643 h 261635"/>
                                                                                    <a:gd name="connsiteX43" fmla="*/ 110997 w 155924"/>
                                                                                    <a:gd name="connsiteY43" fmla="*/ 7928 h 261635"/>
                                                                                    <a:gd name="connsiteX44" fmla="*/ 103068 w 155924"/>
                                                                                    <a:gd name="connsiteY44" fmla="*/ 23785 h 261635"/>
                                                                                    <a:gd name="connsiteX45" fmla="*/ 108354 w 155924"/>
                                                                                    <a:gd name="connsiteY45" fmla="*/ 39642 h 261635"/>
                                                                                    <a:gd name="connsiteX46" fmla="*/ 110997 w 155924"/>
                                                                                    <a:gd name="connsiteY46" fmla="*/ 47570 h 261635"/>
                                                                                    <a:gd name="connsiteX47" fmla="*/ 108354 w 155924"/>
                                                                                    <a:gd name="connsiteY47" fmla="*/ 60784 h 261635"/>
                                                                                    <a:gd name="connsiteX48" fmla="*/ 105711 w 155924"/>
                                                                                    <a:gd name="connsiteY48" fmla="*/ 68712 h 261635"/>
                                                                                    <a:gd name="connsiteX49" fmla="*/ 97783 w 155924"/>
                                                                                    <a:gd name="connsiteY49" fmla="*/ 66069 h 261635"/>
                                                                                    <a:gd name="connsiteX50" fmla="*/ 92497 w 155924"/>
                                                                                    <a:gd name="connsiteY50" fmla="*/ 58141 h 261635"/>
                                                                                    <a:gd name="connsiteX51" fmla="*/ 84569 w 155924"/>
                                                                                    <a:gd name="connsiteY51" fmla="*/ 42284 h 261635"/>
                                                                                    <a:gd name="connsiteX52" fmla="*/ 81926 w 155924"/>
                                                                                    <a:gd name="connsiteY52" fmla="*/ 50213 h 261635"/>
                                                                                    <a:gd name="connsiteX53" fmla="*/ 79284 w 155924"/>
                                                                                    <a:gd name="connsiteY53" fmla="*/ 60784 h 261635"/>
                                                                                    <a:gd name="connsiteX54" fmla="*/ 71355 w 155924"/>
                                                                                    <a:gd name="connsiteY54" fmla="*/ 66069 h 261635"/>
                                                                                    <a:gd name="connsiteX55" fmla="*/ 63427 w 155924"/>
                                                                                    <a:gd name="connsiteY55" fmla="*/ 39642 h 261635"/>
                                                                                    <a:gd name="connsiteX56" fmla="*/ 60784 w 155924"/>
                                                                                    <a:gd name="connsiteY56" fmla="*/ 29070 h 261635"/>
                                                                                    <a:gd name="connsiteX57" fmla="*/ 52856 w 155924"/>
                                                                                    <a:gd name="connsiteY57" fmla="*/ 26428 h 261635"/>
                                                                                    <a:gd name="connsiteX58" fmla="*/ 44927 w 155924"/>
                                                                                    <a:gd name="connsiteY58" fmla="*/ 29070 h 261635"/>
                                                                                    <a:gd name="connsiteX59" fmla="*/ 39642 w 155924"/>
                                                                                    <a:gd name="connsiteY59" fmla="*/ 52855 h 261635"/>
                                                                                    <a:gd name="connsiteX60" fmla="*/ 31714 w 155924"/>
                                                                                    <a:gd name="connsiteY60" fmla="*/ 58141 h 261635"/>
                                                                                    <a:gd name="connsiteX61" fmla="*/ 5286 w 155924"/>
                                                                                    <a:gd name="connsiteY61" fmla="*/ 44927 h 2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5924" h="261635">
                                                                                      <a:moveTo>
                                                                                        <a:pt x="5286" y="44927"/>
                                                                                      </a:moveTo>
                                                                                      <a:lnTo>
                                                                                        <a:pt x="5286" y="44927"/>
                                                                                      </a:lnTo>
                                                                                      <a:cubicBezTo>
                                                                                        <a:pt x="4405" y="52855"/>
                                                                                        <a:pt x="2643" y="60735"/>
                                                                                        <a:pt x="2643" y="68712"/>
                                                                                      </a:cubicBezTo>
                                                                                      <a:cubicBezTo>
                                                                                        <a:pt x="2643" y="71498"/>
                                                                                        <a:pt x="5286" y="73854"/>
                                                                                        <a:pt x="5286" y="76640"/>
                                                                                      </a:cubicBezTo>
                                                                                      <a:cubicBezTo>
                                                                                        <a:pt x="5286" y="94342"/>
                                                                                        <a:pt x="4135" y="95949"/>
                                                                                        <a:pt x="0" y="108354"/>
                                                                                      </a:cubicBezTo>
                                                                                      <a:cubicBezTo>
                                                                                        <a:pt x="881" y="116282"/>
                                                                                        <a:pt x="-1139" y="125115"/>
                                                                                        <a:pt x="2643" y="132139"/>
                                                                                      </a:cubicBezTo>
                                                                                      <a:cubicBezTo>
                                                                                        <a:pt x="6083" y="138528"/>
                                                                                        <a:pt x="18935" y="143212"/>
                                                                                        <a:pt x="26428" y="145353"/>
                                                                                      </a:cubicBezTo>
                                                                                      <a:cubicBezTo>
                                                                                        <a:pt x="29920" y="146351"/>
                                                                                        <a:pt x="33453" y="147207"/>
                                                                                        <a:pt x="36999" y="147995"/>
                                                                                      </a:cubicBezTo>
                                                                                      <a:cubicBezTo>
                                                                                        <a:pt x="41384" y="148969"/>
                                                                                        <a:pt x="45808" y="149757"/>
                                                                                        <a:pt x="50213" y="150638"/>
                                                                                      </a:cubicBezTo>
                                                                                      <a:cubicBezTo>
                                                                                        <a:pt x="51975" y="153281"/>
                                                                                        <a:pt x="55148" y="155409"/>
                                                                                        <a:pt x="55499" y="158566"/>
                                                                                      </a:cubicBezTo>
                                                                                      <a:cubicBezTo>
                                                                                        <a:pt x="56274" y="165543"/>
                                                                                        <a:pt x="52536" y="175384"/>
                                                                                        <a:pt x="50213" y="182351"/>
                                                                                      </a:cubicBezTo>
                                                                                      <a:cubicBezTo>
                                                                                        <a:pt x="49332" y="187637"/>
                                                                                        <a:pt x="47188" y="192863"/>
                                                                                        <a:pt x="47570" y="198208"/>
                                                                                      </a:cubicBezTo>
                                                                                      <a:cubicBezTo>
                                                                                        <a:pt x="48088" y="205454"/>
                                                                                        <a:pt x="51829" y="212159"/>
                                                                                        <a:pt x="52856" y="219350"/>
                                                                                      </a:cubicBezTo>
                                                                                      <a:cubicBezTo>
                                                                                        <a:pt x="54993" y="234311"/>
                                                                                        <a:pt x="54583" y="235967"/>
                                                                                        <a:pt x="58141" y="248421"/>
                                                                                      </a:cubicBezTo>
                                                                                      <a:cubicBezTo>
                                                                                        <a:pt x="58906" y="251099"/>
                                                                                        <a:pt x="59044" y="254174"/>
                                                                                        <a:pt x="60784" y="256349"/>
                                                                                      </a:cubicBezTo>
                                                                                      <a:cubicBezTo>
                                                                                        <a:pt x="62768" y="258829"/>
                                                                                        <a:pt x="66069" y="259873"/>
                                                                                        <a:pt x="68712" y="261635"/>
                                                                                      </a:cubicBezTo>
                                                                                      <a:cubicBezTo>
                                                                                        <a:pt x="69593" y="258992"/>
                                                                                        <a:pt x="70590" y="256385"/>
                                                                                        <a:pt x="71355" y="253706"/>
                                                                                      </a:cubicBezTo>
                                                                                      <a:cubicBezTo>
                                                                                        <a:pt x="73782" y="245213"/>
                                                                                        <a:pt x="72846" y="241645"/>
                                                                                        <a:pt x="79284" y="235207"/>
                                                                                      </a:cubicBezTo>
                                                                                      <a:cubicBezTo>
                                                                                        <a:pt x="81530" y="232961"/>
                                                                                        <a:pt x="84569" y="231683"/>
                                                                                        <a:pt x="87212" y="229921"/>
                                                                                      </a:cubicBezTo>
                                                                                      <a:cubicBezTo>
                                                                                        <a:pt x="86331" y="227278"/>
                                                                                        <a:pt x="86836" y="223612"/>
                                                                                        <a:pt x="84569" y="221993"/>
                                                                                      </a:cubicBezTo>
                                                                                      <a:cubicBezTo>
                                                                                        <a:pt x="80035" y="218755"/>
                                                                                        <a:pt x="68712" y="216707"/>
                                                                                        <a:pt x="68712" y="216707"/>
                                                                                      </a:cubicBezTo>
                                                                                      <a:cubicBezTo>
                                                                                        <a:pt x="66950" y="214064"/>
                                                                                        <a:pt x="63821" y="211931"/>
                                                                                        <a:pt x="63427" y="208779"/>
                                                                                      </a:cubicBezTo>
                                                                                      <a:cubicBezTo>
                                                                                        <a:pt x="62870" y="204322"/>
                                                                                        <a:pt x="63578" y="199303"/>
                                                                                        <a:pt x="66070" y="195565"/>
                                                                                      </a:cubicBezTo>
                                                                                      <a:cubicBezTo>
                                                                                        <a:pt x="67615" y="193247"/>
                                                                                        <a:pt x="71279" y="193526"/>
                                                                                        <a:pt x="73998" y="192922"/>
                                                                                      </a:cubicBezTo>
                                                                                      <a:cubicBezTo>
                                                                                        <a:pt x="79229" y="191760"/>
                                                                                        <a:pt x="84569" y="191161"/>
                                                                                        <a:pt x="89855" y="190280"/>
                                                                                      </a:cubicBezTo>
                                                                                      <a:cubicBezTo>
                                                                                        <a:pt x="94605" y="183154"/>
                                                                                        <a:pt x="95960" y="182627"/>
                                                                                        <a:pt x="97783" y="174423"/>
                                                                                      </a:cubicBezTo>
                                                                                      <a:cubicBezTo>
                                                                                        <a:pt x="98946" y="169192"/>
                                                                                        <a:pt x="97767" y="163219"/>
                                                                                        <a:pt x="100426" y="158566"/>
                                                                                      </a:cubicBezTo>
                                                                                      <a:cubicBezTo>
                                                                                        <a:pt x="101808" y="156147"/>
                                                                                        <a:pt x="105711" y="156805"/>
                                                                                        <a:pt x="108354" y="155924"/>
                                                                                      </a:cubicBezTo>
                                                                                      <a:cubicBezTo>
                                                                                        <a:pt x="110997" y="154162"/>
                                                                                        <a:pt x="113441" y="152059"/>
                                                                                        <a:pt x="116282" y="150638"/>
                                                                                      </a:cubicBezTo>
                                                                                      <a:cubicBezTo>
                                                                                        <a:pt x="118774" y="149392"/>
                                                                                        <a:pt x="122592" y="150262"/>
                                                                                        <a:pt x="124211" y="147995"/>
                                                                                      </a:cubicBezTo>
                                                                                      <a:cubicBezTo>
                                                                                        <a:pt x="127449" y="143462"/>
                                                                                        <a:pt x="129496" y="132139"/>
                                                                                        <a:pt x="129496" y="132139"/>
                                                                                      </a:cubicBezTo>
                                                                                      <a:cubicBezTo>
                                                                                        <a:pt x="123654" y="126297"/>
                                                                                        <a:pt x="119960" y="123638"/>
                                                                                        <a:pt x="116282" y="116282"/>
                                                                                      </a:cubicBezTo>
                                                                                      <a:cubicBezTo>
                                                                                        <a:pt x="115036" y="113791"/>
                                                                                        <a:pt x="114521" y="110997"/>
                                                                                        <a:pt x="113640" y="108354"/>
                                                                                      </a:cubicBezTo>
                                                                                      <a:cubicBezTo>
                                                                                        <a:pt x="121567" y="84571"/>
                                                                                        <a:pt x="112759" y="96901"/>
                                                                                        <a:pt x="126853" y="89854"/>
                                                                                      </a:cubicBezTo>
                                                                                      <a:cubicBezTo>
                                                                                        <a:pt x="129694" y="88434"/>
                                                                                        <a:pt x="132139" y="86331"/>
                                                                                        <a:pt x="134782" y="84569"/>
                                                                                      </a:cubicBezTo>
                                                                                      <a:cubicBezTo>
                                                                                        <a:pt x="136544" y="81926"/>
                                                                                        <a:pt x="138777" y="79543"/>
                                                                                        <a:pt x="140067" y="76640"/>
                                                                                      </a:cubicBezTo>
                                                                                      <a:cubicBezTo>
                                                                                        <a:pt x="142330" y="71549"/>
                                                                                        <a:pt x="145353" y="60784"/>
                                                                                        <a:pt x="145353" y="60784"/>
                                                                                      </a:cubicBezTo>
                                                                                      <a:cubicBezTo>
                                                                                        <a:pt x="146234" y="51975"/>
                                                                                        <a:pt x="146005" y="42983"/>
                                                                                        <a:pt x="147996" y="34356"/>
                                                                                      </a:cubicBezTo>
                                                                                      <a:cubicBezTo>
                                                                                        <a:pt x="148710" y="31261"/>
                                                                                        <a:pt x="151861" y="29269"/>
                                                                                        <a:pt x="153281" y="26428"/>
                                                                                      </a:cubicBezTo>
                                                                                      <a:cubicBezTo>
                                                                                        <a:pt x="154527" y="23936"/>
                                                                                        <a:pt x="155043" y="21142"/>
                                                                                        <a:pt x="155924" y="18499"/>
                                                                                      </a:cubicBezTo>
                                                                                      <a:cubicBezTo>
                                                                                        <a:pt x="155043" y="14975"/>
                                                                                        <a:pt x="155296" y="10950"/>
                                                                                        <a:pt x="153281" y="7928"/>
                                                                                      </a:cubicBezTo>
                                                                                      <a:cubicBezTo>
                                                                                        <a:pt x="150354" y="3538"/>
                                                                                        <a:pt x="141947" y="1507"/>
                                                                                        <a:pt x="137425" y="0"/>
                                                                                      </a:cubicBezTo>
                                                                                      <a:cubicBezTo>
                                                                                        <a:pt x="133901" y="881"/>
                                                                                        <a:pt x="130332" y="1599"/>
                                                                                        <a:pt x="126853" y="2643"/>
                                                                                      </a:cubicBezTo>
                                                                                      <a:cubicBezTo>
                                                                                        <a:pt x="121517" y="4244"/>
                                                                                        <a:pt x="110997" y="7928"/>
                                                                                        <a:pt x="110997" y="7928"/>
                                                                                      </a:cubicBezTo>
                                                                                      <a:cubicBezTo>
                                                                                        <a:pt x="108919" y="11045"/>
                                                                                        <a:pt x="102547" y="19096"/>
                                                                                        <a:pt x="103068" y="23785"/>
                                                                                      </a:cubicBezTo>
                                                                                      <a:cubicBezTo>
                                                                                        <a:pt x="103683" y="29323"/>
                                                                                        <a:pt x="106592" y="34356"/>
                                                                                        <a:pt x="108354" y="39642"/>
                                                                                      </a:cubicBezTo>
                                                                                      <a:lnTo>
                                                                                        <a:pt x="110997" y="47570"/>
                                                                                      </a:lnTo>
                                                                                      <a:cubicBezTo>
                                                                                        <a:pt x="110116" y="51975"/>
                                                                                        <a:pt x="109444" y="56426"/>
                                                                                        <a:pt x="108354" y="60784"/>
                                                                                      </a:cubicBezTo>
                                                                                      <a:cubicBezTo>
                                                                                        <a:pt x="107678" y="63486"/>
                                                                                        <a:pt x="108203" y="67466"/>
                                                                                        <a:pt x="105711" y="68712"/>
                                                                                      </a:cubicBezTo>
                                                                                      <a:cubicBezTo>
                                                                                        <a:pt x="103219" y="69958"/>
                                                                                        <a:pt x="100426" y="66950"/>
                                                                                        <a:pt x="97783" y="66069"/>
                                                                                      </a:cubicBezTo>
                                                                                      <a:cubicBezTo>
                                                                                        <a:pt x="96021" y="63426"/>
                                                                                        <a:pt x="93917" y="60982"/>
                                                                                        <a:pt x="92497" y="58141"/>
                                                                                      </a:cubicBezTo>
                                                                                      <a:cubicBezTo>
                                                                                        <a:pt x="81553" y="36252"/>
                                                                                        <a:pt x="99722" y="65014"/>
                                                                                        <a:pt x="84569" y="42284"/>
                                                                                      </a:cubicBezTo>
                                                                                      <a:cubicBezTo>
                                                                                        <a:pt x="83688" y="44927"/>
                                                                                        <a:pt x="82691" y="47534"/>
                                                                                        <a:pt x="81926" y="50213"/>
                                                                                      </a:cubicBezTo>
                                                                                      <a:cubicBezTo>
                                                                                        <a:pt x="80928" y="53705"/>
                                                                                        <a:pt x="81299" y="57762"/>
                                                                                        <a:pt x="79284" y="60784"/>
                                                                                      </a:cubicBezTo>
                                                                                      <a:cubicBezTo>
                                                                                        <a:pt x="77522" y="63427"/>
                                                                                        <a:pt x="73998" y="64307"/>
                                                                                        <a:pt x="71355" y="66069"/>
                                                                                      </a:cubicBezTo>
                                                                                      <a:cubicBezTo>
                                                                                        <a:pt x="62024" y="52071"/>
                                                                                        <a:pt x="67679" y="63024"/>
                                                                                        <a:pt x="63427" y="39642"/>
                                                                                      </a:cubicBezTo>
                                                                                      <a:cubicBezTo>
                                                                                        <a:pt x="62777" y="36068"/>
                                                                                        <a:pt x="63053" y="31906"/>
                                                                                        <a:pt x="60784" y="29070"/>
                                                                                      </a:cubicBezTo>
                                                                                      <a:cubicBezTo>
                                                                                        <a:pt x="59044" y="26895"/>
                                                                                        <a:pt x="55499" y="27309"/>
                                                                                        <a:pt x="52856" y="26428"/>
                                                                                      </a:cubicBezTo>
                                                                                      <a:cubicBezTo>
                                                                                        <a:pt x="50213" y="27309"/>
                                                                                        <a:pt x="46309" y="26651"/>
                                                                                        <a:pt x="44927" y="29070"/>
                                                                                      </a:cubicBezTo>
                                                                                      <a:cubicBezTo>
                                                                                        <a:pt x="44665" y="29529"/>
                                                                                        <a:pt x="42505" y="49277"/>
                                                                                        <a:pt x="39642" y="52855"/>
                                                                                      </a:cubicBezTo>
                                                                                      <a:cubicBezTo>
                                                                                        <a:pt x="37658" y="55335"/>
                                                                                        <a:pt x="34357" y="56379"/>
                                                                                        <a:pt x="31714" y="58141"/>
                                                                                      </a:cubicBezTo>
                                                                                      <a:cubicBezTo>
                                                                                        <a:pt x="11470" y="55249"/>
                                                                                        <a:pt x="9691" y="47129"/>
                                                                                        <a:pt x="5286" y="4492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7" name="Freeform 276"/>
                                                                                <p:cNvSpPr/>
                                                                                <p:nvPr/>
                                                                              </p:nvSpPr>
                                                                              <p:spPr>
                                                                                <a:xfrm>
                                                                                  <a:off x="3683956" y="3173972"/>
                                                                                  <a:ext cx="58213" cy="60784"/>
                                                                                </a:xfrm>
                                                                                <a:custGeom>
                                                                                  <a:avLst/>
                                                                                  <a:gdLst>
                                                                                    <a:gd name="connsiteX0" fmla="*/ 5357 w 58213"/>
                                                                                    <a:gd name="connsiteY0" fmla="*/ 0 h 60784"/>
                                                                                    <a:gd name="connsiteX1" fmla="*/ 5357 w 58213"/>
                                                                                    <a:gd name="connsiteY1" fmla="*/ 0 h 60784"/>
                                                                                    <a:gd name="connsiteX2" fmla="*/ 72 w 58213"/>
                                                                                    <a:gd name="connsiteY2" fmla="*/ 23785 h 60784"/>
                                                                                    <a:gd name="connsiteX3" fmla="*/ 8000 w 58213"/>
                                                                                    <a:gd name="connsiteY3" fmla="*/ 31714 h 60784"/>
                                                                                    <a:gd name="connsiteX4" fmla="*/ 23857 w 58213"/>
                                                                                    <a:gd name="connsiteY4" fmla="*/ 42285 h 60784"/>
                                                                                    <a:gd name="connsiteX5" fmla="*/ 29142 w 58213"/>
                                                                                    <a:gd name="connsiteY5" fmla="*/ 50213 h 60784"/>
                                                                                    <a:gd name="connsiteX6" fmla="*/ 31785 w 58213"/>
                                                                                    <a:gd name="connsiteY6" fmla="*/ 58141 h 60784"/>
                                                                                    <a:gd name="connsiteX7" fmla="*/ 39713 w 58213"/>
                                                                                    <a:gd name="connsiteY7" fmla="*/ 60784 h 60784"/>
                                                                                    <a:gd name="connsiteX8" fmla="*/ 47642 w 58213"/>
                                                                                    <a:gd name="connsiteY8" fmla="*/ 55499 h 60784"/>
                                                                                    <a:gd name="connsiteX9" fmla="*/ 55570 w 58213"/>
                                                                                    <a:gd name="connsiteY9" fmla="*/ 52856 h 60784"/>
                                                                                    <a:gd name="connsiteX10" fmla="*/ 58213 w 58213"/>
                                                                                    <a:gd name="connsiteY10" fmla="*/ 44927 h 60784"/>
                                                                                    <a:gd name="connsiteX11" fmla="*/ 39713 w 58213"/>
                                                                                    <a:gd name="connsiteY11" fmla="*/ 31714 h 60784"/>
                                                                                    <a:gd name="connsiteX12" fmla="*/ 31785 w 58213"/>
                                                                                    <a:gd name="connsiteY12" fmla="*/ 29071 h 60784"/>
                                                                                    <a:gd name="connsiteX13" fmla="*/ 23857 w 58213"/>
                                                                                    <a:gd name="connsiteY13" fmla="*/ 13214 h 60784"/>
                                                                                    <a:gd name="connsiteX14" fmla="*/ 15928 w 58213"/>
                                                                                    <a:gd name="connsiteY14" fmla="*/ 7929 h 60784"/>
                                                                                    <a:gd name="connsiteX15" fmla="*/ 5357 w 58213"/>
                                                                                    <a:gd name="connsiteY15" fmla="*/ 0 h 6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213" h="60784">
                                                                                      <a:moveTo>
                                                                                        <a:pt x="5357" y="0"/>
                                                                                      </a:moveTo>
                                                                                      <a:lnTo>
                                                                                        <a:pt x="5357" y="0"/>
                                                                                      </a:lnTo>
                                                                                      <a:cubicBezTo>
                                                                                        <a:pt x="3595" y="7928"/>
                                                                                        <a:pt x="-603" y="15691"/>
                                                                                        <a:pt x="72" y="23785"/>
                                                                                      </a:cubicBezTo>
                                                                                      <a:cubicBezTo>
                                                                                        <a:pt x="382" y="27510"/>
                                                                                        <a:pt x="5050" y="29419"/>
                                                                                        <a:pt x="8000" y="31714"/>
                                                                                      </a:cubicBezTo>
                                                                                      <a:cubicBezTo>
                                                                                        <a:pt x="13014" y="35614"/>
                                                                                        <a:pt x="23857" y="42285"/>
                                                                                        <a:pt x="23857" y="42285"/>
                                                                                      </a:cubicBezTo>
                                                                                      <a:cubicBezTo>
                                                                                        <a:pt x="25619" y="44928"/>
                                                                                        <a:pt x="27722" y="47372"/>
                                                                                        <a:pt x="29142" y="50213"/>
                                                                                      </a:cubicBezTo>
                                                                                      <a:cubicBezTo>
                                                                                        <a:pt x="30388" y="52705"/>
                                                                                        <a:pt x="29815" y="56171"/>
                                                                                        <a:pt x="31785" y="58141"/>
                                                                                      </a:cubicBezTo>
                                                                                      <a:cubicBezTo>
                                                                                        <a:pt x="33755" y="60111"/>
                                                                                        <a:pt x="37070" y="59903"/>
                                                                                        <a:pt x="39713" y="60784"/>
                                                                                      </a:cubicBezTo>
                                                                                      <a:cubicBezTo>
                                                                                        <a:pt x="42356" y="59022"/>
                                                                                        <a:pt x="44801" y="56919"/>
                                                                                        <a:pt x="47642" y="55499"/>
                                                                                      </a:cubicBezTo>
                                                                                      <a:cubicBezTo>
                                                                                        <a:pt x="50134" y="54253"/>
                                                                                        <a:pt x="53600" y="54826"/>
                                                                                        <a:pt x="55570" y="52856"/>
                                                                                      </a:cubicBezTo>
                                                                                      <a:cubicBezTo>
                                                                                        <a:pt x="57540" y="50886"/>
                                                                                        <a:pt x="57332" y="47570"/>
                                                                                        <a:pt x="58213" y="44927"/>
                                                                                      </a:cubicBezTo>
                                                                                      <a:cubicBezTo>
                                                                                        <a:pt x="53808" y="31713"/>
                                                                                        <a:pt x="58213" y="37880"/>
                                                                                        <a:pt x="39713" y="31714"/>
                                                                                      </a:cubicBezTo>
                                                                                      <a:lnTo>
                                                                                        <a:pt x="31785" y="29071"/>
                                                                                      </a:lnTo>
                                                                                      <a:cubicBezTo>
                                                                                        <a:pt x="29636" y="22624"/>
                                                                                        <a:pt x="28979" y="18336"/>
                                                                                        <a:pt x="23857" y="13214"/>
                                                                                      </a:cubicBezTo>
                                                                                      <a:cubicBezTo>
                                                                                        <a:pt x="21611" y="10968"/>
                                                                                        <a:pt x="18571" y="9691"/>
                                                                                        <a:pt x="15928" y="7929"/>
                                                                                      </a:cubicBezTo>
                                                                                      <a:cubicBezTo>
                                                                                        <a:pt x="7164" y="10850"/>
                                                                                        <a:pt x="7119" y="1321"/>
                                                                                        <a:pt x="535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4" name="Freeform 273"/>
                                                                              <p:cNvSpPr/>
                                                                              <p:nvPr/>
                                                                            </p:nvSpPr>
                                                                            <p:spPr>
                                                                              <a:xfrm>
                                                                                <a:off x="3816055" y="3160758"/>
                                                                                <a:ext cx="32246" cy="21143"/>
                                                                              </a:xfrm>
                                                                              <a:custGeom>
                                                                                <a:avLst/>
                                                                                <a:gdLst>
                                                                                  <a:gd name="connsiteX0" fmla="*/ 18611 w 32246"/>
                                                                                  <a:gd name="connsiteY0" fmla="*/ 0 h 21143"/>
                                                                                  <a:gd name="connsiteX1" fmla="*/ 18611 w 32246"/>
                                                                                  <a:gd name="connsiteY1" fmla="*/ 0 h 21143"/>
                                                                                  <a:gd name="connsiteX2" fmla="*/ 111 w 32246"/>
                                                                                  <a:gd name="connsiteY2" fmla="*/ 13214 h 21143"/>
                                                                                  <a:gd name="connsiteX3" fmla="*/ 15968 w 32246"/>
                                                                                  <a:gd name="connsiteY3" fmla="*/ 21143 h 21143"/>
                                                                                  <a:gd name="connsiteX4" fmla="*/ 31825 w 32246"/>
                                                                                  <a:gd name="connsiteY4" fmla="*/ 18500 h 21143"/>
                                                                                  <a:gd name="connsiteX5" fmla="*/ 23896 w 32246"/>
                                                                                  <a:gd name="connsiteY5" fmla="*/ 10571 h 21143"/>
                                                                                  <a:gd name="connsiteX6" fmla="*/ 18611 w 32246"/>
                                                                                  <a:gd name="connsiteY6" fmla="*/ 0 h 2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46" h="21143">
                                                                                    <a:moveTo>
                                                                                      <a:pt x="18611" y="0"/>
                                                                                    </a:moveTo>
                                                                                    <a:lnTo>
                                                                                      <a:pt x="18611" y="0"/>
                                                                                    </a:lnTo>
                                                                                    <a:cubicBezTo>
                                                                                      <a:pt x="12444" y="4405"/>
                                                                                      <a:pt x="3871" y="6634"/>
                                                                                      <a:pt x="111" y="13214"/>
                                                                                    </a:cubicBezTo>
                                                                                    <a:cubicBezTo>
                                                                                      <a:pt x="-1528" y="16083"/>
                                                                                      <a:pt x="15450" y="20970"/>
                                                                                      <a:pt x="15968" y="21143"/>
                                                                                    </a:cubicBezTo>
                                                                                    <a:cubicBezTo>
                                                                                      <a:pt x="21254" y="20262"/>
                                                                                      <a:pt x="28610" y="22787"/>
                                                                                      <a:pt x="31825" y="18500"/>
                                                                                    </a:cubicBezTo>
                                                                                    <a:cubicBezTo>
                                                                                      <a:pt x="34067" y="15510"/>
                                                                                      <a:pt x="26767" y="12964"/>
                                                                                      <a:pt x="23896" y="10571"/>
                                                                                    </a:cubicBezTo>
                                                                                    <a:cubicBezTo>
                                                                                      <a:pt x="21456" y="8538"/>
                                                                                      <a:pt x="19492" y="1762"/>
                                                                                      <a:pt x="186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70" name="Group 269"/>
                                                                            <p:cNvGrpSpPr/>
                                                                            <p:nvPr/>
                                                                          </p:nvGrpSpPr>
                                                                          <p:grpSpPr>
                                                                            <a:xfrm>
                                                                              <a:off x="3015406" y="3130846"/>
                                                                              <a:ext cx="1046539" cy="1406798"/>
                                                                              <a:chOff x="3015406" y="3130846"/>
                                                                              <a:chExt cx="1046539" cy="1406798"/>
                                                                            </a:xfrm>
                                                                            <a:grpFill/>
                                                                          </p:grpSpPr>
                                                                          <p:sp>
                                                                            <p:nvSpPr>
                                                                              <p:cNvPr id="271" name="Freeform 270"/>
                                                                              <p:cNvSpPr/>
                                                                              <p:nvPr/>
                                                                            </p:nvSpPr>
                                                                            <p:spPr>
                                                                              <a:xfrm>
                                                                                <a:off x="3015406" y="3130846"/>
                                                                                <a:ext cx="1046539" cy="1406798"/>
                                                                              </a:xfrm>
                                                                              <a:custGeom>
                                                                                <a:avLst/>
                                                                                <a:gdLst>
                                                                                  <a:gd name="connsiteX0" fmla="*/ 200851 w 1046539"/>
                                                                                  <a:gd name="connsiteY0" fmla="*/ 241334 h 1406798"/>
                                                                                  <a:gd name="connsiteX1" fmla="*/ 200851 w 1046539"/>
                                                                                  <a:gd name="connsiteY1" fmla="*/ 241334 h 1406798"/>
                                                                                  <a:gd name="connsiteX2" fmla="*/ 206136 w 1046539"/>
                                                                                  <a:gd name="connsiteY2" fmla="*/ 267762 h 1406798"/>
                                                                                  <a:gd name="connsiteX3" fmla="*/ 221993 w 1046539"/>
                                                                                  <a:gd name="connsiteY3" fmla="*/ 278333 h 1406798"/>
                                                                                  <a:gd name="connsiteX4" fmla="*/ 216707 w 1046539"/>
                                                                                  <a:gd name="connsiteY4" fmla="*/ 294190 h 1406798"/>
                                                                                  <a:gd name="connsiteX5" fmla="*/ 214065 w 1046539"/>
                                                                                  <a:gd name="connsiteY5" fmla="*/ 302118 h 1406798"/>
                                                                                  <a:gd name="connsiteX6" fmla="*/ 211422 w 1046539"/>
                                                                                  <a:gd name="connsiteY6" fmla="*/ 312689 h 1406798"/>
                                                                                  <a:gd name="connsiteX7" fmla="*/ 208779 w 1046539"/>
                                                                                  <a:gd name="connsiteY7" fmla="*/ 320618 h 1406798"/>
                                                                                  <a:gd name="connsiteX8" fmla="*/ 200851 w 1046539"/>
                                                                                  <a:gd name="connsiteY8" fmla="*/ 325903 h 1406798"/>
                                                                                  <a:gd name="connsiteX9" fmla="*/ 192922 w 1046539"/>
                                                                                  <a:gd name="connsiteY9" fmla="*/ 341760 h 1406798"/>
                                                                                  <a:gd name="connsiteX10" fmla="*/ 184994 w 1046539"/>
                                                                                  <a:gd name="connsiteY10" fmla="*/ 376116 h 1406798"/>
                                                                                  <a:gd name="connsiteX11" fmla="*/ 161209 w 1046539"/>
                                                                                  <a:gd name="connsiteY11" fmla="*/ 386687 h 1406798"/>
                                                                                  <a:gd name="connsiteX12" fmla="*/ 153281 w 1046539"/>
                                                                                  <a:gd name="connsiteY12" fmla="*/ 389330 h 1406798"/>
                                                                                  <a:gd name="connsiteX13" fmla="*/ 150638 w 1046539"/>
                                                                                  <a:gd name="connsiteY13" fmla="*/ 413115 h 1406798"/>
                                                                                  <a:gd name="connsiteX14" fmla="*/ 158566 w 1046539"/>
                                                                                  <a:gd name="connsiteY14" fmla="*/ 418400 h 1406798"/>
                                                                                  <a:gd name="connsiteX15" fmla="*/ 163852 w 1046539"/>
                                                                                  <a:gd name="connsiteY15" fmla="*/ 426329 h 1406798"/>
                                                                                  <a:gd name="connsiteX16" fmla="*/ 163852 w 1046539"/>
                                                                                  <a:gd name="connsiteY16" fmla="*/ 455399 h 1406798"/>
                                                                                  <a:gd name="connsiteX17" fmla="*/ 161209 w 1046539"/>
                                                                                  <a:gd name="connsiteY17" fmla="*/ 463327 h 1406798"/>
                                                                                  <a:gd name="connsiteX18" fmla="*/ 153281 w 1046539"/>
                                                                                  <a:gd name="connsiteY18" fmla="*/ 465970 h 1406798"/>
                                                                                  <a:gd name="connsiteX19" fmla="*/ 147995 w 1046539"/>
                                                                                  <a:gd name="connsiteY19" fmla="*/ 473899 h 1406798"/>
                                                                                  <a:gd name="connsiteX20" fmla="*/ 134781 w 1046539"/>
                                                                                  <a:gd name="connsiteY20" fmla="*/ 487112 h 1406798"/>
                                                                                  <a:gd name="connsiteX21" fmla="*/ 132139 w 1046539"/>
                                                                                  <a:gd name="connsiteY21" fmla="*/ 495041 h 1406798"/>
                                                                                  <a:gd name="connsiteX22" fmla="*/ 121567 w 1046539"/>
                                                                                  <a:gd name="connsiteY22" fmla="*/ 510897 h 1406798"/>
                                                                                  <a:gd name="connsiteX23" fmla="*/ 47570 w 1046539"/>
                                                                                  <a:gd name="connsiteY23" fmla="*/ 510897 h 1406798"/>
                                                                                  <a:gd name="connsiteX24" fmla="*/ 39641 w 1046539"/>
                                                                                  <a:gd name="connsiteY24" fmla="*/ 516183 h 1406798"/>
                                                                                  <a:gd name="connsiteX25" fmla="*/ 47570 w 1046539"/>
                                                                                  <a:gd name="connsiteY25" fmla="*/ 547896 h 1406798"/>
                                                                                  <a:gd name="connsiteX26" fmla="*/ 50212 w 1046539"/>
                                                                                  <a:gd name="connsiteY26" fmla="*/ 555825 h 1406798"/>
                                                                                  <a:gd name="connsiteX27" fmla="*/ 47570 w 1046539"/>
                                                                                  <a:gd name="connsiteY27" fmla="*/ 584895 h 1406798"/>
                                                                                  <a:gd name="connsiteX28" fmla="*/ 29070 w 1046539"/>
                                                                                  <a:gd name="connsiteY28" fmla="*/ 606037 h 1406798"/>
                                                                                  <a:gd name="connsiteX29" fmla="*/ 31713 w 1046539"/>
                                                                                  <a:gd name="connsiteY29" fmla="*/ 627179 h 1406798"/>
                                                                                  <a:gd name="connsiteX30" fmla="*/ 36999 w 1046539"/>
                                                                                  <a:gd name="connsiteY30" fmla="*/ 643036 h 1406798"/>
                                                                                  <a:gd name="connsiteX31" fmla="*/ 31713 w 1046539"/>
                                                                                  <a:gd name="connsiteY31" fmla="*/ 661536 h 1406798"/>
                                                                                  <a:gd name="connsiteX32" fmla="*/ 23785 w 1046539"/>
                                                                                  <a:gd name="connsiteY32" fmla="*/ 664178 h 1406798"/>
                                                                                  <a:gd name="connsiteX33" fmla="*/ 13214 w 1046539"/>
                                                                                  <a:gd name="connsiteY33" fmla="*/ 687963 h 1406798"/>
                                                                                  <a:gd name="connsiteX34" fmla="*/ 10571 w 1046539"/>
                                                                                  <a:gd name="connsiteY34" fmla="*/ 695892 h 1406798"/>
                                                                                  <a:gd name="connsiteX35" fmla="*/ 13214 w 1046539"/>
                                                                                  <a:gd name="connsiteY35" fmla="*/ 714391 h 1406798"/>
                                                                                  <a:gd name="connsiteX36" fmla="*/ 15856 w 1046539"/>
                                                                                  <a:gd name="connsiteY36" fmla="*/ 724962 h 1406798"/>
                                                                                  <a:gd name="connsiteX37" fmla="*/ 18499 w 1046539"/>
                                                                                  <a:gd name="connsiteY37" fmla="*/ 743462 h 1406798"/>
                                                                                  <a:gd name="connsiteX38" fmla="*/ 26428 w 1046539"/>
                                                                                  <a:gd name="connsiteY38" fmla="*/ 764604 h 1406798"/>
                                                                                  <a:gd name="connsiteX39" fmla="*/ 31713 w 1046539"/>
                                                                                  <a:gd name="connsiteY39" fmla="*/ 780460 h 1406798"/>
                                                                                  <a:gd name="connsiteX40" fmla="*/ 29070 w 1046539"/>
                                                                                  <a:gd name="connsiteY40" fmla="*/ 793674 h 1406798"/>
                                                                                  <a:gd name="connsiteX41" fmla="*/ 26428 w 1046539"/>
                                                                                  <a:gd name="connsiteY41" fmla="*/ 801603 h 1406798"/>
                                                                                  <a:gd name="connsiteX42" fmla="*/ 18499 w 1046539"/>
                                                                                  <a:gd name="connsiteY42" fmla="*/ 804245 h 1406798"/>
                                                                                  <a:gd name="connsiteX43" fmla="*/ 7928 w 1046539"/>
                                                                                  <a:gd name="connsiteY43" fmla="*/ 820102 h 1406798"/>
                                                                                  <a:gd name="connsiteX44" fmla="*/ 2643 w 1046539"/>
                                                                                  <a:gd name="connsiteY44" fmla="*/ 828030 h 1406798"/>
                                                                                  <a:gd name="connsiteX45" fmla="*/ 0 w 1046539"/>
                                                                                  <a:gd name="connsiteY45" fmla="*/ 835959 h 1406798"/>
                                                                                  <a:gd name="connsiteX46" fmla="*/ 7928 w 1046539"/>
                                                                                  <a:gd name="connsiteY46" fmla="*/ 870315 h 1406798"/>
                                                                                  <a:gd name="connsiteX47" fmla="*/ 10571 w 1046539"/>
                                                                                  <a:gd name="connsiteY47" fmla="*/ 878243 h 1406798"/>
                                                                                  <a:gd name="connsiteX48" fmla="*/ 18499 w 1046539"/>
                                                                                  <a:gd name="connsiteY48" fmla="*/ 894100 h 1406798"/>
                                                                                  <a:gd name="connsiteX49" fmla="*/ 13214 w 1046539"/>
                                                                                  <a:gd name="connsiteY49" fmla="*/ 928456 h 1406798"/>
                                                                                  <a:gd name="connsiteX50" fmla="*/ 7928 w 1046539"/>
                                                                                  <a:gd name="connsiteY50" fmla="*/ 944312 h 1406798"/>
                                                                                  <a:gd name="connsiteX51" fmla="*/ 15856 w 1046539"/>
                                                                                  <a:gd name="connsiteY51" fmla="*/ 960169 h 1406798"/>
                                                                                  <a:gd name="connsiteX52" fmla="*/ 18499 w 1046539"/>
                                                                                  <a:gd name="connsiteY52" fmla="*/ 968097 h 1406798"/>
                                                                                  <a:gd name="connsiteX53" fmla="*/ 23785 w 1046539"/>
                                                                                  <a:gd name="connsiteY53" fmla="*/ 976026 h 1406798"/>
                                                                                  <a:gd name="connsiteX54" fmla="*/ 29070 w 1046539"/>
                                                                                  <a:gd name="connsiteY54" fmla="*/ 994525 h 1406798"/>
                                                                                  <a:gd name="connsiteX55" fmla="*/ 31713 w 1046539"/>
                                                                                  <a:gd name="connsiteY55" fmla="*/ 1013025 h 1406798"/>
                                                                                  <a:gd name="connsiteX56" fmla="*/ 34356 w 1046539"/>
                                                                                  <a:gd name="connsiteY56" fmla="*/ 1020953 h 1406798"/>
                                                                                  <a:gd name="connsiteX57" fmla="*/ 42284 w 1046539"/>
                                                                                  <a:gd name="connsiteY57" fmla="*/ 1023596 h 1406798"/>
                                                                                  <a:gd name="connsiteX58" fmla="*/ 73997 w 1046539"/>
                                                                                  <a:gd name="connsiteY58" fmla="*/ 1026238 h 1406798"/>
                                                                                  <a:gd name="connsiteX59" fmla="*/ 79283 w 1046539"/>
                                                                                  <a:gd name="connsiteY59" fmla="*/ 1034167 h 1406798"/>
                                                                                  <a:gd name="connsiteX60" fmla="*/ 87211 w 1046539"/>
                                                                                  <a:gd name="connsiteY60" fmla="*/ 1036809 h 1406798"/>
                                                                                  <a:gd name="connsiteX61" fmla="*/ 132139 w 1046539"/>
                                                                                  <a:gd name="connsiteY61" fmla="*/ 1044738 h 1406798"/>
                                                                                  <a:gd name="connsiteX62" fmla="*/ 147995 w 1046539"/>
                                                                                  <a:gd name="connsiteY62" fmla="*/ 1050023 h 1406798"/>
                                                                                  <a:gd name="connsiteX63" fmla="*/ 158566 w 1046539"/>
                                                                                  <a:gd name="connsiteY63" fmla="*/ 1052666 h 1406798"/>
                                                                                  <a:gd name="connsiteX64" fmla="*/ 174423 w 1046539"/>
                                                                                  <a:gd name="connsiteY64" fmla="*/ 1057952 h 1406798"/>
                                                                                  <a:gd name="connsiteX65" fmla="*/ 182351 w 1046539"/>
                                                                                  <a:gd name="connsiteY65" fmla="*/ 1060594 h 1406798"/>
                                                                                  <a:gd name="connsiteX66" fmla="*/ 190280 w 1046539"/>
                                                                                  <a:gd name="connsiteY66" fmla="*/ 1065880 h 1406798"/>
                                                                                  <a:gd name="connsiteX67" fmla="*/ 198208 w 1046539"/>
                                                                                  <a:gd name="connsiteY67" fmla="*/ 1068523 h 1406798"/>
                                                                                  <a:gd name="connsiteX68" fmla="*/ 203493 w 1046539"/>
                                                                                  <a:gd name="connsiteY68" fmla="*/ 1076451 h 1406798"/>
                                                                                  <a:gd name="connsiteX69" fmla="*/ 200851 w 1046539"/>
                                                                                  <a:gd name="connsiteY69" fmla="*/ 1087022 h 1406798"/>
                                                                                  <a:gd name="connsiteX70" fmla="*/ 187637 w 1046539"/>
                                                                                  <a:gd name="connsiteY70" fmla="*/ 1100236 h 1406798"/>
                                                                                  <a:gd name="connsiteX71" fmla="*/ 182351 w 1046539"/>
                                                                                  <a:gd name="connsiteY71" fmla="*/ 1105522 h 1406798"/>
                                                                                  <a:gd name="connsiteX72" fmla="*/ 163852 w 1046539"/>
                                                                                  <a:gd name="connsiteY72" fmla="*/ 1126664 h 1406798"/>
                                                                                  <a:gd name="connsiteX73" fmla="*/ 155923 w 1046539"/>
                                                                                  <a:gd name="connsiteY73" fmla="*/ 1147806 h 1406798"/>
                                                                                  <a:gd name="connsiteX74" fmla="*/ 147995 w 1046539"/>
                                                                                  <a:gd name="connsiteY74" fmla="*/ 1150449 h 1406798"/>
                                                                                  <a:gd name="connsiteX75" fmla="*/ 140067 w 1046539"/>
                                                                                  <a:gd name="connsiteY75" fmla="*/ 1158377 h 1406798"/>
                                                                                  <a:gd name="connsiteX76" fmla="*/ 129496 w 1046539"/>
                                                                                  <a:gd name="connsiteY76" fmla="*/ 1174234 h 1406798"/>
                                                                                  <a:gd name="connsiteX77" fmla="*/ 113639 w 1046539"/>
                                                                                  <a:gd name="connsiteY77" fmla="*/ 1182162 h 1406798"/>
                                                                                  <a:gd name="connsiteX78" fmla="*/ 105711 w 1046539"/>
                                                                                  <a:gd name="connsiteY78" fmla="*/ 1187448 h 1406798"/>
                                                                                  <a:gd name="connsiteX79" fmla="*/ 100425 w 1046539"/>
                                                                                  <a:gd name="connsiteY79" fmla="*/ 1203304 h 1406798"/>
                                                                                  <a:gd name="connsiteX80" fmla="*/ 92497 w 1046539"/>
                                                                                  <a:gd name="connsiteY80" fmla="*/ 1219161 h 1406798"/>
                                                                                  <a:gd name="connsiteX81" fmla="*/ 92497 w 1046539"/>
                                                                                  <a:gd name="connsiteY81" fmla="*/ 1250874 h 1406798"/>
                                                                                  <a:gd name="connsiteX82" fmla="*/ 87211 w 1046539"/>
                                                                                  <a:gd name="connsiteY82" fmla="*/ 1266731 h 1406798"/>
                                                                                  <a:gd name="connsiteX83" fmla="*/ 92497 w 1046539"/>
                                                                                  <a:gd name="connsiteY83" fmla="*/ 1282588 h 1406798"/>
                                                                                  <a:gd name="connsiteX84" fmla="*/ 95140 w 1046539"/>
                                                                                  <a:gd name="connsiteY84" fmla="*/ 1303730 h 1406798"/>
                                                                                  <a:gd name="connsiteX85" fmla="*/ 118925 w 1046539"/>
                                                                                  <a:gd name="connsiteY85" fmla="*/ 1306372 h 1406798"/>
                                                                                  <a:gd name="connsiteX86" fmla="*/ 126853 w 1046539"/>
                                                                                  <a:gd name="connsiteY86" fmla="*/ 1311658 h 1406798"/>
                                                                                  <a:gd name="connsiteX87" fmla="*/ 163852 w 1046539"/>
                                                                                  <a:gd name="connsiteY87" fmla="*/ 1316944 h 1406798"/>
                                                                                  <a:gd name="connsiteX88" fmla="*/ 182351 w 1046539"/>
                                                                                  <a:gd name="connsiteY88" fmla="*/ 1316944 h 1406798"/>
                                                                                  <a:gd name="connsiteX89" fmla="*/ 187637 w 1046539"/>
                                                                                  <a:gd name="connsiteY89" fmla="*/ 1309015 h 1406798"/>
                                                                                  <a:gd name="connsiteX90" fmla="*/ 203493 w 1046539"/>
                                                                                  <a:gd name="connsiteY90" fmla="*/ 1298444 h 1406798"/>
                                                                                  <a:gd name="connsiteX91" fmla="*/ 211422 w 1046539"/>
                                                                                  <a:gd name="connsiteY91" fmla="*/ 1293159 h 1406798"/>
                                                                                  <a:gd name="connsiteX92" fmla="*/ 219350 w 1046539"/>
                                                                                  <a:gd name="connsiteY92" fmla="*/ 1287873 h 1406798"/>
                                                                                  <a:gd name="connsiteX93" fmla="*/ 229921 w 1046539"/>
                                                                                  <a:gd name="connsiteY93" fmla="*/ 1290516 h 1406798"/>
                                                                                  <a:gd name="connsiteX94" fmla="*/ 237849 w 1046539"/>
                                                                                  <a:gd name="connsiteY94" fmla="*/ 1298444 h 1406798"/>
                                                                                  <a:gd name="connsiteX95" fmla="*/ 245778 w 1046539"/>
                                                                                  <a:gd name="connsiteY95" fmla="*/ 1303730 h 1406798"/>
                                                                                  <a:gd name="connsiteX96" fmla="*/ 266920 w 1046539"/>
                                                                                  <a:gd name="connsiteY96" fmla="*/ 1309015 h 1406798"/>
                                                                                  <a:gd name="connsiteX97" fmla="*/ 272206 w 1046539"/>
                                                                                  <a:gd name="connsiteY97" fmla="*/ 1316944 h 1406798"/>
                                                                                  <a:gd name="connsiteX98" fmla="*/ 295991 w 1046539"/>
                                                                                  <a:gd name="connsiteY98" fmla="*/ 1327515 h 1406798"/>
                                                                                  <a:gd name="connsiteX99" fmla="*/ 303919 w 1046539"/>
                                                                                  <a:gd name="connsiteY99" fmla="*/ 1332800 h 1406798"/>
                                                                                  <a:gd name="connsiteX100" fmla="*/ 317133 w 1046539"/>
                                                                                  <a:gd name="connsiteY100" fmla="*/ 1356585 h 1406798"/>
                                                                                  <a:gd name="connsiteX101" fmla="*/ 325061 w 1046539"/>
                                                                                  <a:gd name="connsiteY101" fmla="*/ 1361871 h 1406798"/>
                                                                                  <a:gd name="connsiteX102" fmla="*/ 356774 w 1046539"/>
                                                                                  <a:gd name="connsiteY102" fmla="*/ 1359228 h 1406798"/>
                                                                                  <a:gd name="connsiteX103" fmla="*/ 375274 w 1046539"/>
                                                                                  <a:gd name="connsiteY103" fmla="*/ 1356585 h 1406798"/>
                                                                                  <a:gd name="connsiteX104" fmla="*/ 377917 w 1046539"/>
                                                                                  <a:gd name="connsiteY104" fmla="*/ 1364514 h 1406798"/>
                                                                                  <a:gd name="connsiteX105" fmla="*/ 393773 w 1046539"/>
                                                                                  <a:gd name="connsiteY105" fmla="*/ 1369799 h 1406798"/>
                                                                                  <a:gd name="connsiteX106" fmla="*/ 401702 w 1046539"/>
                                                                                  <a:gd name="connsiteY106" fmla="*/ 1385656 h 1406798"/>
                                                                                  <a:gd name="connsiteX107" fmla="*/ 404344 w 1046539"/>
                                                                                  <a:gd name="connsiteY107" fmla="*/ 1398870 h 1406798"/>
                                                                                  <a:gd name="connsiteX108" fmla="*/ 420201 w 1046539"/>
                                                                                  <a:gd name="connsiteY108" fmla="*/ 1406798 h 1406798"/>
                                                                                  <a:gd name="connsiteX109" fmla="*/ 433415 w 1046539"/>
                                                                                  <a:gd name="connsiteY109" fmla="*/ 1404155 h 1406798"/>
                                                                                  <a:gd name="connsiteX110" fmla="*/ 436058 w 1046539"/>
                                                                                  <a:gd name="connsiteY110" fmla="*/ 1396227 h 1406798"/>
                                                                                  <a:gd name="connsiteX111" fmla="*/ 438700 w 1046539"/>
                                                                                  <a:gd name="connsiteY111" fmla="*/ 1377727 h 1406798"/>
                                                                                  <a:gd name="connsiteX112" fmla="*/ 446629 w 1046539"/>
                                                                                  <a:gd name="connsiteY112" fmla="*/ 1375085 h 1406798"/>
                                                                                  <a:gd name="connsiteX113" fmla="*/ 494199 w 1046539"/>
                                                                                  <a:gd name="connsiteY113" fmla="*/ 1383013 h 1406798"/>
                                                                                  <a:gd name="connsiteX114" fmla="*/ 507412 w 1046539"/>
                                                                                  <a:gd name="connsiteY114" fmla="*/ 1396227 h 1406798"/>
                                                                                  <a:gd name="connsiteX115" fmla="*/ 523269 w 1046539"/>
                                                                                  <a:gd name="connsiteY115" fmla="*/ 1401512 h 1406798"/>
                                                                                  <a:gd name="connsiteX116" fmla="*/ 557625 w 1046539"/>
                                                                                  <a:gd name="connsiteY116" fmla="*/ 1398870 h 1406798"/>
                                                                                  <a:gd name="connsiteX117" fmla="*/ 573482 w 1046539"/>
                                                                                  <a:gd name="connsiteY117" fmla="*/ 1390941 h 1406798"/>
                                                                                  <a:gd name="connsiteX118" fmla="*/ 589339 w 1046539"/>
                                                                                  <a:gd name="connsiteY118" fmla="*/ 1385656 h 1406798"/>
                                                                                  <a:gd name="connsiteX119" fmla="*/ 636908 w 1046539"/>
                                                                                  <a:gd name="connsiteY119" fmla="*/ 1383013 h 1406798"/>
                                                                                  <a:gd name="connsiteX120" fmla="*/ 642194 w 1046539"/>
                                                                                  <a:gd name="connsiteY120" fmla="*/ 1375085 h 1406798"/>
                                                                                  <a:gd name="connsiteX121" fmla="*/ 650122 w 1046539"/>
                                                                                  <a:gd name="connsiteY121" fmla="*/ 1372442 h 1406798"/>
                                                                                  <a:gd name="connsiteX122" fmla="*/ 716192 w 1046539"/>
                                                                                  <a:gd name="connsiteY122" fmla="*/ 1375085 h 1406798"/>
                                                                                  <a:gd name="connsiteX123" fmla="*/ 724120 w 1046539"/>
                                                                                  <a:gd name="connsiteY123" fmla="*/ 1377727 h 1406798"/>
                                                                                  <a:gd name="connsiteX124" fmla="*/ 737334 w 1046539"/>
                                                                                  <a:gd name="connsiteY124" fmla="*/ 1401512 h 1406798"/>
                                                                                  <a:gd name="connsiteX125" fmla="*/ 774333 w 1046539"/>
                                                                                  <a:gd name="connsiteY125" fmla="*/ 1396227 h 1406798"/>
                                                                                  <a:gd name="connsiteX126" fmla="*/ 761119 w 1046539"/>
                                                                                  <a:gd name="connsiteY126" fmla="*/ 1377727 h 1406798"/>
                                                                                  <a:gd name="connsiteX127" fmla="*/ 755833 w 1046539"/>
                                                                                  <a:gd name="connsiteY127" fmla="*/ 1335443 h 1406798"/>
                                                                                  <a:gd name="connsiteX128" fmla="*/ 745262 w 1046539"/>
                                                                                  <a:gd name="connsiteY128" fmla="*/ 1311658 h 1406798"/>
                                                                                  <a:gd name="connsiteX129" fmla="*/ 747905 w 1046539"/>
                                                                                  <a:gd name="connsiteY129" fmla="*/ 1301087 h 1406798"/>
                                                                                  <a:gd name="connsiteX130" fmla="*/ 758476 w 1046539"/>
                                                                                  <a:gd name="connsiteY130" fmla="*/ 1295801 h 1406798"/>
                                                                                  <a:gd name="connsiteX131" fmla="*/ 766404 w 1046539"/>
                                                                                  <a:gd name="connsiteY131" fmla="*/ 1290516 h 1406798"/>
                                                                                  <a:gd name="connsiteX132" fmla="*/ 784904 w 1046539"/>
                                                                                  <a:gd name="connsiteY132" fmla="*/ 1285230 h 1406798"/>
                                                                                  <a:gd name="connsiteX133" fmla="*/ 800760 w 1046539"/>
                                                                                  <a:gd name="connsiteY133" fmla="*/ 1279945 h 1406798"/>
                                                                                  <a:gd name="connsiteX134" fmla="*/ 811332 w 1046539"/>
                                                                                  <a:gd name="connsiteY134" fmla="*/ 1261445 h 1406798"/>
                                                                                  <a:gd name="connsiteX135" fmla="*/ 816617 w 1046539"/>
                                                                                  <a:gd name="connsiteY135" fmla="*/ 1253517 h 1406798"/>
                                                                                  <a:gd name="connsiteX136" fmla="*/ 832474 w 1046539"/>
                                                                                  <a:gd name="connsiteY136" fmla="*/ 1227089 h 1406798"/>
                                                                                  <a:gd name="connsiteX137" fmla="*/ 837759 w 1046539"/>
                                                                                  <a:gd name="connsiteY137" fmla="*/ 1219161 h 1406798"/>
                                                                                  <a:gd name="connsiteX138" fmla="*/ 845688 w 1046539"/>
                                                                                  <a:gd name="connsiteY138" fmla="*/ 1216518 h 1406798"/>
                                                                                  <a:gd name="connsiteX139" fmla="*/ 869473 w 1046539"/>
                                                                                  <a:gd name="connsiteY139" fmla="*/ 1211233 h 1406798"/>
                                                                                  <a:gd name="connsiteX140" fmla="*/ 869473 w 1046539"/>
                                                                                  <a:gd name="connsiteY140" fmla="*/ 1171591 h 1406798"/>
                                                                                  <a:gd name="connsiteX141" fmla="*/ 853616 w 1046539"/>
                                                                                  <a:gd name="connsiteY141" fmla="*/ 1161020 h 1406798"/>
                                                                                  <a:gd name="connsiteX142" fmla="*/ 832474 w 1046539"/>
                                                                                  <a:gd name="connsiteY142" fmla="*/ 1129307 h 1406798"/>
                                                                                  <a:gd name="connsiteX143" fmla="*/ 827188 w 1046539"/>
                                                                                  <a:gd name="connsiteY143" fmla="*/ 1121378 h 1406798"/>
                                                                                  <a:gd name="connsiteX144" fmla="*/ 819260 w 1046539"/>
                                                                                  <a:gd name="connsiteY144" fmla="*/ 1116093 h 1406798"/>
                                                                                  <a:gd name="connsiteX145" fmla="*/ 808689 w 1046539"/>
                                                                                  <a:gd name="connsiteY145" fmla="*/ 1105522 h 1406798"/>
                                                                                  <a:gd name="connsiteX146" fmla="*/ 808689 w 1046539"/>
                                                                                  <a:gd name="connsiteY146" fmla="*/ 1105522 h 1406798"/>
                                                                                  <a:gd name="connsiteX147" fmla="*/ 782261 w 1046539"/>
                                                                                  <a:gd name="connsiteY147" fmla="*/ 1089665 h 1406798"/>
                                                                                  <a:gd name="connsiteX148" fmla="*/ 779618 w 1046539"/>
                                                                                  <a:gd name="connsiteY148" fmla="*/ 1081737 h 1406798"/>
                                                                                  <a:gd name="connsiteX149" fmla="*/ 771690 w 1046539"/>
                                                                                  <a:gd name="connsiteY149" fmla="*/ 1079094 h 1406798"/>
                                                                                  <a:gd name="connsiteX150" fmla="*/ 755833 w 1046539"/>
                                                                                  <a:gd name="connsiteY150" fmla="*/ 1068523 h 1406798"/>
                                                                                  <a:gd name="connsiteX151" fmla="*/ 737334 w 1046539"/>
                                                                                  <a:gd name="connsiteY151" fmla="*/ 1044738 h 1406798"/>
                                                                                  <a:gd name="connsiteX152" fmla="*/ 729406 w 1046539"/>
                                                                                  <a:gd name="connsiteY152" fmla="*/ 1020953 h 1406798"/>
                                                                                  <a:gd name="connsiteX153" fmla="*/ 726763 w 1046539"/>
                                                                                  <a:gd name="connsiteY153" fmla="*/ 1013025 h 1406798"/>
                                                                                  <a:gd name="connsiteX154" fmla="*/ 724120 w 1046539"/>
                                                                                  <a:gd name="connsiteY154" fmla="*/ 997168 h 1406798"/>
                                                                                  <a:gd name="connsiteX155" fmla="*/ 732048 w 1046539"/>
                                                                                  <a:gd name="connsiteY155" fmla="*/ 962812 h 1406798"/>
                                                                                  <a:gd name="connsiteX156" fmla="*/ 724120 w 1046539"/>
                                                                                  <a:gd name="connsiteY156" fmla="*/ 933741 h 1406798"/>
                                                                                  <a:gd name="connsiteX157" fmla="*/ 716192 w 1046539"/>
                                                                                  <a:gd name="connsiteY157" fmla="*/ 931099 h 1406798"/>
                                                                                  <a:gd name="connsiteX158" fmla="*/ 708263 w 1046539"/>
                                                                                  <a:gd name="connsiteY158" fmla="*/ 925813 h 1406798"/>
                                                                                  <a:gd name="connsiteX159" fmla="*/ 695049 w 1046539"/>
                                                                                  <a:gd name="connsiteY159" fmla="*/ 902028 h 1406798"/>
                                                                                  <a:gd name="connsiteX160" fmla="*/ 697692 w 1046539"/>
                                                                                  <a:gd name="connsiteY160" fmla="*/ 888814 h 1406798"/>
                                                                                  <a:gd name="connsiteX161" fmla="*/ 721477 w 1046539"/>
                                                                                  <a:gd name="connsiteY161" fmla="*/ 894100 h 1406798"/>
                                                                                  <a:gd name="connsiteX162" fmla="*/ 737334 w 1046539"/>
                                                                                  <a:gd name="connsiteY162" fmla="*/ 886171 h 1406798"/>
                                                                                  <a:gd name="connsiteX163" fmla="*/ 747905 w 1046539"/>
                                                                                  <a:gd name="connsiteY163" fmla="*/ 872957 h 1406798"/>
                                                                                  <a:gd name="connsiteX164" fmla="*/ 787547 w 1046539"/>
                                                                                  <a:gd name="connsiteY164" fmla="*/ 867672 h 1406798"/>
                                                                                  <a:gd name="connsiteX165" fmla="*/ 808689 w 1046539"/>
                                                                                  <a:gd name="connsiteY165" fmla="*/ 862386 h 1406798"/>
                                                                                  <a:gd name="connsiteX166" fmla="*/ 824545 w 1046539"/>
                                                                                  <a:gd name="connsiteY166" fmla="*/ 857101 h 1406798"/>
                                                                                  <a:gd name="connsiteX167" fmla="*/ 835117 w 1046539"/>
                                                                                  <a:gd name="connsiteY167" fmla="*/ 849172 h 1406798"/>
                                                                                  <a:gd name="connsiteX168" fmla="*/ 850973 w 1046539"/>
                                                                                  <a:gd name="connsiteY168" fmla="*/ 843887 h 1406798"/>
                                                                                  <a:gd name="connsiteX169" fmla="*/ 866830 w 1046539"/>
                                                                                  <a:gd name="connsiteY169" fmla="*/ 830673 h 1406798"/>
                                                                                  <a:gd name="connsiteX170" fmla="*/ 874758 w 1046539"/>
                                                                                  <a:gd name="connsiteY170" fmla="*/ 828030 h 1406798"/>
                                                                                  <a:gd name="connsiteX171" fmla="*/ 890615 w 1046539"/>
                                                                                  <a:gd name="connsiteY171" fmla="*/ 820102 h 1406798"/>
                                                                                  <a:gd name="connsiteX172" fmla="*/ 906471 w 1046539"/>
                                                                                  <a:gd name="connsiteY172" fmla="*/ 809531 h 1406798"/>
                                                                                  <a:gd name="connsiteX173" fmla="*/ 917043 w 1046539"/>
                                                                                  <a:gd name="connsiteY173" fmla="*/ 806888 h 1406798"/>
                                                                                  <a:gd name="connsiteX174" fmla="*/ 948756 w 1046539"/>
                                                                                  <a:gd name="connsiteY174" fmla="*/ 801603 h 1406798"/>
                                                                                  <a:gd name="connsiteX175" fmla="*/ 956684 w 1046539"/>
                                                                                  <a:gd name="connsiteY175" fmla="*/ 798960 h 1406798"/>
                                                                                  <a:gd name="connsiteX176" fmla="*/ 959327 w 1046539"/>
                                                                                  <a:gd name="connsiteY176" fmla="*/ 791031 h 1406798"/>
                                                                                  <a:gd name="connsiteX177" fmla="*/ 975184 w 1046539"/>
                                                                                  <a:gd name="connsiteY177" fmla="*/ 791031 h 1406798"/>
                                                                                  <a:gd name="connsiteX178" fmla="*/ 980469 w 1046539"/>
                                                                                  <a:gd name="connsiteY178" fmla="*/ 798960 h 1406798"/>
                                                                                  <a:gd name="connsiteX179" fmla="*/ 988397 w 1046539"/>
                                                                                  <a:gd name="connsiteY179" fmla="*/ 801603 h 1406798"/>
                                                                                  <a:gd name="connsiteX180" fmla="*/ 991040 w 1046539"/>
                                                                                  <a:gd name="connsiteY180" fmla="*/ 809531 h 1406798"/>
                                                                                  <a:gd name="connsiteX181" fmla="*/ 1004254 w 1046539"/>
                                                                                  <a:gd name="connsiteY181" fmla="*/ 820102 h 1406798"/>
                                                                                  <a:gd name="connsiteX182" fmla="*/ 1030682 w 1046539"/>
                                                                                  <a:gd name="connsiteY182" fmla="*/ 809531 h 1406798"/>
                                                                                  <a:gd name="connsiteX183" fmla="*/ 1033325 w 1046539"/>
                                                                                  <a:gd name="connsiteY183" fmla="*/ 801603 h 1406798"/>
                                                                                  <a:gd name="connsiteX184" fmla="*/ 1038610 w 1046539"/>
                                                                                  <a:gd name="connsiteY184" fmla="*/ 764604 h 1406798"/>
                                                                                  <a:gd name="connsiteX185" fmla="*/ 1041253 w 1046539"/>
                                                                                  <a:gd name="connsiteY185" fmla="*/ 756675 h 1406798"/>
                                                                                  <a:gd name="connsiteX186" fmla="*/ 1046539 w 1046539"/>
                                                                                  <a:gd name="connsiteY186" fmla="*/ 748747 h 1406798"/>
                                                                                  <a:gd name="connsiteX187" fmla="*/ 1043896 w 1046539"/>
                                                                                  <a:gd name="connsiteY187" fmla="*/ 717034 h 1406798"/>
                                                                                  <a:gd name="connsiteX188" fmla="*/ 1035967 w 1046539"/>
                                                                                  <a:gd name="connsiteY188" fmla="*/ 695892 h 1406798"/>
                                                                                  <a:gd name="connsiteX189" fmla="*/ 1028039 w 1046539"/>
                                                                                  <a:gd name="connsiteY189" fmla="*/ 690606 h 1406798"/>
                                                                                  <a:gd name="connsiteX190" fmla="*/ 1025396 w 1046539"/>
                                                                                  <a:gd name="connsiteY190" fmla="*/ 682678 h 1406798"/>
                                                                                  <a:gd name="connsiteX191" fmla="*/ 1014825 w 1046539"/>
                                                                                  <a:gd name="connsiteY191" fmla="*/ 666821 h 1406798"/>
                                                                                  <a:gd name="connsiteX192" fmla="*/ 1017468 w 1046539"/>
                                                                                  <a:gd name="connsiteY192" fmla="*/ 613966 h 1406798"/>
                                                                                  <a:gd name="connsiteX193" fmla="*/ 1022754 w 1046539"/>
                                                                                  <a:gd name="connsiteY193" fmla="*/ 606037 h 1406798"/>
                                                                                  <a:gd name="connsiteX194" fmla="*/ 1028039 w 1046539"/>
                                                                                  <a:gd name="connsiteY194" fmla="*/ 590181 h 1406798"/>
                                                                                  <a:gd name="connsiteX195" fmla="*/ 1030682 w 1046539"/>
                                                                                  <a:gd name="connsiteY195" fmla="*/ 582252 h 1406798"/>
                                                                                  <a:gd name="connsiteX196" fmla="*/ 1028039 w 1046539"/>
                                                                                  <a:gd name="connsiteY196" fmla="*/ 571681 h 1406798"/>
                                                                                  <a:gd name="connsiteX197" fmla="*/ 1022754 w 1046539"/>
                                                                                  <a:gd name="connsiteY197" fmla="*/ 555825 h 1406798"/>
                                                                                  <a:gd name="connsiteX198" fmla="*/ 1014825 w 1046539"/>
                                                                                  <a:gd name="connsiteY198" fmla="*/ 532040 h 1406798"/>
                                                                                  <a:gd name="connsiteX199" fmla="*/ 1012182 w 1046539"/>
                                                                                  <a:gd name="connsiteY199" fmla="*/ 497683 h 1406798"/>
                                                                                  <a:gd name="connsiteX200" fmla="*/ 1017468 w 1046539"/>
                                                                                  <a:gd name="connsiteY200" fmla="*/ 489755 h 1406798"/>
                                                                                  <a:gd name="connsiteX201" fmla="*/ 998969 w 1046539"/>
                                                                                  <a:gd name="connsiteY201" fmla="*/ 471256 h 1406798"/>
                                                                                  <a:gd name="connsiteX202" fmla="*/ 983112 w 1046539"/>
                                                                                  <a:gd name="connsiteY202" fmla="*/ 460685 h 1406798"/>
                                                                                  <a:gd name="connsiteX203" fmla="*/ 969898 w 1046539"/>
                                                                                  <a:gd name="connsiteY203" fmla="*/ 436900 h 1406798"/>
                                                                                  <a:gd name="connsiteX204" fmla="*/ 977826 w 1046539"/>
                                                                                  <a:gd name="connsiteY204" fmla="*/ 402544 h 1406798"/>
                                                                                  <a:gd name="connsiteX205" fmla="*/ 980469 w 1046539"/>
                                                                                  <a:gd name="connsiteY205" fmla="*/ 394615 h 1406798"/>
                                                                                  <a:gd name="connsiteX206" fmla="*/ 988397 w 1046539"/>
                                                                                  <a:gd name="connsiteY206" fmla="*/ 389330 h 1406798"/>
                                                                                  <a:gd name="connsiteX207" fmla="*/ 996326 w 1046539"/>
                                                                                  <a:gd name="connsiteY207" fmla="*/ 373473 h 1406798"/>
                                                                                  <a:gd name="connsiteX208" fmla="*/ 1001611 w 1046539"/>
                                                                                  <a:gd name="connsiteY208" fmla="*/ 365545 h 1406798"/>
                                                                                  <a:gd name="connsiteX209" fmla="*/ 1006897 w 1046539"/>
                                                                                  <a:gd name="connsiteY209" fmla="*/ 349688 h 1406798"/>
                                                                                  <a:gd name="connsiteX210" fmla="*/ 1004254 w 1046539"/>
                                                                                  <a:gd name="connsiteY210" fmla="*/ 333831 h 1406798"/>
                                                                                  <a:gd name="connsiteX211" fmla="*/ 1001611 w 1046539"/>
                                                                                  <a:gd name="connsiteY211" fmla="*/ 325903 h 1406798"/>
                                                                                  <a:gd name="connsiteX212" fmla="*/ 998969 w 1046539"/>
                                                                                  <a:gd name="connsiteY212" fmla="*/ 307404 h 1406798"/>
                                                                                  <a:gd name="connsiteX213" fmla="*/ 1001611 w 1046539"/>
                                                                                  <a:gd name="connsiteY213" fmla="*/ 280976 h 1406798"/>
                                                                                  <a:gd name="connsiteX214" fmla="*/ 993683 w 1046539"/>
                                                                                  <a:gd name="connsiteY214" fmla="*/ 278333 h 1406798"/>
                                                                                  <a:gd name="connsiteX215" fmla="*/ 956684 w 1046539"/>
                                                                                  <a:gd name="connsiteY215" fmla="*/ 275690 h 1406798"/>
                                                                                  <a:gd name="connsiteX216" fmla="*/ 948756 w 1046539"/>
                                                                                  <a:gd name="connsiteY216" fmla="*/ 238692 h 1406798"/>
                                                                                  <a:gd name="connsiteX217" fmla="*/ 940828 w 1046539"/>
                                                                                  <a:gd name="connsiteY217" fmla="*/ 222835 h 1406798"/>
                                                                                  <a:gd name="connsiteX218" fmla="*/ 938185 w 1046539"/>
                                                                                  <a:gd name="connsiteY218" fmla="*/ 214907 h 1406798"/>
                                                                                  <a:gd name="connsiteX219" fmla="*/ 930256 w 1046539"/>
                                                                                  <a:gd name="connsiteY219" fmla="*/ 209621 h 1406798"/>
                                                                                  <a:gd name="connsiteX220" fmla="*/ 919685 w 1046539"/>
                                                                                  <a:gd name="connsiteY220" fmla="*/ 212264 h 1406798"/>
                                                                                  <a:gd name="connsiteX221" fmla="*/ 906471 w 1046539"/>
                                                                                  <a:gd name="connsiteY221" fmla="*/ 209621 h 1406798"/>
                                                                                  <a:gd name="connsiteX222" fmla="*/ 890615 w 1046539"/>
                                                                                  <a:gd name="connsiteY222" fmla="*/ 196407 h 1406798"/>
                                                                                  <a:gd name="connsiteX223" fmla="*/ 880044 w 1046539"/>
                                                                                  <a:gd name="connsiteY223" fmla="*/ 180551 h 1406798"/>
                                                                                  <a:gd name="connsiteX224" fmla="*/ 872115 w 1046539"/>
                                                                                  <a:gd name="connsiteY224" fmla="*/ 175265 h 1406798"/>
                                                                                  <a:gd name="connsiteX225" fmla="*/ 848330 w 1046539"/>
                                                                                  <a:gd name="connsiteY225" fmla="*/ 177908 h 1406798"/>
                                                                                  <a:gd name="connsiteX226" fmla="*/ 819260 w 1046539"/>
                                                                                  <a:gd name="connsiteY226" fmla="*/ 180551 h 1406798"/>
                                                                                  <a:gd name="connsiteX227" fmla="*/ 803403 w 1046539"/>
                                                                                  <a:gd name="connsiteY227" fmla="*/ 185836 h 1406798"/>
                                                                                  <a:gd name="connsiteX228" fmla="*/ 798118 w 1046539"/>
                                                                                  <a:gd name="connsiteY228" fmla="*/ 177908 h 1406798"/>
                                                                                  <a:gd name="connsiteX229" fmla="*/ 798118 w 1046539"/>
                                                                                  <a:gd name="connsiteY229" fmla="*/ 159408 h 1406798"/>
                                                                                  <a:gd name="connsiteX230" fmla="*/ 806046 w 1046539"/>
                                                                                  <a:gd name="connsiteY230" fmla="*/ 156766 h 1406798"/>
                                                                                  <a:gd name="connsiteX231" fmla="*/ 832474 w 1046539"/>
                                                                                  <a:gd name="connsiteY231" fmla="*/ 143552 h 1406798"/>
                                                                                  <a:gd name="connsiteX232" fmla="*/ 824545 w 1046539"/>
                                                                                  <a:gd name="connsiteY232" fmla="*/ 140909 h 1406798"/>
                                                                                  <a:gd name="connsiteX233" fmla="*/ 792832 w 1046539"/>
                                                                                  <a:gd name="connsiteY233" fmla="*/ 151480 h 1406798"/>
                                                                                  <a:gd name="connsiteX234" fmla="*/ 790189 w 1046539"/>
                                                                                  <a:gd name="connsiteY234" fmla="*/ 159408 h 1406798"/>
                                                                                  <a:gd name="connsiteX235" fmla="*/ 779618 w 1046539"/>
                                                                                  <a:gd name="connsiteY235" fmla="*/ 175265 h 1406798"/>
                                                                                  <a:gd name="connsiteX236" fmla="*/ 782261 w 1046539"/>
                                                                                  <a:gd name="connsiteY236" fmla="*/ 183193 h 1406798"/>
                                                                                  <a:gd name="connsiteX237" fmla="*/ 774333 w 1046539"/>
                                                                                  <a:gd name="connsiteY237" fmla="*/ 188479 h 1406798"/>
                                                                                  <a:gd name="connsiteX238" fmla="*/ 729406 w 1046539"/>
                                                                                  <a:gd name="connsiteY238" fmla="*/ 191122 h 1406798"/>
                                                                                  <a:gd name="connsiteX239" fmla="*/ 713549 w 1046539"/>
                                                                                  <a:gd name="connsiteY239" fmla="*/ 201693 h 1406798"/>
                                                                                  <a:gd name="connsiteX240" fmla="*/ 702978 w 1046539"/>
                                                                                  <a:gd name="connsiteY240" fmla="*/ 217549 h 1406798"/>
                                                                                  <a:gd name="connsiteX241" fmla="*/ 684478 w 1046539"/>
                                                                                  <a:gd name="connsiteY241" fmla="*/ 214907 h 1406798"/>
                                                                                  <a:gd name="connsiteX242" fmla="*/ 676550 w 1046539"/>
                                                                                  <a:gd name="connsiteY242" fmla="*/ 209621 h 1406798"/>
                                                                                  <a:gd name="connsiteX243" fmla="*/ 668622 w 1046539"/>
                                                                                  <a:gd name="connsiteY243" fmla="*/ 206978 h 1406798"/>
                                                                                  <a:gd name="connsiteX244" fmla="*/ 639551 w 1046539"/>
                                                                                  <a:gd name="connsiteY244" fmla="*/ 209621 h 1406798"/>
                                                                                  <a:gd name="connsiteX245" fmla="*/ 634266 w 1046539"/>
                                                                                  <a:gd name="connsiteY245" fmla="*/ 225478 h 1406798"/>
                                                                                  <a:gd name="connsiteX246" fmla="*/ 626337 w 1046539"/>
                                                                                  <a:gd name="connsiteY246" fmla="*/ 209621 h 1406798"/>
                                                                                  <a:gd name="connsiteX247" fmla="*/ 631623 w 1046539"/>
                                                                                  <a:gd name="connsiteY247" fmla="*/ 201693 h 1406798"/>
                                                                                  <a:gd name="connsiteX248" fmla="*/ 647480 w 1046539"/>
                                                                                  <a:gd name="connsiteY248" fmla="*/ 196407 h 1406798"/>
                                                                                  <a:gd name="connsiteX249" fmla="*/ 663336 w 1046539"/>
                                                                                  <a:gd name="connsiteY249" fmla="*/ 180551 h 1406798"/>
                                                                                  <a:gd name="connsiteX250" fmla="*/ 671265 w 1046539"/>
                                                                                  <a:gd name="connsiteY250" fmla="*/ 164694 h 1406798"/>
                                                                                  <a:gd name="connsiteX251" fmla="*/ 671265 w 1046539"/>
                                                                                  <a:gd name="connsiteY251" fmla="*/ 140909 h 1406798"/>
                                                                                  <a:gd name="connsiteX252" fmla="*/ 660693 w 1046539"/>
                                                                                  <a:gd name="connsiteY252" fmla="*/ 138266 h 1406798"/>
                                                                                  <a:gd name="connsiteX253" fmla="*/ 631623 w 1046539"/>
                                                                                  <a:gd name="connsiteY253" fmla="*/ 140909 h 1406798"/>
                                                                                  <a:gd name="connsiteX254" fmla="*/ 623695 w 1046539"/>
                                                                                  <a:gd name="connsiteY254" fmla="*/ 143552 h 1406798"/>
                                                                                  <a:gd name="connsiteX255" fmla="*/ 594624 w 1046539"/>
                                                                                  <a:gd name="connsiteY255" fmla="*/ 140909 h 1406798"/>
                                                                                  <a:gd name="connsiteX256" fmla="*/ 589339 w 1046539"/>
                                                                                  <a:gd name="connsiteY256" fmla="*/ 132981 h 1406798"/>
                                                                                  <a:gd name="connsiteX257" fmla="*/ 581410 w 1046539"/>
                                                                                  <a:gd name="connsiteY257" fmla="*/ 130338 h 1406798"/>
                                                                                  <a:gd name="connsiteX258" fmla="*/ 573482 w 1046539"/>
                                                                                  <a:gd name="connsiteY258" fmla="*/ 125052 h 1406798"/>
                                                                                  <a:gd name="connsiteX259" fmla="*/ 570839 w 1046539"/>
                                                                                  <a:gd name="connsiteY259" fmla="*/ 117124 h 1406798"/>
                                                                                  <a:gd name="connsiteX260" fmla="*/ 552340 w 1046539"/>
                                                                                  <a:gd name="connsiteY260" fmla="*/ 111838 h 1406798"/>
                                                                                  <a:gd name="connsiteX261" fmla="*/ 552340 w 1046539"/>
                                                                                  <a:gd name="connsiteY261" fmla="*/ 90696 h 1406798"/>
                                                                                  <a:gd name="connsiteX262" fmla="*/ 557625 w 1046539"/>
                                                                                  <a:gd name="connsiteY262" fmla="*/ 82768 h 1406798"/>
                                                                                  <a:gd name="connsiteX263" fmla="*/ 565554 w 1046539"/>
                                                                                  <a:gd name="connsiteY263" fmla="*/ 66911 h 1406798"/>
                                                                                  <a:gd name="connsiteX264" fmla="*/ 562911 w 1046539"/>
                                                                                  <a:gd name="connsiteY264" fmla="*/ 53697 h 1406798"/>
                                                                                  <a:gd name="connsiteX265" fmla="*/ 547054 w 1046539"/>
                                                                                  <a:gd name="connsiteY265" fmla="*/ 43126 h 1406798"/>
                                                                                  <a:gd name="connsiteX266" fmla="*/ 531197 w 1046539"/>
                                                                                  <a:gd name="connsiteY266" fmla="*/ 48412 h 1406798"/>
                                                                                  <a:gd name="connsiteX267" fmla="*/ 523269 w 1046539"/>
                                                                                  <a:gd name="connsiteY267" fmla="*/ 51055 h 1406798"/>
                                                                                  <a:gd name="connsiteX268" fmla="*/ 491556 w 1046539"/>
                                                                                  <a:gd name="connsiteY268" fmla="*/ 43126 h 1406798"/>
                                                                                  <a:gd name="connsiteX269" fmla="*/ 483628 w 1046539"/>
                                                                                  <a:gd name="connsiteY269" fmla="*/ 37841 h 1406798"/>
                                                                                  <a:gd name="connsiteX270" fmla="*/ 451914 w 1046539"/>
                                                                                  <a:gd name="connsiteY270" fmla="*/ 29912 h 1406798"/>
                                                                                  <a:gd name="connsiteX271" fmla="*/ 436058 w 1046539"/>
                                                                                  <a:gd name="connsiteY271" fmla="*/ 21984 h 1406798"/>
                                                                                  <a:gd name="connsiteX272" fmla="*/ 420201 w 1046539"/>
                                                                                  <a:gd name="connsiteY272" fmla="*/ 14056 h 1406798"/>
                                                                                  <a:gd name="connsiteX273" fmla="*/ 401702 w 1046539"/>
                                                                                  <a:gd name="connsiteY273" fmla="*/ 11413 h 1406798"/>
                                                                                  <a:gd name="connsiteX274" fmla="*/ 399059 w 1046539"/>
                                                                                  <a:gd name="connsiteY274" fmla="*/ 3485 h 1406798"/>
                                                                                  <a:gd name="connsiteX275" fmla="*/ 391130 w 1046539"/>
                                                                                  <a:gd name="connsiteY275" fmla="*/ 842 h 1406798"/>
                                                                                  <a:gd name="connsiteX276" fmla="*/ 393773 w 1046539"/>
                                                                                  <a:gd name="connsiteY276" fmla="*/ 11413 h 1406798"/>
                                                                                  <a:gd name="connsiteX277" fmla="*/ 409630 w 1046539"/>
                                                                                  <a:gd name="connsiteY277" fmla="*/ 19341 h 1406798"/>
                                                                                  <a:gd name="connsiteX278" fmla="*/ 414915 w 1046539"/>
                                                                                  <a:gd name="connsiteY278" fmla="*/ 27270 h 1406798"/>
                                                                                  <a:gd name="connsiteX279" fmla="*/ 417558 w 1046539"/>
                                                                                  <a:gd name="connsiteY279" fmla="*/ 35198 h 1406798"/>
                                                                                  <a:gd name="connsiteX280" fmla="*/ 428129 w 1046539"/>
                                                                                  <a:gd name="connsiteY280" fmla="*/ 51055 h 1406798"/>
                                                                                  <a:gd name="connsiteX281" fmla="*/ 433415 w 1046539"/>
                                                                                  <a:gd name="connsiteY281" fmla="*/ 58983 h 1406798"/>
                                                                                  <a:gd name="connsiteX282" fmla="*/ 438700 w 1046539"/>
                                                                                  <a:gd name="connsiteY282" fmla="*/ 66911 h 1406798"/>
                                                                                  <a:gd name="connsiteX283" fmla="*/ 446629 w 1046539"/>
                                                                                  <a:gd name="connsiteY283" fmla="*/ 72197 h 1406798"/>
                                                                                  <a:gd name="connsiteX284" fmla="*/ 449271 w 1046539"/>
                                                                                  <a:gd name="connsiteY284" fmla="*/ 80125 h 1406798"/>
                                                                                  <a:gd name="connsiteX285" fmla="*/ 438700 w 1046539"/>
                                                                                  <a:gd name="connsiteY285" fmla="*/ 93339 h 1406798"/>
                                                                                  <a:gd name="connsiteX286" fmla="*/ 422844 w 1046539"/>
                                                                                  <a:gd name="connsiteY286" fmla="*/ 98625 h 1406798"/>
                                                                                  <a:gd name="connsiteX287" fmla="*/ 420201 w 1046539"/>
                                                                                  <a:gd name="connsiteY287" fmla="*/ 106553 h 1406798"/>
                                                                                  <a:gd name="connsiteX288" fmla="*/ 433415 w 1046539"/>
                                                                                  <a:gd name="connsiteY288" fmla="*/ 119767 h 1406798"/>
                                                                                  <a:gd name="connsiteX289" fmla="*/ 436058 w 1046539"/>
                                                                                  <a:gd name="connsiteY289" fmla="*/ 146194 h 1406798"/>
                                                                                  <a:gd name="connsiteX290" fmla="*/ 443986 w 1046539"/>
                                                                                  <a:gd name="connsiteY290" fmla="*/ 151480 h 1406798"/>
                                                                                  <a:gd name="connsiteX291" fmla="*/ 449271 w 1046539"/>
                                                                                  <a:gd name="connsiteY291" fmla="*/ 159408 h 1406798"/>
                                                                                  <a:gd name="connsiteX292" fmla="*/ 441343 w 1046539"/>
                                                                                  <a:gd name="connsiteY292" fmla="*/ 164694 h 1406798"/>
                                                                                  <a:gd name="connsiteX293" fmla="*/ 433415 w 1046539"/>
                                                                                  <a:gd name="connsiteY293" fmla="*/ 167337 h 1406798"/>
                                                                                  <a:gd name="connsiteX294" fmla="*/ 428129 w 1046539"/>
                                                                                  <a:gd name="connsiteY294" fmla="*/ 175265 h 1406798"/>
                                                                                  <a:gd name="connsiteX295" fmla="*/ 430772 w 1046539"/>
                                                                                  <a:gd name="connsiteY295" fmla="*/ 196407 h 1406798"/>
                                                                                  <a:gd name="connsiteX296" fmla="*/ 446629 w 1046539"/>
                                                                                  <a:gd name="connsiteY296" fmla="*/ 201693 h 1406798"/>
                                                                                  <a:gd name="connsiteX297" fmla="*/ 462485 w 1046539"/>
                                                                                  <a:gd name="connsiteY297" fmla="*/ 214907 h 1406798"/>
                                                                                  <a:gd name="connsiteX298" fmla="*/ 470414 w 1046539"/>
                                                                                  <a:gd name="connsiteY298" fmla="*/ 220192 h 1406798"/>
                                                                                  <a:gd name="connsiteX299" fmla="*/ 483628 w 1046539"/>
                                                                                  <a:gd name="connsiteY299" fmla="*/ 233406 h 1406798"/>
                                                                                  <a:gd name="connsiteX300" fmla="*/ 488913 w 1046539"/>
                                                                                  <a:gd name="connsiteY300" fmla="*/ 241334 h 1406798"/>
                                                                                  <a:gd name="connsiteX301" fmla="*/ 504770 w 1046539"/>
                                                                                  <a:gd name="connsiteY301" fmla="*/ 251905 h 1406798"/>
                                                                                  <a:gd name="connsiteX302" fmla="*/ 510055 w 1046539"/>
                                                                                  <a:gd name="connsiteY302" fmla="*/ 259834 h 1406798"/>
                                                                                  <a:gd name="connsiteX303" fmla="*/ 517984 w 1046539"/>
                                                                                  <a:gd name="connsiteY303" fmla="*/ 267762 h 1406798"/>
                                                                                  <a:gd name="connsiteX304" fmla="*/ 520626 w 1046539"/>
                                                                                  <a:gd name="connsiteY304" fmla="*/ 278333 h 1406798"/>
                                                                                  <a:gd name="connsiteX305" fmla="*/ 496841 w 1046539"/>
                                                                                  <a:gd name="connsiteY305" fmla="*/ 283619 h 1406798"/>
                                                                                  <a:gd name="connsiteX306" fmla="*/ 491556 w 1046539"/>
                                                                                  <a:gd name="connsiteY306" fmla="*/ 275690 h 1406798"/>
                                                                                  <a:gd name="connsiteX307" fmla="*/ 467771 w 1046539"/>
                                                                                  <a:gd name="connsiteY307" fmla="*/ 262477 h 1406798"/>
                                                                                  <a:gd name="connsiteX308" fmla="*/ 457200 w 1046539"/>
                                                                                  <a:gd name="connsiteY308" fmla="*/ 249263 h 1406798"/>
                                                                                  <a:gd name="connsiteX309" fmla="*/ 443986 w 1046539"/>
                                                                                  <a:gd name="connsiteY309" fmla="*/ 238692 h 1406798"/>
                                                                                  <a:gd name="connsiteX310" fmla="*/ 428129 w 1046539"/>
                                                                                  <a:gd name="connsiteY310" fmla="*/ 228120 h 1406798"/>
                                                                                  <a:gd name="connsiteX311" fmla="*/ 422844 w 1046539"/>
                                                                                  <a:gd name="connsiteY311" fmla="*/ 220192 h 1406798"/>
                                                                                  <a:gd name="connsiteX312" fmla="*/ 401702 w 1046539"/>
                                                                                  <a:gd name="connsiteY312" fmla="*/ 214907 h 1406798"/>
                                                                                  <a:gd name="connsiteX313" fmla="*/ 393773 w 1046539"/>
                                                                                  <a:gd name="connsiteY313" fmla="*/ 209621 h 1406798"/>
                                                                                  <a:gd name="connsiteX314" fmla="*/ 380559 w 1046539"/>
                                                                                  <a:gd name="connsiteY314" fmla="*/ 220192 h 1406798"/>
                                                                                  <a:gd name="connsiteX315" fmla="*/ 380559 w 1046539"/>
                                                                                  <a:gd name="connsiteY315" fmla="*/ 270405 h 1406798"/>
                                                                                  <a:gd name="connsiteX316" fmla="*/ 372631 w 1046539"/>
                                                                                  <a:gd name="connsiteY316" fmla="*/ 273048 h 1406798"/>
                                                                                  <a:gd name="connsiteX317" fmla="*/ 362060 w 1046539"/>
                                                                                  <a:gd name="connsiteY317" fmla="*/ 249263 h 1406798"/>
                                                                                  <a:gd name="connsiteX318" fmla="*/ 354132 w 1046539"/>
                                                                                  <a:gd name="connsiteY318" fmla="*/ 246620 h 1406798"/>
                                                                                  <a:gd name="connsiteX319" fmla="*/ 348846 w 1046539"/>
                                                                                  <a:gd name="connsiteY319" fmla="*/ 262477 h 1406798"/>
                                                                                  <a:gd name="connsiteX320" fmla="*/ 346203 w 1046539"/>
                                                                                  <a:gd name="connsiteY320" fmla="*/ 270405 h 1406798"/>
                                                                                  <a:gd name="connsiteX321" fmla="*/ 322418 w 1046539"/>
                                                                                  <a:gd name="connsiteY321" fmla="*/ 251905 h 1406798"/>
                                                                                  <a:gd name="connsiteX322" fmla="*/ 325061 w 1046539"/>
                                                                                  <a:gd name="connsiteY322" fmla="*/ 243977 h 1406798"/>
                                                                                  <a:gd name="connsiteX323" fmla="*/ 322418 w 1046539"/>
                                                                                  <a:gd name="connsiteY323" fmla="*/ 225478 h 1406798"/>
                                                                                  <a:gd name="connsiteX324" fmla="*/ 311847 w 1046539"/>
                                                                                  <a:gd name="connsiteY324" fmla="*/ 220192 h 1406798"/>
                                                                                  <a:gd name="connsiteX325" fmla="*/ 295991 w 1046539"/>
                                                                                  <a:gd name="connsiteY325" fmla="*/ 214907 h 1406798"/>
                                                                                  <a:gd name="connsiteX326" fmla="*/ 280134 w 1046539"/>
                                                                                  <a:gd name="connsiteY326" fmla="*/ 209621 h 1406798"/>
                                                                                  <a:gd name="connsiteX327" fmla="*/ 272206 w 1046539"/>
                                                                                  <a:gd name="connsiteY327" fmla="*/ 206978 h 1406798"/>
                                                                                  <a:gd name="connsiteX328" fmla="*/ 264277 w 1046539"/>
                                                                                  <a:gd name="connsiteY328" fmla="*/ 201693 h 1406798"/>
                                                                                  <a:gd name="connsiteX329" fmla="*/ 248421 w 1046539"/>
                                                                                  <a:gd name="connsiteY329" fmla="*/ 196407 h 1406798"/>
                                                                                  <a:gd name="connsiteX330" fmla="*/ 243135 w 1046539"/>
                                                                                  <a:gd name="connsiteY330" fmla="*/ 217549 h 1406798"/>
                                                                                  <a:gd name="connsiteX331" fmla="*/ 240492 w 1046539"/>
                                                                                  <a:gd name="connsiteY331" fmla="*/ 225478 h 1406798"/>
                                                                                  <a:gd name="connsiteX332" fmla="*/ 224636 w 1046539"/>
                                                                                  <a:gd name="connsiteY332" fmla="*/ 236049 h 1406798"/>
                                                                                  <a:gd name="connsiteX333" fmla="*/ 221993 w 1046539"/>
                                                                                  <a:gd name="connsiteY333" fmla="*/ 243977 h 1406798"/>
                                                                                  <a:gd name="connsiteX334" fmla="*/ 216707 w 1046539"/>
                                                                                  <a:gd name="connsiteY334" fmla="*/ 251905 h 1406798"/>
                                                                                  <a:gd name="connsiteX335" fmla="*/ 200851 w 1046539"/>
                                                                                  <a:gd name="connsiteY335" fmla="*/ 241334 h 140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046539" h="1406798">
                                                                                    <a:moveTo>
                                                                                      <a:pt x="200851" y="241334"/>
                                                                                    </a:moveTo>
                                                                                    <a:lnTo>
                                                                                      <a:pt x="200851" y="241334"/>
                                                                                    </a:lnTo>
                                                                                    <a:cubicBezTo>
                                                                                      <a:pt x="202613" y="250143"/>
                                                                                      <a:pt x="201679" y="259962"/>
                                                                                      <a:pt x="206136" y="267762"/>
                                                                                    </a:cubicBezTo>
                                                                                    <a:cubicBezTo>
                                                                                      <a:pt x="209288" y="273278"/>
                                                                                      <a:pt x="221993" y="278333"/>
                                                                                      <a:pt x="221993" y="278333"/>
                                                                                    </a:cubicBezTo>
                                                                                    <a:lnTo>
                                                                                      <a:pt x="216707" y="294190"/>
                                                                                    </a:lnTo>
                                                                                    <a:cubicBezTo>
                                                                                      <a:pt x="215826" y="296833"/>
                                                                                      <a:pt x="214741" y="299416"/>
                                                                                      <a:pt x="214065" y="302118"/>
                                                                                    </a:cubicBezTo>
                                                                                    <a:cubicBezTo>
                                                                                      <a:pt x="213184" y="305642"/>
                                                                                      <a:pt x="212420" y="309197"/>
                                                                                      <a:pt x="211422" y="312689"/>
                                                                                    </a:cubicBezTo>
                                                                                    <a:cubicBezTo>
                                                                                      <a:pt x="210657" y="315368"/>
                                                                                      <a:pt x="210519" y="318443"/>
                                                                                      <a:pt x="208779" y="320618"/>
                                                                                    </a:cubicBezTo>
                                                                                    <a:cubicBezTo>
                                                                                      <a:pt x="206795" y="323098"/>
                                                                                      <a:pt x="203494" y="324141"/>
                                                                                      <a:pt x="200851" y="325903"/>
                                                                                    </a:cubicBezTo>
                                                                                    <a:cubicBezTo>
                                                                                      <a:pt x="196930" y="331783"/>
                                                                                      <a:pt x="194016" y="334647"/>
                                                                                      <a:pt x="192922" y="341760"/>
                                                                                    </a:cubicBezTo>
                                                                                    <a:cubicBezTo>
                                                                                      <a:pt x="190664" y="356440"/>
                                                                                      <a:pt x="194940" y="366170"/>
                                                                                      <a:pt x="184994" y="376116"/>
                                                                                    </a:cubicBezTo>
                                                                                    <a:cubicBezTo>
                                                                                      <a:pt x="178712" y="382397"/>
                                                                                      <a:pt x="169058" y="384070"/>
                                                                                      <a:pt x="161209" y="386687"/>
                                                                                    </a:cubicBezTo>
                                                                                    <a:lnTo>
                                                                                      <a:pt x="153281" y="389330"/>
                                                                                    </a:lnTo>
                                                                                    <a:cubicBezTo>
                                                                                      <a:pt x="147166" y="398501"/>
                                                                                      <a:pt x="143856" y="399550"/>
                                                                                      <a:pt x="150638" y="413115"/>
                                                                                    </a:cubicBezTo>
                                                                                    <a:cubicBezTo>
                                                                                      <a:pt x="152058" y="415956"/>
                                                                                      <a:pt x="155923" y="416638"/>
                                                                                      <a:pt x="158566" y="418400"/>
                                                                                    </a:cubicBezTo>
                                                                                    <a:cubicBezTo>
                                                                                      <a:pt x="160328" y="421043"/>
                                                                                      <a:pt x="162431" y="423488"/>
                                                                                      <a:pt x="163852" y="426329"/>
                                                                                    </a:cubicBezTo>
                                                                                    <a:cubicBezTo>
                                                                                      <a:pt x="169002" y="436629"/>
                                                                                      <a:pt x="166175" y="442624"/>
                                                                                      <a:pt x="163852" y="455399"/>
                                                                                    </a:cubicBezTo>
                                                                                    <a:cubicBezTo>
                                                                                      <a:pt x="163354" y="458140"/>
                                                                                      <a:pt x="163179" y="461357"/>
                                                                                      <a:pt x="161209" y="463327"/>
                                                                                    </a:cubicBezTo>
                                                                                    <a:cubicBezTo>
                                                                                      <a:pt x="159239" y="465297"/>
                                                                                      <a:pt x="155924" y="465089"/>
                                                                                      <a:pt x="153281" y="465970"/>
                                                                                    </a:cubicBezTo>
                                                                                    <a:cubicBezTo>
                                                                                      <a:pt x="151519" y="468613"/>
                                                                                      <a:pt x="150241" y="471653"/>
                                                                                      <a:pt x="147995" y="473899"/>
                                                                                    </a:cubicBezTo>
                                                                                    <a:cubicBezTo>
                                                                                      <a:pt x="130373" y="491521"/>
                                                                                      <a:pt x="148880" y="465966"/>
                                                                                      <a:pt x="134781" y="487112"/>
                                                                                    </a:cubicBezTo>
                                                                                    <a:cubicBezTo>
                                                                                      <a:pt x="133900" y="489755"/>
                                                                                      <a:pt x="133492" y="492606"/>
                                                                                      <a:pt x="132139" y="495041"/>
                                                                                    </a:cubicBezTo>
                                                                                    <a:cubicBezTo>
                                                                                      <a:pt x="129054" y="500594"/>
                                                                                      <a:pt x="121567" y="510897"/>
                                                                                      <a:pt x="121567" y="510897"/>
                                                                                    </a:cubicBezTo>
                                                                                    <a:cubicBezTo>
                                                                                      <a:pt x="91489" y="508391"/>
                                                                                      <a:pt x="79528" y="505851"/>
                                                                                      <a:pt x="47570" y="510897"/>
                                                                                    </a:cubicBezTo>
                                                                                    <a:cubicBezTo>
                                                                                      <a:pt x="44432" y="511392"/>
                                                                                      <a:pt x="42284" y="514421"/>
                                                                                      <a:pt x="39641" y="516183"/>
                                                                                    </a:cubicBezTo>
                                                                                    <a:cubicBezTo>
                                                                                      <a:pt x="43201" y="537542"/>
                                                                                      <a:pt x="40588" y="526949"/>
                                                                                      <a:pt x="47570" y="547896"/>
                                                                                    </a:cubicBezTo>
                                                                                    <a:lnTo>
                                                                                      <a:pt x="50212" y="555825"/>
                                                                                    </a:lnTo>
                                                                                    <a:cubicBezTo>
                                                                                      <a:pt x="49331" y="565515"/>
                                                                                      <a:pt x="50315" y="575560"/>
                                                                                      <a:pt x="47570" y="584895"/>
                                                                                    </a:cubicBezTo>
                                                                                    <a:cubicBezTo>
                                                                                      <a:pt x="43810" y="597681"/>
                                                                                      <a:pt x="37999" y="600086"/>
                                                                                      <a:pt x="29070" y="606037"/>
                                                                                    </a:cubicBezTo>
                                                                                    <a:cubicBezTo>
                                                                                      <a:pt x="29951" y="613084"/>
                                                                                      <a:pt x="30225" y="620234"/>
                                                                                      <a:pt x="31713" y="627179"/>
                                                                                    </a:cubicBezTo>
                                                                                    <a:cubicBezTo>
                                                                                      <a:pt x="32881" y="632627"/>
                                                                                      <a:pt x="36999" y="643036"/>
                                                                                      <a:pt x="36999" y="643036"/>
                                                                                    </a:cubicBezTo>
                                                                                    <a:cubicBezTo>
                                                                                      <a:pt x="36976" y="643128"/>
                                                                                      <a:pt x="32977" y="660272"/>
                                                                                      <a:pt x="31713" y="661536"/>
                                                                                    </a:cubicBezTo>
                                                                                    <a:cubicBezTo>
                                                                                      <a:pt x="29743" y="663506"/>
                                                                                      <a:pt x="26428" y="663297"/>
                                                                                      <a:pt x="23785" y="664178"/>
                                                                                    </a:cubicBezTo>
                                                                                    <a:cubicBezTo>
                                                                                      <a:pt x="15409" y="676743"/>
                                                                                      <a:pt x="19504" y="669093"/>
                                                                                      <a:pt x="13214" y="687963"/>
                                                                                    </a:cubicBezTo>
                                                                                    <a:lnTo>
                                                                                      <a:pt x="10571" y="695892"/>
                                                                                    </a:lnTo>
                                                                                    <a:cubicBezTo>
                                                                                      <a:pt x="11452" y="702058"/>
                                                                                      <a:pt x="11992" y="708283"/>
                                                                                      <a:pt x="13214" y="714391"/>
                                                                                    </a:cubicBezTo>
                                                                                    <a:cubicBezTo>
                                                                                      <a:pt x="16135" y="728995"/>
                                                                                      <a:pt x="15856" y="717686"/>
                                                                                      <a:pt x="15856" y="724962"/>
                                                                                    </a:cubicBezTo>
                                                                                    <a:lnTo>
                                                                                      <a:pt x="18499" y="743462"/>
                                                                                    </a:lnTo>
                                                                                    <a:cubicBezTo>
                                                                                      <a:pt x="21142" y="750509"/>
                                                                                      <a:pt x="23896" y="757516"/>
                                                                                      <a:pt x="26428" y="764604"/>
                                                                                    </a:cubicBezTo>
                                                                                    <a:cubicBezTo>
                                                                                      <a:pt x="28302" y="769851"/>
                                                                                      <a:pt x="31713" y="780460"/>
                                                                                      <a:pt x="31713" y="780460"/>
                                                                                    </a:cubicBezTo>
                                                                                    <a:cubicBezTo>
                                                                                      <a:pt x="30832" y="784865"/>
                                                                                      <a:pt x="30159" y="789316"/>
                                                                                      <a:pt x="29070" y="793674"/>
                                                                                    </a:cubicBezTo>
                                                                                    <a:cubicBezTo>
                                                                                      <a:pt x="28394" y="796377"/>
                                                                                      <a:pt x="28398" y="799633"/>
                                                                                      <a:pt x="26428" y="801603"/>
                                                                                    </a:cubicBezTo>
                                                                                    <a:cubicBezTo>
                                                                                      <a:pt x="24458" y="803573"/>
                                                                                      <a:pt x="21142" y="803364"/>
                                                                                      <a:pt x="18499" y="804245"/>
                                                                                    </a:cubicBezTo>
                                                                                    <a:lnTo>
                                                                                      <a:pt x="7928" y="820102"/>
                                                                                    </a:lnTo>
                                                                                    <a:cubicBezTo>
                                                                                      <a:pt x="6166" y="822745"/>
                                                                                      <a:pt x="3647" y="825017"/>
                                                                                      <a:pt x="2643" y="828030"/>
                                                                                    </a:cubicBezTo>
                                                                                    <a:lnTo>
                                                                                      <a:pt x="0" y="835959"/>
                                                                                    </a:lnTo>
                                                                                    <a:cubicBezTo>
                                                                                      <a:pt x="3431" y="859970"/>
                                                                                      <a:pt x="674" y="848552"/>
                                                                                      <a:pt x="7928" y="870315"/>
                                                                                    </a:cubicBezTo>
                                                                                    <a:cubicBezTo>
                                                                                      <a:pt x="8809" y="872958"/>
                                                                                      <a:pt x="9026" y="875925"/>
                                                                                      <a:pt x="10571" y="878243"/>
                                                                                    </a:cubicBezTo>
                                                                                    <a:cubicBezTo>
                                                                                      <a:pt x="17401" y="888489"/>
                                                                                      <a:pt x="14852" y="883158"/>
                                                                                      <a:pt x="18499" y="894100"/>
                                                                                    </a:cubicBezTo>
                                                                                    <a:cubicBezTo>
                                                                                      <a:pt x="17942" y="897997"/>
                                                                                      <a:pt x="14433" y="923580"/>
                                                                                      <a:pt x="13214" y="928456"/>
                                                                                    </a:cubicBezTo>
                                                                                    <a:cubicBezTo>
                                                                                      <a:pt x="11863" y="933861"/>
                                                                                      <a:pt x="7928" y="944312"/>
                                                                                      <a:pt x="7928" y="944312"/>
                                                                                    </a:cubicBezTo>
                                                                                    <a:cubicBezTo>
                                                                                      <a:pt x="14571" y="964240"/>
                                                                                      <a:pt x="5611" y="939679"/>
                                                                                      <a:pt x="15856" y="960169"/>
                                                                                    </a:cubicBezTo>
                                                                                    <a:cubicBezTo>
                                                                                      <a:pt x="17102" y="962661"/>
                                                                                      <a:pt x="17253" y="965605"/>
                                                                                      <a:pt x="18499" y="968097"/>
                                                                                    </a:cubicBezTo>
                                                                                    <a:cubicBezTo>
                                                                                      <a:pt x="19920" y="970938"/>
                                                                                      <a:pt x="22364" y="973185"/>
                                                                                      <a:pt x="23785" y="976026"/>
                                                                                    </a:cubicBezTo>
                                                                                    <a:cubicBezTo>
                                                                                      <a:pt x="25404" y="979264"/>
                                                                                      <a:pt x="28585" y="991859"/>
                                                                                      <a:pt x="29070" y="994525"/>
                                                                                    </a:cubicBezTo>
                                                                                    <a:cubicBezTo>
                                                                                      <a:pt x="30184" y="1000654"/>
                                                                                      <a:pt x="30491" y="1006917"/>
                                                                                      <a:pt x="31713" y="1013025"/>
                                                                                    </a:cubicBezTo>
                                                                                    <a:cubicBezTo>
                                                                                      <a:pt x="32259" y="1015757"/>
                                                                                      <a:pt x="32386" y="1018983"/>
                                                                                      <a:pt x="34356" y="1020953"/>
                                                                                    </a:cubicBezTo>
                                                                                    <a:cubicBezTo>
                                                                                      <a:pt x="36326" y="1022923"/>
                                                                                      <a:pt x="39523" y="1023228"/>
                                                                                      <a:pt x="42284" y="1023596"/>
                                                                                    </a:cubicBezTo>
                                                                                    <a:cubicBezTo>
                                                                                      <a:pt x="52799" y="1024998"/>
                                                                                      <a:pt x="63426" y="1025357"/>
                                                                                      <a:pt x="73997" y="1026238"/>
                                                                                    </a:cubicBezTo>
                                                                                    <a:cubicBezTo>
                                                                                      <a:pt x="75759" y="1028881"/>
                                                                                      <a:pt x="76803" y="1032183"/>
                                                                                      <a:pt x="79283" y="1034167"/>
                                                                                    </a:cubicBezTo>
                                                                                    <a:cubicBezTo>
                                                                                      <a:pt x="81458" y="1035907"/>
                                                                                      <a:pt x="84720" y="1035563"/>
                                                                                      <a:pt x="87211" y="1036809"/>
                                                                                    </a:cubicBezTo>
                                                                                    <a:cubicBezTo>
                                                                                      <a:pt x="112514" y="1049460"/>
                                                                                      <a:pt x="64388" y="1039898"/>
                                                                                      <a:pt x="132139" y="1044738"/>
                                                                                    </a:cubicBezTo>
                                                                                    <a:cubicBezTo>
                                                                                      <a:pt x="137424" y="1046500"/>
                                                                                      <a:pt x="142590" y="1048672"/>
                                                                                      <a:pt x="147995" y="1050023"/>
                                                                                    </a:cubicBezTo>
                                                                                    <a:cubicBezTo>
                                                                                      <a:pt x="151519" y="1050904"/>
                                                                                      <a:pt x="155087" y="1051622"/>
                                                                                      <a:pt x="158566" y="1052666"/>
                                                                                    </a:cubicBezTo>
                                                                                    <a:cubicBezTo>
                                                                                      <a:pt x="163903" y="1054267"/>
                                                                                      <a:pt x="169137" y="1056190"/>
                                                                                      <a:pt x="174423" y="1057952"/>
                                                                                    </a:cubicBezTo>
                                                                                    <a:lnTo>
                                                                                      <a:pt x="182351" y="1060594"/>
                                                                                    </a:lnTo>
                                                                                    <a:cubicBezTo>
                                                                                      <a:pt x="184994" y="1062356"/>
                                                                                      <a:pt x="187439" y="1064459"/>
                                                                                      <a:pt x="190280" y="1065880"/>
                                                                                    </a:cubicBezTo>
                                                                                    <a:cubicBezTo>
                                                                                      <a:pt x="192772" y="1067126"/>
                                                                                      <a:pt x="196033" y="1066783"/>
                                                                                      <a:pt x="198208" y="1068523"/>
                                                                                    </a:cubicBezTo>
                                                                                    <a:cubicBezTo>
                                                                                      <a:pt x="200688" y="1070507"/>
                                                                                      <a:pt x="201731" y="1073808"/>
                                                                                      <a:pt x="203493" y="1076451"/>
                                                                                    </a:cubicBezTo>
                                                                                    <a:cubicBezTo>
                                                                                      <a:pt x="202612" y="1079975"/>
                                                                                      <a:pt x="202282" y="1083684"/>
                                                                                      <a:pt x="200851" y="1087022"/>
                                                                                    </a:cubicBezTo>
                                                                                    <a:cubicBezTo>
                                                                                      <a:pt x="196714" y="1096675"/>
                                                                                      <a:pt x="195297" y="1094108"/>
                                                                                      <a:pt x="187637" y="1100236"/>
                                                                                    </a:cubicBezTo>
                                                                                    <a:cubicBezTo>
                                                                                      <a:pt x="185691" y="1101793"/>
                                                                                      <a:pt x="184113" y="1103760"/>
                                                                                      <a:pt x="182351" y="1105522"/>
                                                                                    </a:cubicBezTo>
                                                                                    <a:lnTo>
                                                                                      <a:pt x="163852" y="1126664"/>
                                                                                    </a:lnTo>
                                                                                    <a:cubicBezTo>
                                                                                      <a:pt x="161209" y="1133711"/>
                                                                                      <a:pt x="160098" y="1141543"/>
                                                                                      <a:pt x="155923" y="1147806"/>
                                                                                    </a:cubicBezTo>
                                                                                    <a:cubicBezTo>
                                                                                      <a:pt x="154378" y="1150124"/>
                                                                                      <a:pt x="150313" y="1148904"/>
                                                                                      <a:pt x="147995" y="1150449"/>
                                                                                    </a:cubicBezTo>
                                                                                    <a:cubicBezTo>
                                                                                      <a:pt x="144885" y="1152522"/>
                                                                                      <a:pt x="142361" y="1155427"/>
                                                                                      <a:pt x="140067" y="1158377"/>
                                                                                    </a:cubicBezTo>
                                                                                    <a:cubicBezTo>
                                                                                      <a:pt x="136167" y="1163391"/>
                                                                                      <a:pt x="134782" y="1170711"/>
                                                                                      <a:pt x="129496" y="1174234"/>
                                                                                    </a:cubicBezTo>
                                                                                    <a:cubicBezTo>
                                                                                      <a:pt x="106758" y="1189390"/>
                                                                                      <a:pt x="135535" y="1171212"/>
                                                                                      <a:pt x="113639" y="1182162"/>
                                                                                    </a:cubicBezTo>
                                                                                    <a:cubicBezTo>
                                                                                      <a:pt x="110798" y="1183583"/>
                                                                                      <a:pt x="108354" y="1185686"/>
                                                                                      <a:pt x="105711" y="1187448"/>
                                                                                    </a:cubicBezTo>
                                                                                    <a:cubicBezTo>
                                                                                      <a:pt x="103949" y="1192733"/>
                                                                                      <a:pt x="103515" y="1198668"/>
                                                                                      <a:pt x="100425" y="1203304"/>
                                                                                    </a:cubicBezTo>
                                                                                    <a:cubicBezTo>
                                                                                      <a:pt x="93595" y="1213551"/>
                                                                                      <a:pt x="96145" y="1208220"/>
                                                                                      <a:pt x="92497" y="1219161"/>
                                                                                    </a:cubicBezTo>
                                                                                    <a:cubicBezTo>
                                                                                      <a:pt x="96254" y="1234188"/>
                                                                                      <a:pt x="96780" y="1230887"/>
                                                                                      <a:pt x="92497" y="1250874"/>
                                                                                    </a:cubicBezTo>
                                                                                    <a:cubicBezTo>
                                                                                      <a:pt x="91329" y="1256322"/>
                                                                                      <a:pt x="87211" y="1266731"/>
                                                                                      <a:pt x="87211" y="1266731"/>
                                                                                    </a:cubicBezTo>
                                                                                    <a:cubicBezTo>
                                                                                      <a:pt x="88973" y="1272017"/>
                                                                                      <a:pt x="91806" y="1277059"/>
                                                                                      <a:pt x="92497" y="1282588"/>
                                                                                    </a:cubicBezTo>
                                                                                    <a:cubicBezTo>
                                                                                      <a:pt x="93378" y="1289635"/>
                                                                                      <a:pt x="89861" y="1298979"/>
                                                                                      <a:pt x="95140" y="1303730"/>
                                                                                    </a:cubicBezTo>
                                                                                    <a:cubicBezTo>
                                                                                      <a:pt x="101069" y="1309066"/>
                                                                                      <a:pt x="110997" y="1305491"/>
                                                                                      <a:pt x="118925" y="1306372"/>
                                                                                    </a:cubicBezTo>
                                                                                    <a:cubicBezTo>
                                                                                      <a:pt x="121568" y="1308134"/>
                                                                                      <a:pt x="124012" y="1310237"/>
                                                                                      <a:pt x="126853" y="1311658"/>
                                                                                    </a:cubicBezTo>
                                                                                    <a:cubicBezTo>
                                                                                      <a:pt x="137021" y="1316743"/>
                                                                                      <a:pt x="156425" y="1316269"/>
                                                                                      <a:pt x="163852" y="1316944"/>
                                                                                    </a:cubicBezTo>
                                                                                    <a:cubicBezTo>
                                                                                      <a:pt x="170983" y="1319320"/>
                                                                                      <a:pt x="174609" y="1322105"/>
                                                                                      <a:pt x="182351" y="1316944"/>
                                                                                    </a:cubicBezTo>
                                                                                    <a:cubicBezTo>
                                                                                      <a:pt x="184994" y="1315182"/>
                                                                                      <a:pt x="185246" y="1311107"/>
                                                                                      <a:pt x="187637" y="1309015"/>
                                                                                    </a:cubicBezTo>
                                                                                    <a:cubicBezTo>
                                                                                      <a:pt x="192417" y="1304832"/>
                                                                                      <a:pt x="198208" y="1301967"/>
                                                                                      <a:pt x="203493" y="1298444"/>
                                                                                    </a:cubicBezTo>
                                                                                    <a:lnTo>
                                                                                      <a:pt x="211422" y="1293159"/>
                                                                                    </a:lnTo>
                                                                                    <a:lnTo>
                                                                                      <a:pt x="219350" y="1287873"/>
                                                                                    </a:lnTo>
                                                                                    <a:cubicBezTo>
                                                                                      <a:pt x="222874" y="1288754"/>
                                                                                      <a:pt x="226767" y="1288714"/>
                                                                                      <a:pt x="229921" y="1290516"/>
                                                                                    </a:cubicBezTo>
                                                                                    <a:cubicBezTo>
                                                                                      <a:pt x="233166" y="1292370"/>
                                                                                      <a:pt x="234978" y="1296051"/>
                                                                                      <a:pt x="237849" y="1298444"/>
                                                                                    </a:cubicBezTo>
                                                                                    <a:cubicBezTo>
                                                                                      <a:pt x="240289" y="1300478"/>
                                                                                      <a:pt x="242937" y="1302310"/>
                                                                                      <a:pt x="245778" y="1303730"/>
                                                                                    </a:cubicBezTo>
                                                                                    <a:cubicBezTo>
                                                                                      <a:pt x="251192" y="1306437"/>
                                                                                      <a:pt x="261900" y="1308011"/>
                                                                                      <a:pt x="266920" y="1309015"/>
                                                                                    </a:cubicBezTo>
                                                                                    <a:cubicBezTo>
                                                                                      <a:pt x="268682" y="1311658"/>
                                                                                      <a:pt x="269960" y="1314698"/>
                                                                                      <a:pt x="272206" y="1316944"/>
                                                                                    </a:cubicBezTo>
                                                                                    <a:cubicBezTo>
                                                                                      <a:pt x="282959" y="1327697"/>
                                                                                      <a:pt x="280297" y="1317053"/>
                                                                                      <a:pt x="295991" y="1327515"/>
                                                                                    </a:cubicBezTo>
                                                                                    <a:lnTo>
                                                                                      <a:pt x="303919" y="1332800"/>
                                                                                    </a:lnTo>
                                                                                    <a:cubicBezTo>
                                                                                      <a:pt x="306673" y="1341062"/>
                                                                                      <a:pt x="309343" y="1351391"/>
                                                                                      <a:pt x="317133" y="1356585"/>
                                                                                    </a:cubicBezTo>
                                                                                    <a:lnTo>
                                                                                      <a:pt x="325061" y="1361871"/>
                                                                                    </a:lnTo>
                                                                                    <a:cubicBezTo>
                                                                                      <a:pt x="335632" y="1360990"/>
                                                                                      <a:pt x="346372" y="1361308"/>
                                                                                      <a:pt x="356774" y="1359228"/>
                                                                                    </a:cubicBezTo>
                                                                                    <a:cubicBezTo>
                                                                                      <a:pt x="379080" y="1354766"/>
                                                                                      <a:pt x="348637" y="1349925"/>
                                                                                      <a:pt x="375274" y="1356585"/>
                                                                                    </a:cubicBezTo>
                                                                                    <a:cubicBezTo>
                                                                                      <a:pt x="376155" y="1359228"/>
                                                                                      <a:pt x="375650" y="1362895"/>
                                                                                      <a:pt x="377917" y="1364514"/>
                                                                                    </a:cubicBezTo>
                                                                                    <a:cubicBezTo>
                                                                                      <a:pt x="382450" y="1367752"/>
                                                                                      <a:pt x="393773" y="1369799"/>
                                                                                      <a:pt x="393773" y="1369799"/>
                                                                                    </a:cubicBezTo>
                                                                                    <a:cubicBezTo>
                                                                                      <a:pt x="398941" y="1377550"/>
                                                                                      <a:pt x="399514" y="1376903"/>
                                                                                      <a:pt x="401702" y="1385656"/>
                                                                                    </a:cubicBezTo>
                                                                                    <a:cubicBezTo>
                                                                                      <a:pt x="402791" y="1390014"/>
                                                                                      <a:pt x="402115" y="1394970"/>
                                                                                      <a:pt x="404344" y="1398870"/>
                                                                                    </a:cubicBezTo>
                                                                                    <a:cubicBezTo>
                                                                                      <a:pt x="406754" y="1403087"/>
                                                                                      <a:pt x="416133" y="1405442"/>
                                                                                      <a:pt x="420201" y="1406798"/>
                                                                                    </a:cubicBezTo>
                                                                                    <a:cubicBezTo>
                                                                                      <a:pt x="424606" y="1405917"/>
                                                                                      <a:pt x="429677" y="1406647"/>
                                                                                      <a:pt x="433415" y="1404155"/>
                                                                                    </a:cubicBezTo>
                                                                                    <a:cubicBezTo>
                                                                                      <a:pt x="435733" y="1402610"/>
                                                                                      <a:pt x="435512" y="1398959"/>
                                                                                      <a:pt x="436058" y="1396227"/>
                                                                                    </a:cubicBezTo>
                                                                                    <a:cubicBezTo>
                                                                                      <a:pt x="437280" y="1390119"/>
                                                                                      <a:pt x="435914" y="1383299"/>
                                                                                      <a:pt x="438700" y="1377727"/>
                                                                                    </a:cubicBezTo>
                                                                                    <a:cubicBezTo>
                                                                                      <a:pt x="439946" y="1375235"/>
                                                                                      <a:pt x="443986" y="1375966"/>
                                                                                      <a:pt x="446629" y="1375085"/>
                                                                                    </a:cubicBezTo>
                                                                                    <a:cubicBezTo>
                                                                                      <a:pt x="472549" y="1383724"/>
                                                                                      <a:pt x="456933" y="1379907"/>
                                                                                      <a:pt x="494199" y="1383013"/>
                                                                                    </a:cubicBezTo>
                                                                                    <a:cubicBezTo>
                                                                                      <a:pt x="499020" y="1390245"/>
                                                                                      <a:pt x="499068" y="1392518"/>
                                                                                      <a:pt x="507412" y="1396227"/>
                                                                                    </a:cubicBezTo>
                                                                                    <a:cubicBezTo>
                                                                                      <a:pt x="512503" y="1398490"/>
                                                                                      <a:pt x="523269" y="1401512"/>
                                                                                      <a:pt x="523269" y="1401512"/>
                                                                                    </a:cubicBezTo>
                                                                                    <a:cubicBezTo>
                                                                                      <a:pt x="534721" y="1400631"/>
                                                                                      <a:pt x="546228" y="1400294"/>
                                                                                      <a:pt x="557625" y="1398870"/>
                                                                                    </a:cubicBezTo>
                                                                                    <a:cubicBezTo>
                                                                                      <a:pt x="567685" y="1397613"/>
                                                                                      <a:pt x="564242" y="1395048"/>
                                                                                      <a:pt x="573482" y="1390941"/>
                                                                                    </a:cubicBezTo>
                                                                                    <a:cubicBezTo>
                                                                                      <a:pt x="578573" y="1388678"/>
                                                                                      <a:pt x="583776" y="1385965"/>
                                                                                      <a:pt x="589339" y="1385656"/>
                                                                                    </a:cubicBezTo>
                                                                                    <a:lnTo>
                                                                                      <a:pt x="636908" y="1383013"/>
                                                                                    </a:lnTo>
                                                                                    <a:cubicBezTo>
                                                                                      <a:pt x="638670" y="1380370"/>
                                                                                      <a:pt x="639714" y="1377069"/>
                                                                                      <a:pt x="642194" y="1375085"/>
                                                                                    </a:cubicBezTo>
                                                                                    <a:cubicBezTo>
                                                                                      <a:pt x="644369" y="1373345"/>
                                                                                      <a:pt x="647336" y="1372442"/>
                                                                                      <a:pt x="650122" y="1372442"/>
                                                                                    </a:cubicBezTo>
                                                                                    <a:cubicBezTo>
                                                                                      <a:pt x="672163" y="1372442"/>
                                                                                      <a:pt x="694169" y="1374204"/>
                                                                                      <a:pt x="716192" y="1375085"/>
                                                                                    </a:cubicBezTo>
                                                                                    <a:cubicBezTo>
                                                                                      <a:pt x="718835" y="1375966"/>
                                                                                      <a:pt x="722150" y="1375757"/>
                                                                                      <a:pt x="724120" y="1377727"/>
                                                                                    </a:cubicBezTo>
                                                                                    <a:cubicBezTo>
                                                                                      <a:pt x="733206" y="1386813"/>
                                                                                      <a:pt x="734011" y="1391543"/>
                                                                                      <a:pt x="737334" y="1401512"/>
                                                                                    </a:cubicBezTo>
                                                                                    <a:cubicBezTo>
                                                                                      <a:pt x="749667" y="1399750"/>
                                                                                      <a:pt x="763967" y="1403138"/>
                                                                                      <a:pt x="774333" y="1396227"/>
                                                                                    </a:cubicBezTo>
                                                                                    <a:cubicBezTo>
                                                                                      <a:pt x="790776" y="1385265"/>
                                                                                      <a:pt x="763028" y="1378363"/>
                                                                                      <a:pt x="761119" y="1377727"/>
                                                                                    </a:cubicBezTo>
                                                                                    <a:cubicBezTo>
                                                                                      <a:pt x="753458" y="1354748"/>
                                                                                      <a:pt x="764401" y="1389707"/>
                                                                                      <a:pt x="755833" y="1335443"/>
                                                                                    </a:cubicBezTo>
                                                                                    <a:cubicBezTo>
                                                                                      <a:pt x="753881" y="1323077"/>
                                                                                      <a:pt x="751166" y="1320513"/>
                                                                                      <a:pt x="745262" y="1311658"/>
                                                                                    </a:cubicBezTo>
                                                                                    <a:cubicBezTo>
                                                                                      <a:pt x="746143" y="1308134"/>
                                                                                      <a:pt x="745580" y="1303877"/>
                                                                                      <a:pt x="747905" y="1301087"/>
                                                                                    </a:cubicBezTo>
                                                                                    <a:cubicBezTo>
                                                                                      <a:pt x="750427" y="1298060"/>
                                                                                      <a:pt x="755055" y="1297756"/>
                                                                                      <a:pt x="758476" y="1295801"/>
                                                                                    </a:cubicBezTo>
                                                                                    <a:cubicBezTo>
                                                                                      <a:pt x="761234" y="1294225"/>
                                                                                      <a:pt x="763563" y="1291936"/>
                                                                                      <a:pt x="766404" y="1290516"/>
                                                                                    </a:cubicBezTo>
                                                                                    <a:cubicBezTo>
                                                                                      <a:pt x="770845" y="1288296"/>
                                                                                      <a:pt x="780670" y="1286500"/>
                                                                                      <a:pt x="784904" y="1285230"/>
                                                                                    </a:cubicBezTo>
                                                                                    <a:cubicBezTo>
                                                                                      <a:pt x="790240" y="1283629"/>
                                                                                      <a:pt x="800760" y="1279945"/>
                                                                                      <a:pt x="800760" y="1279945"/>
                                                                                    </a:cubicBezTo>
                                                                                    <a:cubicBezTo>
                                                                                      <a:pt x="815822" y="1264883"/>
                                                                                      <a:pt x="803347" y="1280078"/>
                                                                                      <a:pt x="811332" y="1261445"/>
                                                                                    </a:cubicBezTo>
                                                                                    <a:cubicBezTo>
                                                                                      <a:pt x="812583" y="1258526"/>
                                                                                      <a:pt x="815041" y="1256275"/>
                                                                                      <a:pt x="816617" y="1253517"/>
                                                                                    </a:cubicBezTo>
                                                                                    <a:cubicBezTo>
                                                                                      <a:pt x="832869" y="1225076"/>
                                                                                      <a:pt x="806616" y="1265877"/>
                                                                                      <a:pt x="832474" y="1227089"/>
                                                                                    </a:cubicBezTo>
                                                                                    <a:cubicBezTo>
                                                                                      <a:pt x="834236" y="1224446"/>
                                                                                      <a:pt x="834746" y="1220165"/>
                                                                                      <a:pt x="837759" y="1219161"/>
                                                                                    </a:cubicBezTo>
                                                                                    <a:cubicBezTo>
                                                                                      <a:pt x="840402" y="1218280"/>
                                                                                      <a:pt x="843009" y="1217283"/>
                                                                                      <a:pt x="845688" y="1216518"/>
                                                                                    </a:cubicBezTo>
                                                                                    <a:cubicBezTo>
                                                                                      <a:pt x="854403" y="1214028"/>
                                                                                      <a:pt x="860381" y="1213051"/>
                                                                                      <a:pt x="869473" y="1211233"/>
                                                                                    </a:cubicBezTo>
                                                                                    <a:cubicBezTo>
                                                                                      <a:pt x="874081" y="1197403"/>
                                                                                      <a:pt x="877628" y="1190230"/>
                                                                                      <a:pt x="869473" y="1171591"/>
                                                                                    </a:cubicBezTo>
                                                                                    <a:cubicBezTo>
                                                                                      <a:pt x="866927" y="1165771"/>
                                                                                      <a:pt x="853616" y="1161020"/>
                                                                                      <a:pt x="853616" y="1161020"/>
                                                                                    </a:cubicBezTo>
                                                                                    <a:lnTo>
                                                                                      <a:pt x="832474" y="1129307"/>
                                                                                    </a:lnTo>
                                                                                    <a:cubicBezTo>
                                                                                      <a:pt x="830712" y="1126664"/>
                                                                                      <a:pt x="829831" y="1123140"/>
                                                                                      <a:pt x="827188" y="1121378"/>
                                                                                    </a:cubicBezTo>
                                                                                    <a:cubicBezTo>
                                                                                      <a:pt x="824545" y="1119616"/>
                                                                                      <a:pt x="821700" y="1118126"/>
                                                                                      <a:pt x="819260" y="1116093"/>
                                                                                    </a:cubicBezTo>
                                                                                    <a:cubicBezTo>
                                                                                      <a:pt x="815432" y="1112903"/>
                                                                                      <a:pt x="812213" y="1109045"/>
                                                                                      <a:pt x="808689" y="1105522"/>
                                                                                    </a:cubicBezTo>
                                                                                    <a:lnTo>
                                                                                      <a:pt x="808689" y="1105522"/>
                                                                                    </a:lnTo>
                                                                                    <a:cubicBezTo>
                                                                                      <a:pt x="791472" y="1099065"/>
                                                                                      <a:pt x="788811" y="1102763"/>
                                                                                      <a:pt x="782261" y="1089665"/>
                                                                                    </a:cubicBezTo>
                                                                                    <a:cubicBezTo>
                                                                                      <a:pt x="781015" y="1087174"/>
                                                                                      <a:pt x="781588" y="1083707"/>
                                                                                      <a:pt x="779618" y="1081737"/>
                                                                                    </a:cubicBezTo>
                                                                                    <a:cubicBezTo>
                                                                                      <a:pt x="777648" y="1079767"/>
                                                                                      <a:pt x="774125" y="1080447"/>
                                                                                      <a:pt x="771690" y="1079094"/>
                                                                                    </a:cubicBezTo>
                                                                                    <a:cubicBezTo>
                                                                                      <a:pt x="766137" y="1076009"/>
                                                                                      <a:pt x="755833" y="1068523"/>
                                                                                      <a:pt x="755833" y="1068523"/>
                                                                                    </a:cubicBezTo>
                                                                                    <a:cubicBezTo>
                                                                                      <a:pt x="743189" y="1049556"/>
                                                                                      <a:pt x="749754" y="1057158"/>
                                                                                      <a:pt x="737334" y="1044738"/>
                                                                                    </a:cubicBezTo>
                                                                                    <a:lnTo>
                                                                                      <a:pt x="729406" y="1020953"/>
                                                                                    </a:lnTo>
                                                                                    <a:lnTo>
                                                                                      <a:pt x="726763" y="1013025"/>
                                                                                    </a:lnTo>
                                                                                    <a:cubicBezTo>
                                                                                      <a:pt x="725882" y="1007739"/>
                                                                                      <a:pt x="723786" y="1002516"/>
                                                                                      <a:pt x="724120" y="997168"/>
                                                                                    </a:cubicBezTo>
                                                                                    <a:cubicBezTo>
                                                                                      <a:pt x="725017" y="982819"/>
                                                                                      <a:pt x="728096" y="974671"/>
                                                                                      <a:pt x="732048" y="962812"/>
                                                                                    </a:cubicBezTo>
                                                                                    <a:cubicBezTo>
                                                                                      <a:pt x="731017" y="954561"/>
                                                                                      <a:pt x="732449" y="940404"/>
                                                                                      <a:pt x="724120" y="933741"/>
                                                                                    </a:cubicBezTo>
                                                                                    <a:cubicBezTo>
                                                                                      <a:pt x="721945" y="932001"/>
                                                                                      <a:pt x="718835" y="931980"/>
                                                                                      <a:pt x="716192" y="931099"/>
                                                                                    </a:cubicBezTo>
                                                                                    <a:cubicBezTo>
                                                                                      <a:pt x="713549" y="929337"/>
                                                                                      <a:pt x="710355" y="928204"/>
                                                                                      <a:pt x="708263" y="925813"/>
                                                                                    </a:cubicBezTo>
                                                                                    <a:cubicBezTo>
                                                                                      <a:pt x="698478" y="914630"/>
                                                                                      <a:pt x="698679" y="912917"/>
                                                                                      <a:pt x="695049" y="902028"/>
                                                                                    </a:cubicBezTo>
                                                                                    <a:cubicBezTo>
                                                                                      <a:pt x="695930" y="897623"/>
                                                                                      <a:pt x="693792" y="891043"/>
                                                                                      <a:pt x="697692" y="888814"/>
                                                                                    </a:cubicBezTo>
                                                                                    <a:cubicBezTo>
                                                                                      <a:pt x="701120" y="886855"/>
                                                                                      <a:pt x="716355" y="892393"/>
                                                                                      <a:pt x="721477" y="894100"/>
                                                                                    </a:cubicBezTo>
                                                                                    <a:cubicBezTo>
                                                                                      <a:pt x="726701" y="892359"/>
                                                                                      <a:pt x="733607" y="890829"/>
                                                                                      <a:pt x="737334" y="886171"/>
                                                                                    </a:cubicBezTo>
                                                                                    <a:cubicBezTo>
                                                                                      <a:pt x="747492" y="873473"/>
                                                                                      <a:pt x="730236" y="881792"/>
                                                                                      <a:pt x="747905" y="872957"/>
                                                                                    </a:cubicBezTo>
                                                                                    <a:cubicBezTo>
                                                                                      <a:pt x="758696" y="867561"/>
                                                                                      <a:pt x="780478" y="868261"/>
                                                                                      <a:pt x="787547" y="867672"/>
                                                                                    </a:cubicBezTo>
                                                                                    <a:cubicBezTo>
                                                                                      <a:pt x="794594" y="865910"/>
                                                                                      <a:pt x="801797" y="864683"/>
                                                                                      <a:pt x="808689" y="862386"/>
                                                                                    </a:cubicBezTo>
                                                                                    <a:lnTo>
                                                                                      <a:pt x="824545" y="857101"/>
                                                                                    </a:lnTo>
                                                                                    <a:cubicBezTo>
                                                                                      <a:pt x="828069" y="854458"/>
                                                                                      <a:pt x="831177" y="851142"/>
                                                                                      <a:pt x="835117" y="849172"/>
                                                                                    </a:cubicBezTo>
                                                                                    <a:cubicBezTo>
                                                                                      <a:pt x="840100" y="846680"/>
                                                                                      <a:pt x="850973" y="843887"/>
                                                                                      <a:pt x="850973" y="843887"/>
                                                                                    </a:cubicBezTo>
                                                                                    <a:cubicBezTo>
                                                                                      <a:pt x="856816" y="838044"/>
                                                                                      <a:pt x="859473" y="834352"/>
                                                                                      <a:pt x="866830" y="830673"/>
                                                                                    </a:cubicBezTo>
                                                                                    <a:cubicBezTo>
                                                                                      <a:pt x="869321" y="829427"/>
                                                                                      <a:pt x="872266" y="829276"/>
                                                                                      <a:pt x="874758" y="828030"/>
                                                                                    </a:cubicBezTo>
                                                                                    <a:cubicBezTo>
                                                                                      <a:pt x="895248" y="817785"/>
                                                                                      <a:pt x="870687" y="826745"/>
                                                                                      <a:pt x="890615" y="820102"/>
                                                                                    </a:cubicBezTo>
                                                                                    <a:cubicBezTo>
                                                                                      <a:pt x="895900" y="816578"/>
                                                                                      <a:pt x="900308" y="811072"/>
                                                                                      <a:pt x="906471" y="809531"/>
                                                                                    </a:cubicBezTo>
                                                                                    <a:cubicBezTo>
                                                                                      <a:pt x="909995" y="808650"/>
                                                                                      <a:pt x="913469" y="807538"/>
                                                                                      <a:pt x="917043" y="806888"/>
                                                                                    </a:cubicBezTo>
                                                                                    <a:cubicBezTo>
                                                                                      <a:pt x="933432" y="803908"/>
                                                                                      <a:pt x="934162" y="805251"/>
                                                                                      <a:pt x="948756" y="801603"/>
                                                                                    </a:cubicBezTo>
                                                                                    <a:cubicBezTo>
                                                                                      <a:pt x="951458" y="800927"/>
                                                                                      <a:pt x="954041" y="799841"/>
                                                                                      <a:pt x="956684" y="798960"/>
                                                                                    </a:cubicBezTo>
                                                                                    <a:cubicBezTo>
                                                                                      <a:pt x="957565" y="796317"/>
                                                                                      <a:pt x="957357" y="793001"/>
                                                                                      <a:pt x="959327" y="791031"/>
                                                                                    </a:cubicBezTo>
                                                                                    <a:cubicBezTo>
                                                                                      <a:pt x="964611" y="785747"/>
                                                                                      <a:pt x="969900" y="789270"/>
                                                                                      <a:pt x="975184" y="791031"/>
                                                                                    </a:cubicBezTo>
                                                                                    <a:cubicBezTo>
                                                                                      <a:pt x="976946" y="793674"/>
                                                                                      <a:pt x="977989" y="796976"/>
                                                                                      <a:pt x="980469" y="798960"/>
                                                                                    </a:cubicBezTo>
                                                                                    <a:cubicBezTo>
                                                                                      <a:pt x="982644" y="800700"/>
                                                                                      <a:pt x="986427" y="799633"/>
                                                                                      <a:pt x="988397" y="801603"/>
                                                                                    </a:cubicBezTo>
                                                                                    <a:cubicBezTo>
                                                                                      <a:pt x="990367" y="803573"/>
                                                                                      <a:pt x="989794" y="807040"/>
                                                                                      <a:pt x="991040" y="809531"/>
                                                                                    </a:cubicBezTo>
                                                                                    <a:cubicBezTo>
                                                                                      <a:pt x="995822" y="819093"/>
                                                                                      <a:pt x="995110" y="817054"/>
                                                                                      <a:pt x="1004254" y="820102"/>
                                                                                    </a:cubicBezTo>
                                                                                    <a:cubicBezTo>
                                                                                      <a:pt x="1023046" y="817753"/>
                                                                                      <a:pt x="1023916" y="823061"/>
                                                                                      <a:pt x="1030682" y="809531"/>
                                                                                    </a:cubicBezTo>
                                                                                    <a:cubicBezTo>
                                                                                      <a:pt x="1031928" y="807040"/>
                                                                                      <a:pt x="1032444" y="804246"/>
                                                                                      <a:pt x="1033325" y="801603"/>
                                                                                    </a:cubicBezTo>
                                                                                    <a:cubicBezTo>
                                                                                      <a:pt x="1035431" y="780538"/>
                                                                                      <a:pt x="1034188" y="780081"/>
                                                                                      <a:pt x="1038610" y="764604"/>
                                                                                    </a:cubicBezTo>
                                                                                    <a:cubicBezTo>
                                                                                      <a:pt x="1039375" y="761925"/>
                                                                                      <a:pt x="1040007" y="759167"/>
                                                                                      <a:pt x="1041253" y="756675"/>
                                                                                    </a:cubicBezTo>
                                                                                    <a:cubicBezTo>
                                                                                      <a:pt x="1042674" y="753834"/>
                                                                                      <a:pt x="1044777" y="751390"/>
                                                                                      <a:pt x="1046539" y="748747"/>
                                                                                    </a:cubicBezTo>
                                                                                    <a:cubicBezTo>
                                                                                      <a:pt x="1045658" y="738176"/>
                                                                                      <a:pt x="1045136" y="727569"/>
                                                                                      <a:pt x="1043896" y="717034"/>
                                                                                    </a:cubicBezTo>
                                                                                    <a:cubicBezTo>
                                                                                      <a:pt x="1042887" y="708460"/>
                                                                                      <a:pt x="1042149" y="702074"/>
                                                                                      <a:pt x="1035967" y="695892"/>
                                                                                    </a:cubicBezTo>
                                                                                    <a:cubicBezTo>
                                                                                      <a:pt x="1033721" y="693646"/>
                                                                                      <a:pt x="1030682" y="692368"/>
                                                                                      <a:pt x="1028039" y="690606"/>
                                                                                    </a:cubicBezTo>
                                                                                    <a:cubicBezTo>
                                                                                      <a:pt x="1027158" y="687963"/>
                                                                                      <a:pt x="1026749" y="685113"/>
                                                                                      <a:pt x="1025396" y="682678"/>
                                                                                    </a:cubicBezTo>
                                                                                    <a:cubicBezTo>
                                                                                      <a:pt x="1022311" y="677125"/>
                                                                                      <a:pt x="1014825" y="666821"/>
                                                                                      <a:pt x="1014825" y="666821"/>
                                                                                    </a:cubicBezTo>
                                                                                    <a:cubicBezTo>
                                                                                      <a:pt x="1015706" y="649203"/>
                                                                                      <a:pt x="1015186" y="631458"/>
                                                                                      <a:pt x="1017468" y="613966"/>
                                                                                    </a:cubicBezTo>
                                                                                    <a:cubicBezTo>
                                                                                      <a:pt x="1017879" y="610816"/>
                                                                                      <a:pt x="1021464" y="608940"/>
                                                                                      <a:pt x="1022754" y="606037"/>
                                                                                    </a:cubicBezTo>
                                                                                    <a:cubicBezTo>
                                                                                      <a:pt x="1025017" y="600946"/>
                                                                                      <a:pt x="1026277" y="595466"/>
                                                                                      <a:pt x="1028039" y="590181"/>
                                                                                    </a:cubicBezTo>
                                                                                    <a:lnTo>
                                                                                      <a:pt x="1030682" y="582252"/>
                                                                                    </a:lnTo>
                                                                                    <a:cubicBezTo>
                                                                                      <a:pt x="1029801" y="578728"/>
                                                                                      <a:pt x="1029083" y="575160"/>
                                                                                      <a:pt x="1028039" y="571681"/>
                                                                                    </a:cubicBezTo>
                                                                                    <a:cubicBezTo>
                                                                                      <a:pt x="1026438" y="566345"/>
                                                                                      <a:pt x="1022754" y="555825"/>
                                                                                      <a:pt x="1022754" y="555825"/>
                                                                                    </a:cubicBezTo>
                                                                                    <a:lnTo>
                                                                                      <a:pt x="1014825" y="532040"/>
                                                                                    </a:lnTo>
                                                                                    <a:cubicBezTo>
                                                                                      <a:pt x="1011269" y="516034"/>
                                                                                      <a:pt x="1006445" y="511069"/>
                                                                                      <a:pt x="1012182" y="497683"/>
                                                                                    </a:cubicBezTo>
                                                                                    <a:cubicBezTo>
                                                                                      <a:pt x="1013433" y="494764"/>
                                                                                      <a:pt x="1015706" y="492398"/>
                                                                                      <a:pt x="1017468" y="489755"/>
                                                                                    </a:cubicBezTo>
                                                                                    <a:cubicBezTo>
                                                                                      <a:pt x="997865" y="460352"/>
                                                                                      <a:pt x="1016206" y="480832"/>
                                                                                      <a:pt x="998969" y="471256"/>
                                                                                    </a:cubicBezTo>
                                                                                    <a:cubicBezTo>
                                                                                      <a:pt x="993416" y="468171"/>
                                                                                      <a:pt x="983112" y="460685"/>
                                                                                      <a:pt x="983112" y="460685"/>
                                                                                    </a:cubicBezTo>
                                                                                    <a:cubicBezTo>
                                                                                      <a:pt x="970996" y="442510"/>
                                                                                      <a:pt x="974550" y="450854"/>
                                                                                      <a:pt x="969898" y="436900"/>
                                                                                    </a:cubicBezTo>
                                                                                    <a:cubicBezTo>
                                                                                      <a:pt x="974634" y="389547"/>
                                                                                      <a:pt x="966993" y="424211"/>
                                                                                      <a:pt x="977826" y="402544"/>
                                                                                    </a:cubicBezTo>
                                                                                    <a:cubicBezTo>
                                                                                      <a:pt x="979072" y="400052"/>
                                                                                      <a:pt x="978729" y="396790"/>
                                                                                      <a:pt x="980469" y="394615"/>
                                                                                    </a:cubicBezTo>
                                                                                    <a:cubicBezTo>
                                                                                      <a:pt x="982453" y="392135"/>
                                                                                      <a:pt x="985754" y="391092"/>
                                                                                      <a:pt x="988397" y="389330"/>
                                                                                    </a:cubicBezTo>
                                                                                    <a:cubicBezTo>
                                                                                      <a:pt x="1003544" y="366610"/>
                                                                                      <a:pt x="985386" y="395353"/>
                                                                                      <a:pt x="996326" y="373473"/>
                                                                                    </a:cubicBezTo>
                                                                                    <a:cubicBezTo>
                                                                                      <a:pt x="997746" y="370632"/>
                                                                                      <a:pt x="1000321" y="368447"/>
                                                                                      <a:pt x="1001611" y="365545"/>
                                                                                    </a:cubicBezTo>
                                                                                    <a:cubicBezTo>
                                                                                      <a:pt x="1003874" y="360454"/>
                                                                                      <a:pt x="1006897" y="349688"/>
                                                                                      <a:pt x="1006897" y="349688"/>
                                                                                    </a:cubicBezTo>
                                                                                    <a:cubicBezTo>
                                                                                      <a:pt x="1006016" y="344402"/>
                                                                                      <a:pt x="1005417" y="339062"/>
                                                                                      <a:pt x="1004254" y="333831"/>
                                                                                    </a:cubicBezTo>
                                                                                    <a:cubicBezTo>
                                                                                      <a:pt x="1003650" y="331112"/>
                                                                                      <a:pt x="1002157" y="328635"/>
                                                                                      <a:pt x="1001611" y="325903"/>
                                                                                    </a:cubicBezTo>
                                                                                    <a:cubicBezTo>
                                                                                      <a:pt x="1000390" y="319795"/>
                                                                                      <a:pt x="999850" y="313570"/>
                                                                                      <a:pt x="998969" y="307404"/>
                                                                                    </a:cubicBezTo>
                                                                                    <a:cubicBezTo>
                                                                                      <a:pt x="999850" y="298595"/>
                                                                                      <a:pt x="1003195" y="289686"/>
                                                                                      <a:pt x="1001611" y="280976"/>
                                                                                    </a:cubicBezTo>
                                                                                    <a:cubicBezTo>
                                                                                      <a:pt x="1001113" y="278235"/>
                                                                                      <a:pt x="996450" y="278659"/>
                                                                                      <a:pt x="993683" y="278333"/>
                                                                                    </a:cubicBezTo>
                                                                                    <a:cubicBezTo>
                                                                                      <a:pt x="981403" y="276888"/>
                                                                                      <a:pt x="969017" y="276571"/>
                                                                                      <a:pt x="956684" y="275690"/>
                                                                                    </a:cubicBezTo>
                                                                                    <a:cubicBezTo>
                                                                                      <a:pt x="945306" y="258622"/>
                                                                                      <a:pt x="953818" y="274122"/>
                                                                                      <a:pt x="948756" y="238692"/>
                                                                                    </a:cubicBezTo>
                                                                                    <a:cubicBezTo>
                                                                                      <a:pt x="947427" y="229392"/>
                                                                                      <a:pt x="945015" y="231209"/>
                                                                                      <a:pt x="940828" y="222835"/>
                                                                                    </a:cubicBezTo>
                                                                                    <a:cubicBezTo>
                                                                                      <a:pt x="939582" y="220343"/>
                                                                                      <a:pt x="939925" y="217082"/>
                                                                                      <a:pt x="938185" y="214907"/>
                                                                                    </a:cubicBezTo>
                                                                                    <a:cubicBezTo>
                                                                                      <a:pt x="936201" y="212427"/>
                                                                                      <a:pt x="932899" y="211383"/>
                                                                                      <a:pt x="930256" y="209621"/>
                                                                                    </a:cubicBezTo>
                                                                                    <a:cubicBezTo>
                                                                                      <a:pt x="926732" y="210502"/>
                                                                                      <a:pt x="923317" y="212264"/>
                                                                                      <a:pt x="919685" y="212264"/>
                                                                                    </a:cubicBezTo>
                                                                                    <a:cubicBezTo>
                                                                                      <a:pt x="915193" y="212264"/>
                                                                                      <a:pt x="910677" y="211198"/>
                                                                                      <a:pt x="906471" y="209621"/>
                                                                                    </a:cubicBezTo>
                                                                                    <a:cubicBezTo>
                                                                                      <a:pt x="901679" y="207824"/>
                                                                                      <a:pt x="893439" y="200038"/>
                                                                                      <a:pt x="890615" y="196407"/>
                                                                                    </a:cubicBezTo>
                                                                                    <a:cubicBezTo>
                                                                                      <a:pt x="886715" y="191393"/>
                                                                                      <a:pt x="885329" y="184075"/>
                                                                                      <a:pt x="880044" y="180551"/>
                                                                                    </a:cubicBezTo>
                                                                                    <a:lnTo>
                                                                                      <a:pt x="872115" y="175265"/>
                                                                                    </a:lnTo>
                                                                                    <a:lnTo>
                                                                                      <a:pt x="848330" y="177908"/>
                                                                                    </a:lnTo>
                                                                                    <a:cubicBezTo>
                                                                                      <a:pt x="838648" y="178876"/>
                                                                                      <a:pt x="828842" y="178860"/>
                                                                                      <a:pt x="819260" y="180551"/>
                                                                                    </a:cubicBezTo>
                                                                                    <a:cubicBezTo>
                                                                                      <a:pt x="813773" y="181519"/>
                                                                                      <a:pt x="803403" y="185836"/>
                                                                                      <a:pt x="803403" y="185836"/>
                                                                                    </a:cubicBezTo>
                                                                                    <a:cubicBezTo>
                                                                                      <a:pt x="801641" y="183193"/>
                                                                                      <a:pt x="799538" y="180749"/>
                                                                                      <a:pt x="798118" y="177908"/>
                                                                                    </a:cubicBezTo>
                                                                                    <a:cubicBezTo>
                                                                                      <a:pt x="795314" y="172299"/>
                                                                                      <a:pt x="793512" y="165165"/>
                                                                                      <a:pt x="798118" y="159408"/>
                                                                                    </a:cubicBezTo>
                                                                                    <a:cubicBezTo>
                                                                                      <a:pt x="799858" y="157233"/>
                                                                                      <a:pt x="803403" y="157647"/>
                                                                                      <a:pt x="806046" y="156766"/>
                                                                                    </a:cubicBezTo>
                                                                                    <a:cubicBezTo>
                                                                                      <a:pt x="824925" y="144179"/>
                                                                                      <a:pt x="815740" y="147734"/>
                                                                                      <a:pt x="832474" y="143552"/>
                                                                                    </a:cubicBezTo>
                                                                                    <a:cubicBezTo>
                                                                                      <a:pt x="829831" y="142671"/>
                                                                                      <a:pt x="827321" y="140678"/>
                                                                                      <a:pt x="824545" y="140909"/>
                                                                                    </a:cubicBezTo>
                                                                                    <a:cubicBezTo>
                                                                                      <a:pt x="804060" y="142616"/>
                                                                                      <a:pt x="805014" y="143357"/>
                                                                                      <a:pt x="792832" y="151480"/>
                                                                                    </a:cubicBezTo>
                                                                                    <a:cubicBezTo>
                                                                                      <a:pt x="791951" y="154123"/>
                                                                                      <a:pt x="791542" y="156973"/>
                                                                                      <a:pt x="790189" y="159408"/>
                                                                                    </a:cubicBezTo>
                                                                                    <a:cubicBezTo>
                                                                                      <a:pt x="787104" y="164961"/>
                                                                                      <a:pt x="779618" y="175265"/>
                                                                                      <a:pt x="779618" y="175265"/>
                                                                                    </a:cubicBezTo>
                                                                                    <a:cubicBezTo>
                                                                                      <a:pt x="780499" y="177908"/>
                                                                                      <a:pt x="783295" y="180607"/>
                                                                                      <a:pt x="782261" y="183193"/>
                                                                                    </a:cubicBezTo>
                                                                                    <a:cubicBezTo>
                                                                                      <a:pt x="781081" y="186142"/>
                                                                                      <a:pt x="777474" y="188008"/>
                                                                                      <a:pt x="774333" y="188479"/>
                                                                                    </a:cubicBezTo>
                                                                                    <a:cubicBezTo>
                                                                                      <a:pt x="759497" y="190705"/>
                                                                                      <a:pt x="744382" y="190241"/>
                                                                                      <a:pt x="729406" y="191122"/>
                                                                                    </a:cubicBezTo>
                                                                                    <a:cubicBezTo>
                                                                                      <a:pt x="724120" y="194646"/>
                                                                                      <a:pt x="715558" y="195667"/>
                                                                                      <a:pt x="713549" y="201693"/>
                                                                                    </a:cubicBezTo>
                                                                                    <a:cubicBezTo>
                                                                                      <a:pt x="709724" y="213166"/>
                                                                                      <a:pt x="712876" y="207651"/>
                                                                                      <a:pt x="702978" y="217549"/>
                                                                                    </a:cubicBezTo>
                                                                                    <a:cubicBezTo>
                                                                                      <a:pt x="696811" y="216668"/>
                                                                                      <a:pt x="690445" y="216697"/>
                                                                                      <a:pt x="684478" y="214907"/>
                                                                                    </a:cubicBezTo>
                                                                                    <a:cubicBezTo>
                                                                                      <a:pt x="681436" y="213994"/>
                                                                                      <a:pt x="679391" y="211042"/>
                                                                                      <a:pt x="676550" y="209621"/>
                                                                                    </a:cubicBezTo>
                                                                                    <a:cubicBezTo>
                                                                                      <a:pt x="674059" y="208375"/>
                                                                                      <a:pt x="671265" y="207859"/>
                                                                                      <a:pt x="668622" y="206978"/>
                                                                                    </a:cubicBezTo>
                                                                                    <a:lnTo>
                                                                                      <a:pt x="639551" y="209621"/>
                                                                                    </a:lnTo>
                                                                                    <a:cubicBezTo>
                                                                                      <a:pt x="634645" y="212263"/>
                                                                                      <a:pt x="634266" y="225478"/>
                                                                                      <a:pt x="634266" y="225478"/>
                                                                                    </a:cubicBezTo>
                                                                                    <a:cubicBezTo>
                                                                                      <a:pt x="632426" y="222718"/>
                                                                                      <a:pt x="625608" y="213997"/>
                                                                                      <a:pt x="626337" y="209621"/>
                                                                                    </a:cubicBezTo>
                                                                                    <a:cubicBezTo>
                                                                                      <a:pt x="626859" y="206488"/>
                                                                                      <a:pt x="628930" y="203376"/>
                                                                                      <a:pt x="631623" y="201693"/>
                                                                                    </a:cubicBezTo>
                                                                                    <a:cubicBezTo>
                                                                                      <a:pt x="636348" y="198740"/>
                                                                                      <a:pt x="647480" y="196407"/>
                                                                                      <a:pt x="647480" y="196407"/>
                                                                                    </a:cubicBezTo>
                                                                                    <a:cubicBezTo>
                                                                                      <a:pt x="652765" y="191122"/>
                                                                                      <a:pt x="660972" y="187642"/>
                                                                                      <a:pt x="663336" y="180551"/>
                                                                                    </a:cubicBezTo>
                                                                                    <a:cubicBezTo>
                                                                                      <a:pt x="666983" y="169609"/>
                                                                                      <a:pt x="664433" y="174940"/>
                                                                                      <a:pt x="671265" y="164694"/>
                                                                                    </a:cubicBezTo>
                                                                                    <a:cubicBezTo>
                                                                                      <a:pt x="673916" y="156739"/>
                                                                                      <a:pt x="677606" y="149787"/>
                                                                                      <a:pt x="671265" y="140909"/>
                                                                                    </a:cubicBezTo>
                                                                                    <a:cubicBezTo>
                                                                                      <a:pt x="669154" y="137953"/>
                                                                                      <a:pt x="664217" y="139147"/>
                                                                                      <a:pt x="660693" y="138266"/>
                                                                                    </a:cubicBezTo>
                                                                                    <a:cubicBezTo>
                                                                                      <a:pt x="651003" y="139147"/>
                                                                                      <a:pt x="641255" y="139533"/>
                                                                                      <a:pt x="631623" y="140909"/>
                                                                                    </a:cubicBezTo>
                                                                                    <a:cubicBezTo>
                                                                                      <a:pt x="628865" y="141303"/>
                                                                                      <a:pt x="626481" y="143552"/>
                                                                                      <a:pt x="623695" y="143552"/>
                                                                                    </a:cubicBezTo>
                                                                                    <a:cubicBezTo>
                                                                                      <a:pt x="613965" y="143552"/>
                                                                                      <a:pt x="604314" y="141790"/>
                                                                                      <a:pt x="594624" y="140909"/>
                                                                                    </a:cubicBezTo>
                                                                                    <a:cubicBezTo>
                                                                                      <a:pt x="592862" y="138266"/>
                                                                                      <a:pt x="591819" y="134965"/>
                                                                                      <a:pt x="589339" y="132981"/>
                                                                                    </a:cubicBezTo>
                                                                                    <a:cubicBezTo>
                                                                                      <a:pt x="587164" y="131241"/>
                                                                                      <a:pt x="583902" y="131584"/>
                                                                                      <a:pt x="581410" y="130338"/>
                                                                                    </a:cubicBezTo>
                                                                                    <a:cubicBezTo>
                                                                                      <a:pt x="578569" y="128917"/>
                                                                                      <a:pt x="576125" y="126814"/>
                                                                                      <a:pt x="573482" y="125052"/>
                                                                                    </a:cubicBezTo>
                                                                                    <a:cubicBezTo>
                                                                                      <a:pt x="572601" y="122409"/>
                                                                                      <a:pt x="572809" y="119094"/>
                                                                                      <a:pt x="570839" y="117124"/>
                                                                                    </a:cubicBezTo>
                                                                                    <a:cubicBezTo>
                                                                                      <a:pt x="569575" y="115860"/>
                                                                                      <a:pt x="552432" y="111861"/>
                                                                                      <a:pt x="552340" y="111838"/>
                                                                                    </a:cubicBezTo>
                                                                                    <a:cubicBezTo>
                                                                                      <a:pt x="549091" y="102091"/>
                                                                                      <a:pt x="547838" y="102703"/>
                                                                                      <a:pt x="552340" y="90696"/>
                                                                                    </a:cubicBezTo>
                                                                                    <a:cubicBezTo>
                                                                                      <a:pt x="553455" y="87722"/>
                                                                                      <a:pt x="556205" y="85609"/>
                                                                                      <a:pt x="557625" y="82768"/>
                                                                                    </a:cubicBezTo>
                                                                                    <a:cubicBezTo>
                                                                                      <a:pt x="568565" y="60888"/>
                                                                                      <a:pt x="550407" y="89631"/>
                                                                                      <a:pt x="565554" y="66911"/>
                                                                                    </a:cubicBezTo>
                                                                                    <a:cubicBezTo>
                                                                                      <a:pt x="564673" y="62506"/>
                                                                                      <a:pt x="565669" y="57243"/>
                                                                                      <a:pt x="562911" y="53697"/>
                                                                                    </a:cubicBezTo>
                                                                                    <a:cubicBezTo>
                                                                                      <a:pt x="559011" y="48683"/>
                                                                                      <a:pt x="547054" y="43126"/>
                                                                                      <a:pt x="547054" y="43126"/>
                                                                                    </a:cubicBezTo>
                                                                                    <a:lnTo>
                                                                                      <a:pt x="531197" y="48412"/>
                                                                                    </a:lnTo>
                                                                                    <a:lnTo>
                                                                                      <a:pt x="523269" y="51055"/>
                                                                                    </a:lnTo>
                                                                                    <a:cubicBezTo>
                                                                                      <a:pt x="515341" y="49734"/>
                                                                                      <a:pt x="498538" y="47780"/>
                                                                                      <a:pt x="491556" y="43126"/>
                                                                                    </a:cubicBezTo>
                                                                                    <a:cubicBezTo>
                                                                                      <a:pt x="488913" y="41364"/>
                                                                                      <a:pt x="486530" y="39131"/>
                                                                                      <a:pt x="483628" y="37841"/>
                                                                                    </a:cubicBezTo>
                                                                                    <a:cubicBezTo>
                                                                                      <a:pt x="471062" y="32256"/>
                                                                                      <a:pt x="465212" y="32129"/>
                                                                                      <a:pt x="451914" y="29912"/>
                                                                                    </a:cubicBezTo>
                                                                                    <a:cubicBezTo>
                                                                                      <a:pt x="429199" y="14769"/>
                                                                                      <a:pt x="457936" y="32922"/>
                                                                                      <a:pt x="436058" y="21984"/>
                                                                                    </a:cubicBezTo>
                                                                                    <a:cubicBezTo>
                                                                                      <a:pt x="425667" y="16789"/>
                                                                                      <a:pt x="431269" y="16270"/>
                                                                                      <a:pt x="420201" y="14056"/>
                                                                                    </a:cubicBezTo>
                                                                                    <a:cubicBezTo>
                                                                                      <a:pt x="414093" y="12834"/>
                                                                                      <a:pt x="407868" y="12294"/>
                                                                                      <a:pt x="401702" y="11413"/>
                                                                                    </a:cubicBezTo>
                                                                                    <a:cubicBezTo>
                                                                                      <a:pt x="400821" y="8770"/>
                                                                                      <a:pt x="401029" y="5455"/>
                                                                                      <a:pt x="399059" y="3485"/>
                                                                                    </a:cubicBezTo>
                                                                                    <a:cubicBezTo>
                                                                                      <a:pt x="397089" y="1515"/>
                                                                                      <a:pt x="392676" y="-1476"/>
                                                                                      <a:pt x="391130" y="842"/>
                                                                                    </a:cubicBezTo>
                                                                                    <a:cubicBezTo>
                                                                                      <a:pt x="389115" y="3864"/>
                                                                                      <a:pt x="391758" y="8391"/>
                                                                                      <a:pt x="393773" y="11413"/>
                                                                                    </a:cubicBezTo>
                                                                                    <a:cubicBezTo>
                                                                                      <a:pt x="396701" y="15805"/>
                                                                                      <a:pt x="405106" y="17833"/>
                                                                                      <a:pt x="409630" y="19341"/>
                                                                                    </a:cubicBezTo>
                                                                                    <a:cubicBezTo>
                                                                                      <a:pt x="411392" y="21984"/>
                                                                                      <a:pt x="413495" y="24429"/>
                                                                                      <a:pt x="414915" y="27270"/>
                                                                                    </a:cubicBezTo>
                                                                                    <a:cubicBezTo>
                                                                                      <a:pt x="416161" y="29762"/>
                                                                                      <a:pt x="416205" y="32763"/>
                                                                                      <a:pt x="417558" y="35198"/>
                                                                                    </a:cubicBezTo>
                                                                                    <a:cubicBezTo>
                                                                                      <a:pt x="420643" y="40751"/>
                                                                                      <a:pt x="424605" y="45769"/>
                                                                                      <a:pt x="428129" y="51055"/>
                                                                                    </a:cubicBezTo>
                                                                                    <a:lnTo>
                                                                                      <a:pt x="433415" y="58983"/>
                                                                                    </a:lnTo>
                                                                                    <a:cubicBezTo>
                                                                                      <a:pt x="435177" y="61626"/>
                                                                                      <a:pt x="436057" y="65149"/>
                                                                                      <a:pt x="438700" y="66911"/>
                                                                                    </a:cubicBezTo>
                                                                                    <a:lnTo>
                                                                                      <a:pt x="446629" y="72197"/>
                                                                                    </a:lnTo>
                                                                                    <a:cubicBezTo>
                                                                                      <a:pt x="447510" y="74840"/>
                                                                                      <a:pt x="449271" y="77339"/>
                                                                                      <a:pt x="449271" y="80125"/>
                                                                                    </a:cubicBezTo>
                                                                                    <a:cubicBezTo>
                                                                                      <a:pt x="449271" y="87449"/>
                                                                                      <a:pt x="444789" y="90633"/>
                                                                                      <a:pt x="438700" y="93339"/>
                                                                                    </a:cubicBezTo>
                                                                                    <a:cubicBezTo>
                                                                                      <a:pt x="433609" y="95602"/>
                                                                                      <a:pt x="422844" y="98625"/>
                                                                                      <a:pt x="422844" y="98625"/>
                                                                                    </a:cubicBezTo>
                                                                                    <a:cubicBezTo>
                                                                                      <a:pt x="421963" y="101268"/>
                                                                                      <a:pt x="419743" y="103805"/>
                                                                                      <a:pt x="420201" y="106553"/>
                                                                                    </a:cubicBezTo>
                                                                                    <a:cubicBezTo>
                                                                                      <a:pt x="421302" y="113160"/>
                                                                                      <a:pt x="428790" y="116684"/>
                                                                                      <a:pt x="433415" y="119767"/>
                                                                                    </a:cubicBezTo>
                                                                                    <a:cubicBezTo>
                                                                                      <a:pt x="434296" y="128576"/>
                                                                                      <a:pt x="433258" y="137795"/>
                                                                                      <a:pt x="436058" y="146194"/>
                                                                                    </a:cubicBezTo>
                                                                                    <a:cubicBezTo>
                                                                                      <a:pt x="437062" y="149207"/>
                                                                                      <a:pt x="441740" y="149234"/>
                                                                                      <a:pt x="443986" y="151480"/>
                                                                                    </a:cubicBezTo>
                                                                                    <a:cubicBezTo>
                                                                                      <a:pt x="446232" y="153726"/>
                                                                                      <a:pt x="447509" y="156765"/>
                                                                                      <a:pt x="449271" y="159408"/>
                                                                                    </a:cubicBezTo>
                                                                                    <a:cubicBezTo>
                                                                                      <a:pt x="446628" y="161170"/>
                                                                                      <a:pt x="444184" y="163273"/>
                                                                                      <a:pt x="441343" y="164694"/>
                                                                                    </a:cubicBezTo>
                                                                                    <a:cubicBezTo>
                                                                                      <a:pt x="438852" y="165940"/>
                                                                                      <a:pt x="435590" y="165597"/>
                                                                                      <a:pt x="433415" y="167337"/>
                                                                                    </a:cubicBezTo>
                                                                                    <a:cubicBezTo>
                                                                                      <a:pt x="430935" y="169321"/>
                                                                                      <a:pt x="429891" y="172622"/>
                                                                                      <a:pt x="428129" y="175265"/>
                                                                                    </a:cubicBezTo>
                                                                                    <a:cubicBezTo>
                                                                                      <a:pt x="429010" y="182312"/>
                                                                                      <a:pt x="426699" y="190589"/>
                                                                                      <a:pt x="430772" y="196407"/>
                                                                                    </a:cubicBezTo>
                                                                                    <a:cubicBezTo>
                                                                                      <a:pt x="433967" y="200971"/>
                                                                                      <a:pt x="441993" y="198603"/>
                                                                                      <a:pt x="446629" y="201693"/>
                                                                                    </a:cubicBezTo>
                                                                                    <a:cubicBezTo>
                                                                                      <a:pt x="466318" y="214818"/>
                                                                                      <a:pt x="442131" y="197946"/>
                                                                                      <a:pt x="462485" y="214907"/>
                                                                                    </a:cubicBezTo>
                                                                                    <a:cubicBezTo>
                                                                                      <a:pt x="464925" y="216940"/>
                                                                                      <a:pt x="467771" y="218430"/>
                                                                                      <a:pt x="470414" y="220192"/>
                                                                                    </a:cubicBezTo>
                                                                                    <a:cubicBezTo>
                                                                                      <a:pt x="484506" y="241332"/>
                                                                                      <a:pt x="466010" y="215788"/>
                                                                                      <a:pt x="483628" y="233406"/>
                                                                                    </a:cubicBezTo>
                                                                                    <a:cubicBezTo>
                                                                                      <a:pt x="485874" y="235652"/>
                                                                                      <a:pt x="486523" y="239243"/>
                                                                                      <a:pt x="488913" y="241334"/>
                                                                                    </a:cubicBezTo>
                                                                                    <a:cubicBezTo>
                                                                                      <a:pt x="493694" y="245517"/>
                                                                                      <a:pt x="504770" y="251905"/>
                                                                                      <a:pt x="504770" y="251905"/>
                                                                                    </a:cubicBezTo>
                                                                                    <a:cubicBezTo>
                                                                                      <a:pt x="506532" y="254548"/>
                                                                                      <a:pt x="508022" y="257394"/>
                                                                                      <a:pt x="510055" y="259834"/>
                                                                                    </a:cubicBezTo>
                                                                                    <a:cubicBezTo>
                                                                                      <a:pt x="512448" y="262705"/>
                                                                                      <a:pt x="516130" y="264517"/>
                                                                                      <a:pt x="517984" y="267762"/>
                                                                                    </a:cubicBezTo>
                                                                                    <a:cubicBezTo>
                                                                                      <a:pt x="519786" y="270915"/>
                                                                                      <a:pt x="519745" y="274809"/>
                                                                                      <a:pt x="520626" y="278333"/>
                                                                                    </a:cubicBezTo>
                                                                                    <a:cubicBezTo>
                                                                                      <a:pt x="513598" y="288877"/>
                                                                                      <a:pt x="515129" y="291747"/>
                                                                                      <a:pt x="496841" y="283619"/>
                                                                                    </a:cubicBezTo>
                                                                                    <a:cubicBezTo>
                                                                                      <a:pt x="493938" y="282329"/>
                                                                                      <a:pt x="493946" y="277782"/>
                                                                                      <a:pt x="491556" y="275690"/>
                                                                                    </a:cubicBezTo>
                                                                                    <a:cubicBezTo>
                                                                                      <a:pt x="480372" y="265904"/>
                                                                                      <a:pt x="478660" y="266106"/>
                                                                                      <a:pt x="467771" y="262477"/>
                                                                                    </a:cubicBezTo>
                                                                                    <a:cubicBezTo>
                                                                                      <a:pt x="461127" y="242546"/>
                                                                                      <a:pt x="470862" y="266341"/>
                                                                                      <a:pt x="457200" y="249263"/>
                                                                                    </a:cubicBezTo>
                                                                                    <a:cubicBezTo>
                                                                                      <a:pt x="446774" y="236230"/>
                                                                                      <a:pt x="465909" y="244171"/>
                                                                                      <a:pt x="443986" y="238692"/>
                                                                                    </a:cubicBezTo>
                                                                                    <a:cubicBezTo>
                                                                                      <a:pt x="438700" y="235168"/>
                                                                                      <a:pt x="431653" y="233406"/>
                                                                                      <a:pt x="428129" y="228120"/>
                                                                                    </a:cubicBezTo>
                                                                                    <a:cubicBezTo>
                                                                                      <a:pt x="426367" y="225477"/>
                                                                                      <a:pt x="425324" y="222176"/>
                                                                                      <a:pt x="422844" y="220192"/>
                                                                                    </a:cubicBezTo>
                                                                                    <a:cubicBezTo>
                                                                                      <a:pt x="420134" y="218024"/>
                                                                                      <a:pt x="402363" y="215039"/>
                                                                                      <a:pt x="401702" y="214907"/>
                                                                                    </a:cubicBezTo>
                                                                                    <a:cubicBezTo>
                                                                                      <a:pt x="399059" y="213145"/>
                                                                                      <a:pt x="396906" y="210143"/>
                                                                                      <a:pt x="393773" y="209621"/>
                                                                                    </a:cubicBezTo>
                                                                                    <a:cubicBezTo>
                                                                                      <a:pt x="386115" y="208345"/>
                                                                                      <a:pt x="383647" y="215561"/>
                                                                                      <a:pt x="380559" y="220192"/>
                                                                                    </a:cubicBezTo>
                                                                                    <a:cubicBezTo>
                                                                                      <a:pt x="383666" y="238831"/>
                                                                                      <a:pt x="386667" y="249028"/>
                                                                                      <a:pt x="380559" y="270405"/>
                                                                                    </a:cubicBezTo>
                                                                                    <a:cubicBezTo>
                                                                                      <a:pt x="379794" y="273083"/>
                                                                                      <a:pt x="375274" y="272167"/>
                                                                                      <a:pt x="372631" y="273048"/>
                                                                                    </a:cubicBezTo>
                                                                                    <a:cubicBezTo>
                                                                                      <a:pt x="371016" y="268205"/>
                                                                                      <a:pt x="367770" y="253831"/>
                                                                                      <a:pt x="362060" y="249263"/>
                                                                                    </a:cubicBezTo>
                                                                                    <a:cubicBezTo>
                                                                                      <a:pt x="359885" y="247523"/>
                                                                                      <a:pt x="356775" y="247501"/>
                                                                                      <a:pt x="354132" y="246620"/>
                                                                                    </a:cubicBezTo>
                                                                                    <a:lnTo>
                                                                                      <a:pt x="348846" y="262477"/>
                                                                                    </a:lnTo>
                                                                                    <a:lnTo>
                                                                                      <a:pt x="346203" y="270405"/>
                                                                                    </a:lnTo>
                                                                                    <a:cubicBezTo>
                                                                                      <a:pt x="316653" y="267450"/>
                                                                                      <a:pt x="316984" y="276361"/>
                                                                                      <a:pt x="322418" y="251905"/>
                                                                                    </a:cubicBezTo>
                                                                                    <a:cubicBezTo>
                                                                                      <a:pt x="323022" y="249186"/>
                                                                                      <a:pt x="324180" y="246620"/>
                                                                                      <a:pt x="325061" y="243977"/>
                                                                                    </a:cubicBezTo>
                                                                                    <a:cubicBezTo>
                                                                                      <a:pt x="324180" y="237811"/>
                                                                                      <a:pt x="325443" y="230923"/>
                                                                                      <a:pt x="322418" y="225478"/>
                                                                                    </a:cubicBezTo>
                                                                                    <a:cubicBezTo>
                                                                                      <a:pt x="320505" y="222034"/>
                                                                                      <a:pt x="315505" y="221655"/>
                                                                                      <a:pt x="311847" y="220192"/>
                                                                                    </a:cubicBezTo>
                                                                                    <a:cubicBezTo>
                                                                                      <a:pt x="306674" y="218123"/>
                                                                                      <a:pt x="301276" y="216669"/>
                                                                                      <a:pt x="295991" y="214907"/>
                                                                                    </a:cubicBezTo>
                                                                                    <a:lnTo>
                                                                                      <a:pt x="280134" y="209621"/>
                                                                                    </a:lnTo>
                                                                                    <a:cubicBezTo>
                                                                                      <a:pt x="277491" y="208740"/>
                                                                                      <a:pt x="274524" y="208523"/>
                                                                                      <a:pt x="272206" y="206978"/>
                                                                                    </a:cubicBezTo>
                                                                                    <a:cubicBezTo>
                                                                                      <a:pt x="269563" y="205216"/>
                                                                                      <a:pt x="267180" y="202983"/>
                                                                                      <a:pt x="264277" y="201693"/>
                                                                                    </a:cubicBezTo>
                                                                                    <a:cubicBezTo>
                                                                                      <a:pt x="259186" y="199430"/>
                                                                                      <a:pt x="248421" y="196407"/>
                                                                                      <a:pt x="248421" y="196407"/>
                                                                                    </a:cubicBezTo>
                                                                                    <a:cubicBezTo>
                                                                                      <a:pt x="242379" y="214532"/>
                                                                                      <a:pt x="249514" y="192036"/>
                                                                                      <a:pt x="243135" y="217549"/>
                                                                                    </a:cubicBezTo>
                                                                                    <a:cubicBezTo>
                                                                                      <a:pt x="242459" y="220252"/>
                                                                                      <a:pt x="242462" y="223508"/>
                                                                                      <a:pt x="240492" y="225478"/>
                                                                                    </a:cubicBezTo>
                                                                                    <a:cubicBezTo>
                                                                                      <a:pt x="236000" y="229970"/>
                                                                                      <a:pt x="224636" y="236049"/>
                                                                                      <a:pt x="224636" y="236049"/>
                                                                                    </a:cubicBezTo>
                                                                                    <a:cubicBezTo>
                                                                                      <a:pt x="223755" y="238692"/>
                                                                                      <a:pt x="223239" y="241486"/>
                                                                                      <a:pt x="221993" y="243977"/>
                                                                                    </a:cubicBezTo>
                                                                                    <a:cubicBezTo>
                                                                                      <a:pt x="220572" y="246818"/>
                                                                                      <a:pt x="217156" y="248761"/>
                                                                                      <a:pt x="216707" y="251905"/>
                                                                                    </a:cubicBezTo>
                                                                                    <a:cubicBezTo>
                                                                                      <a:pt x="216193" y="255501"/>
                                                                                      <a:pt x="203494" y="243096"/>
                                                                                      <a:pt x="200851" y="241334"/>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2" name="Freeform 271"/>
                                                                              <p:cNvSpPr/>
                                                                              <p:nvPr/>
                                                                            </p:nvSpPr>
                                                                            <p:spPr>
                                                                              <a:xfrm>
                                                                                <a:off x="3906021" y="3242684"/>
                                                                                <a:ext cx="50271" cy="64135"/>
                                                                              </a:xfrm>
                                                                              <a:custGeom>
                                                                                <a:avLst/>
                                                                                <a:gdLst>
                                                                                  <a:gd name="connsiteX0" fmla="*/ 23785 w 50271"/>
                                                                                  <a:gd name="connsiteY0" fmla="*/ 0 h 64135"/>
                                                                                  <a:gd name="connsiteX1" fmla="*/ 23785 w 50271"/>
                                                                                  <a:gd name="connsiteY1" fmla="*/ 0 h 64135"/>
                                                                                  <a:gd name="connsiteX2" fmla="*/ 2643 w 50271"/>
                                                                                  <a:gd name="connsiteY2" fmla="*/ 26428 h 64135"/>
                                                                                  <a:gd name="connsiteX3" fmla="*/ 0 w 50271"/>
                                                                                  <a:gd name="connsiteY3" fmla="*/ 34356 h 64135"/>
                                                                                  <a:gd name="connsiteX4" fmla="*/ 2643 w 50271"/>
                                                                                  <a:gd name="connsiteY4" fmla="*/ 52856 h 64135"/>
                                                                                  <a:gd name="connsiteX5" fmla="*/ 5285 w 50271"/>
                                                                                  <a:gd name="connsiteY5" fmla="*/ 60784 h 64135"/>
                                                                                  <a:gd name="connsiteX6" fmla="*/ 13214 w 50271"/>
                                                                                  <a:gd name="connsiteY6" fmla="*/ 63427 h 64135"/>
                                                                                  <a:gd name="connsiteX7" fmla="*/ 47570 w 50271"/>
                                                                                  <a:gd name="connsiteY7" fmla="*/ 60784 h 64135"/>
                                                                                  <a:gd name="connsiteX8" fmla="*/ 42284 w 50271"/>
                                                                                  <a:gd name="connsiteY8" fmla="*/ 44928 h 64135"/>
                                                                                  <a:gd name="connsiteX9" fmla="*/ 44927 w 50271"/>
                                                                                  <a:gd name="connsiteY9" fmla="*/ 36999 h 64135"/>
                                                                                  <a:gd name="connsiteX10" fmla="*/ 50213 w 50271"/>
                                                                                  <a:gd name="connsiteY10" fmla="*/ 29071 h 64135"/>
                                                                                  <a:gd name="connsiteX11" fmla="*/ 42284 w 50271"/>
                                                                                  <a:gd name="connsiteY11" fmla="*/ 23785 h 64135"/>
                                                                                  <a:gd name="connsiteX12" fmla="*/ 26428 w 50271"/>
                                                                                  <a:gd name="connsiteY12" fmla="*/ 18500 h 64135"/>
                                                                                  <a:gd name="connsiteX13" fmla="*/ 23785 w 50271"/>
                                                                                  <a:gd name="connsiteY13" fmla="*/ 0 h 6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71" h="64135">
                                                                                    <a:moveTo>
                                                                                      <a:pt x="23785" y="0"/>
                                                                                    </a:moveTo>
                                                                                    <a:lnTo>
                                                                                      <a:pt x="23785" y="0"/>
                                                                                    </a:lnTo>
                                                                                    <a:cubicBezTo>
                                                                                      <a:pt x="20880" y="3389"/>
                                                                                      <a:pt x="6560" y="18594"/>
                                                                                      <a:pt x="2643" y="26428"/>
                                                                                    </a:cubicBezTo>
                                                                                    <a:cubicBezTo>
                                                                                      <a:pt x="1397" y="28920"/>
                                                                                      <a:pt x="881" y="31713"/>
                                                                                      <a:pt x="0" y="34356"/>
                                                                                    </a:cubicBezTo>
                                                                                    <a:cubicBezTo>
                                                                                      <a:pt x="881" y="40523"/>
                                                                                      <a:pt x="1421" y="46748"/>
                                                                                      <a:pt x="2643" y="52856"/>
                                                                                    </a:cubicBezTo>
                                                                                    <a:cubicBezTo>
                                                                                      <a:pt x="3189" y="55587"/>
                                                                                      <a:pt x="3315" y="58814"/>
                                                                                      <a:pt x="5285" y="60784"/>
                                                                                    </a:cubicBezTo>
                                                                                    <a:cubicBezTo>
                                                                                      <a:pt x="7255" y="62754"/>
                                                                                      <a:pt x="10571" y="62546"/>
                                                                                      <a:pt x="13214" y="63427"/>
                                                                                    </a:cubicBezTo>
                                                                                    <a:cubicBezTo>
                                                                                      <a:pt x="24666" y="62546"/>
                                                                                      <a:pt x="37880" y="66950"/>
                                                                                      <a:pt x="47570" y="60784"/>
                                                                                    </a:cubicBezTo>
                                                                                    <a:cubicBezTo>
                                                                                      <a:pt x="52270" y="57793"/>
                                                                                      <a:pt x="42284" y="44928"/>
                                                                                      <a:pt x="42284" y="44928"/>
                                                                                    </a:cubicBezTo>
                                                                                    <a:cubicBezTo>
                                                                                      <a:pt x="43165" y="42285"/>
                                                                                      <a:pt x="43681" y="39491"/>
                                                                                      <a:pt x="44927" y="36999"/>
                                                                                    </a:cubicBezTo>
                                                                                    <a:cubicBezTo>
                                                                                      <a:pt x="46348" y="34158"/>
                                                                                      <a:pt x="50836" y="32186"/>
                                                                                      <a:pt x="50213" y="29071"/>
                                                                                    </a:cubicBezTo>
                                                                                    <a:cubicBezTo>
                                                                                      <a:pt x="49590" y="25956"/>
                                                                                      <a:pt x="45187" y="25075"/>
                                                                                      <a:pt x="42284" y="23785"/>
                                                                                    </a:cubicBezTo>
                                                                                    <a:cubicBezTo>
                                                                                      <a:pt x="37193" y="21522"/>
                                                                                      <a:pt x="26428" y="18500"/>
                                                                                      <a:pt x="26428" y="18500"/>
                                                                                    </a:cubicBezTo>
                                                                                    <a:cubicBezTo>
                                                                                      <a:pt x="23228" y="8899"/>
                                                                                      <a:pt x="24225" y="3083"/>
                                                                                      <a:pt x="23785"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sp>
                                                                      <p:nvSpPr>
                                                                        <p:cNvPr id="266" name="Freeform 265"/>
                                                                        <p:cNvSpPr/>
                                                                        <p:nvPr/>
                                                                      </p:nvSpPr>
                                                                      <p:spPr>
                                                                        <a:xfrm>
                                                                          <a:off x="3710455" y="3911306"/>
                                                                          <a:ext cx="787547" cy="457237"/>
                                                                        </a:xfrm>
                                                                        <a:custGeom>
                                                                          <a:avLst/>
                                                                          <a:gdLst>
                                                                            <a:gd name="connsiteX0" fmla="*/ 343561 w 787547"/>
                                                                            <a:gd name="connsiteY0" fmla="*/ 21143 h 457237"/>
                                                                            <a:gd name="connsiteX1" fmla="*/ 343561 w 787547"/>
                                                                            <a:gd name="connsiteY1" fmla="*/ 21143 h 457237"/>
                                                                            <a:gd name="connsiteX2" fmla="*/ 325062 w 787547"/>
                                                                            <a:gd name="connsiteY2" fmla="*/ 44928 h 457237"/>
                                                                            <a:gd name="connsiteX3" fmla="*/ 311848 w 787547"/>
                                                                            <a:gd name="connsiteY3" fmla="*/ 42285 h 457237"/>
                                                                            <a:gd name="connsiteX4" fmla="*/ 290706 w 787547"/>
                                                                            <a:gd name="connsiteY4" fmla="*/ 23785 h 457237"/>
                                                                            <a:gd name="connsiteX5" fmla="*/ 282777 w 787547"/>
                                                                            <a:gd name="connsiteY5" fmla="*/ 15857 h 457237"/>
                                                                            <a:gd name="connsiteX6" fmla="*/ 277492 w 787547"/>
                                                                            <a:gd name="connsiteY6" fmla="*/ 7929 h 457237"/>
                                                                            <a:gd name="connsiteX7" fmla="*/ 261635 w 787547"/>
                                                                            <a:gd name="connsiteY7" fmla="*/ 0 h 457237"/>
                                                                            <a:gd name="connsiteX8" fmla="*/ 245779 w 787547"/>
                                                                            <a:gd name="connsiteY8" fmla="*/ 5286 h 457237"/>
                                                                            <a:gd name="connsiteX9" fmla="*/ 235207 w 787547"/>
                                                                            <a:gd name="connsiteY9" fmla="*/ 21143 h 457237"/>
                                                                            <a:gd name="connsiteX10" fmla="*/ 227279 w 787547"/>
                                                                            <a:gd name="connsiteY10" fmla="*/ 26428 h 457237"/>
                                                                            <a:gd name="connsiteX11" fmla="*/ 200851 w 787547"/>
                                                                            <a:gd name="connsiteY11" fmla="*/ 34356 h 457237"/>
                                                                            <a:gd name="connsiteX12" fmla="*/ 179709 w 787547"/>
                                                                            <a:gd name="connsiteY12" fmla="*/ 47570 h 457237"/>
                                                                            <a:gd name="connsiteX13" fmla="*/ 171781 w 787547"/>
                                                                            <a:gd name="connsiteY13" fmla="*/ 50213 h 457237"/>
                                                                            <a:gd name="connsiteX14" fmla="*/ 163853 w 787547"/>
                                                                            <a:gd name="connsiteY14" fmla="*/ 52856 h 457237"/>
                                                                            <a:gd name="connsiteX15" fmla="*/ 158567 w 787547"/>
                                                                            <a:gd name="connsiteY15" fmla="*/ 60784 h 457237"/>
                                                                            <a:gd name="connsiteX16" fmla="*/ 126854 w 787547"/>
                                                                            <a:gd name="connsiteY16" fmla="*/ 76641 h 457237"/>
                                                                            <a:gd name="connsiteX17" fmla="*/ 118925 w 787547"/>
                                                                            <a:gd name="connsiteY17" fmla="*/ 79284 h 457237"/>
                                                                            <a:gd name="connsiteX18" fmla="*/ 110997 w 787547"/>
                                                                            <a:gd name="connsiteY18" fmla="*/ 81926 h 457237"/>
                                                                            <a:gd name="connsiteX19" fmla="*/ 95140 w 787547"/>
                                                                            <a:gd name="connsiteY19" fmla="*/ 92497 h 457237"/>
                                                                            <a:gd name="connsiteX20" fmla="*/ 50213 w 787547"/>
                                                                            <a:gd name="connsiteY20" fmla="*/ 95140 h 457237"/>
                                                                            <a:gd name="connsiteX21" fmla="*/ 39642 w 787547"/>
                                                                            <a:gd name="connsiteY21" fmla="*/ 105711 h 457237"/>
                                                                            <a:gd name="connsiteX22" fmla="*/ 15857 w 787547"/>
                                                                            <a:gd name="connsiteY22" fmla="*/ 110997 h 457237"/>
                                                                            <a:gd name="connsiteX23" fmla="*/ 2643 w 787547"/>
                                                                            <a:gd name="connsiteY23" fmla="*/ 113640 h 457237"/>
                                                                            <a:gd name="connsiteX24" fmla="*/ 0 w 787547"/>
                                                                            <a:gd name="connsiteY24" fmla="*/ 121568 h 457237"/>
                                                                            <a:gd name="connsiteX25" fmla="*/ 7929 w 787547"/>
                                                                            <a:gd name="connsiteY25" fmla="*/ 142710 h 457237"/>
                                                                            <a:gd name="connsiteX26" fmla="*/ 15857 w 787547"/>
                                                                            <a:gd name="connsiteY26" fmla="*/ 147996 h 457237"/>
                                                                            <a:gd name="connsiteX27" fmla="*/ 21143 w 787547"/>
                                                                            <a:gd name="connsiteY27" fmla="*/ 155924 h 457237"/>
                                                                            <a:gd name="connsiteX28" fmla="*/ 29071 w 787547"/>
                                                                            <a:gd name="connsiteY28" fmla="*/ 158567 h 457237"/>
                                                                            <a:gd name="connsiteX29" fmla="*/ 36999 w 787547"/>
                                                                            <a:gd name="connsiteY29" fmla="*/ 163852 h 457237"/>
                                                                            <a:gd name="connsiteX30" fmla="*/ 36999 w 787547"/>
                                                                            <a:gd name="connsiteY30" fmla="*/ 198208 h 457237"/>
                                                                            <a:gd name="connsiteX31" fmla="*/ 31714 w 787547"/>
                                                                            <a:gd name="connsiteY31" fmla="*/ 214065 h 457237"/>
                                                                            <a:gd name="connsiteX32" fmla="*/ 31714 w 787547"/>
                                                                            <a:gd name="connsiteY32" fmla="*/ 245778 h 457237"/>
                                                                            <a:gd name="connsiteX33" fmla="*/ 42285 w 787547"/>
                                                                            <a:gd name="connsiteY33" fmla="*/ 269563 h 457237"/>
                                                                            <a:gd name="connsiteX34" fmla="*/ 60784 w 787547"/>
                                                                            <a:gd name="connsiteY34" fmla="*/ 282777 h 457237"/>
                                                                            <a:gd name="connsiteX35" fmla="*/ 68713 w 787547"/>
                                                                            <a:gd name="connsiteY35" fmla="*/ 285420 h 457237"/>
                                                                            <a:gd name="connsiteX36" fmla="*/ 87212 w 787547"/>
                                                                            <a:gd name="connsiteY36" fmla="*/ 293348 h 457237"/>
                                                                            <a:gd name="connsiteX37" fmla="*/ 89855 w 787547"/>
                                                                            <a:gd name="connsiteY37" fmla="*/ 301277 h 457237"/>
                                                                            <a:gd name="connsiteX38" fmla="*/ 84569 w 787547"/>
                                                                            <a:gd name="connsiteY38" fmla="*/ 325062 h 457237"/>
                                                                            <a:gd name="connsiteX39" fmla="*/ 92498 w 787547"/>
                                                                            <a:gd name="connsiteY39" fmla="*/ 330347 h 457237"/>
                                                                            <a:gd name="connsiteX40" fmla="*/ 108354 w 787547"/>
                                                                            <a:gd name="connsiteY40" fmla="*/ 332990 h 457237"/>
                                                                            <a:gd name="connsiteX41" fmla="*/ 116283 w 787547"/>
                                                                            <a:gd name="connsiteY41" fmla="*/ 335633 h 457237"/>
                                                                            <a:gd name="connsiteX42" fmla="*/ 124211 w 787547"/>
                                                                            <a:gd name="connsiteY42" fmla="*/ 343561 h 457237"/>
                                                                            <a:gd name="connsiteX43" fmla="*/ 132139 w 787547"/>
                                                                            <a:gd name="connsiteY43" fmla="*/ 348847 h 457237"/>
                                                                            <a:gd name="connsiteX44" fmla="*/ 142710 w 787547"/>
                                                                            <a:gd name="connsiteY44" fmla="*/ 364703 h 457237"/>
                                                                            <a:gd name="connsiteX45" fmla="*/ 147996 w 787547"/>
                                                                            <a:gd name="connsiteY45" fmla="*/ 372632 h 457237"/>
                                                                            <a:gd name="connsiteX46" fmla="*/ 163853 w 787547"/>
                                                                            <a:gd name="connsiteY46" fmla="*/ 383203 h 457237"/>
                                                                            <a:gd name="connsiteX47" fmla="*/ 171781 w 787547"/>
                                                                            <a:gd name="connsiteY47" fmla="*/ 399059 h 457237"/>
                                                                            <a:gd name="connsiteX48" fmla="*/ 174424 w 787547"/>
                                                                            <a:gd name="connsiteY48" fmla="*/ 406988 h 457237"/>
                                                                            <a:gd name="connsiteX49" fmla="*/ 184995 w 787547"/>
                                                                            <a:gd name="connsiteY49" fmla="*/ 422844 h 457237"/>
                                                                            <a:gd name="connsiteX50" fmla="*/ 190280 w 787547"/>
                                                                            <a:gd name="connsiteY50" fmla="*/ 430773 h 457237"/>
                                                                            <a:gd name="connsiteX51" fmla="*/ 198209 w 787547"/>
                                                                            <a:gd name="connsiteY51" fmla="*/ 433415 h 457237"/>
                                                                            <a:gd name="connsiteX52" fmla="*/ 203494 w 787547"/>
                                                                            <a:gd name="connsiteY52" fmla="*/ 441344 h 457237"/>
                                                                            <a:gd name="connsiteX53" fmla="*/ 219351 w 787547"/>
                                                                            <a:gd name="connsiteY53" fmla="*/ 446629 h 457237"/>
                                                                            <a:gd name="connsiteX54" fmla="*/ 229922 w 787547"/>
                                                                            <a:gd name="connsiteY54" fmla="*/ 443986 h 457237"/>
                                                                            <a:gd name="connsiteX55" fmla="*/ 237850 w 787547"/>
                                                                            <a:gd name="connsiteY55" fmla="*/ 441344 h 457237"/>
                                                                            <a:gd name="connsiteX56" fmla="*/ 258992 w 787547"/>
                                                                            <a:gd name="connsiteY56" fmla="*/ 443986 h 457237"/>
                                                                            <a:gd name="connsiteX57" fmla="*/ 274849 w 787547"/>
                                                                            <a:gd name="connsiteY57" fmla="*/ 451915 h 457237"/>
                                                                            <a:gd name="connsiteX58" fmla="*/ 285420 w 787547"/>
                                                                            <a:gd name="connsiteY58" fmla="*/ 449272 h 457237"/>
                                                                            <a:gd name="connsiteX59" fmla="*/ 290706 w 787547"/>
                                                                            <a:gd name="connsiteY59" fmla="*/ 441344 h 457237"/>
                                                                            <a:gd name="connsiteX60" fmla="*/ 295991 w 787547"/>
                                                                            <a:gd name="connsiteY60" fmla="*/ 425487 h 457237"/>
                                                                            <a:gd name="connsiteX61" fmla="*/ 311848 w 787547"/>
                                                                            <a:gd name="connsiteY61" fmla="*/ 414916 h 457237"/>
                                                                            <a:gd name="connsiteX62" fmla="*/ 322419 w 787547"/>
                                                                            <a:gd name="connsiteY62" fmla="*/ 383203 h 457237"/>
                                                                            <a:gd name="connsiteX63" fmla="*/ 325062 w 787547"/>
                                                                            <a:gd name="connsiteY63" fmla="*/ 375274 h 457237"/>
                                                                            <a:gd name="connsiteX64" fmla="*/ 332990 w 787547"/>
                                                                            <a:gd name="connsiteY64" fmla="*/ 372632 h 457237"/>
                                                                            <a:gd name="connsiteX65" fmla="*/ 348847 w 787547"/>
                                                                            <a:gd name="connsiteY65" fmla="*/ 385845 h 457237"/>
                                                                            <a:gd name="connsiteX66" fmla="*/ 385846 w 787547"/>
                                                                            <a:gd name="connsiteY66" fmla="*/ 393774 h 457237"/>
                                                                            <a:gd name="connsiteX67" fmla="*/ 409631 w 787547"/>
                                                                            <a:gd name="connsiteY67" fmla="*/ 401702 h 457237"/>
                                                                            <a:gd name="connsiteX68" fmla="*/ 417559 w 787547"/>
                                                                            <a:gd name="connsiteY68" fmla="*/ 404345 h 457237"/>
                                                                            <a:gd name="connsiteX69" fmla="*/ 443987 w 787547"/>
                                                                            <a:gd name="connsiteY69" fmla="*/ 412273 h 457237"/>
                                                                            <a:gd name="connsiteX70" fmla="*/ 459843 w 787547"/>
                                                                            <a:gd name="connsiteY70" fmla="*/ 420202 h 457237"/>
                                                                            <a:gd name="connsiteX71" fmla="*/ 475700 w 787547"/>
                                                                            <a:gd name="connsiteY71" fmla="*/ 425487 h 457237"/>
                                                                            <a:gd name="connsiteX72" fmla="*/ 494199 w 787547"/>
                                                                            <a:gd name="connsiteY72" fmla="*/ 420202 h 457237"/>
                                                                            <a:gd name="connsiteX73" fmla="*/ 504770 w 787547"/>
                                                                            <a:gd name="connsiteY73" fmla="*/ 422844 h 457237"/>
                                                                            <a:gd name="connsiteX74" fmla="*/ 520627 w 787547"/>
                                                                            <a:gd name="connsiteY74" fmla="*/ 433415 h 457237"/>
                                                                            <a:gd name="connsiteX75" fmla="*/ 544412 w 787547"/>
                                                                            <a:gd name="connsiteY75" fmla="*/ 443986 h 457237"/>
                                                                            <a:gd name="connsiteX76" fmla="*/ 557626 w 787547"/>
                                                                            <a:gd name="connsiteY76" fmla="*/ 457200 h 457237"/>
                                                                            <a:gd name="connsiteX77" fmla="*/ 568197 w 787547"/>
                                                                            <a:gd name="connsiteY77" fmla="*/ 449272 h 457237"/>
                                                                            <a:gd name="connsiteX78" fmla="*/ 576125 w 787547"/>
                                                                            <a:gd name="connsiteY78" fmla="*/ 446629 h 457237"/>
                                                                            <a:gd name="connsiteX79" fmla="*/ 581411 w 787547"/>
                                                                            <a:gd name="connsiteY79" fmla="*/ 438701 h 457237"/>
                                                                            <a:gd name="connsiteX80" fmla="*/ 584054 w 787547"/>
                                                                            <a:gd name="connsiteY80" fmla="*/ 430773 h 457237"/>
                                                                            <a:gd name="connsiteX81" fmla="*/ 591982 w 787547"/>
                                                                            <a:gd name="connsiteY81" fmla="*/ 425487 h 457237"/>
                                                                            <a:gd name="connsiteX82" fmla="*/ 602553 w 787547"/>
                                                                            <a:gd name="connsiteY82" fmla="*/ 412273 h 457237"/>
                                                                            <a:gd name="connsiteX83" fmla="*/ 626338 w 787547"/>
                                                                            <a:gd name="connsiteY83" fmla="*/ 393774 h 457237"/>
                                                                            <a:gd name="connsiteX84" fmla="*/ 650123 w 787547"/>
                                                                            <a:gd name="connsiteY84" fmla="*/ 385845 h 457237"/>
                                                                            <a:gd name="connsiteX85" fmla="*/ 671265 w 787547"/>
                                                                            <a:gd name="connsiteY85" fmla="*/ 380560 h 457237"/>
                                                                            <a:gd name="connsiteX86" fmla="*/ 716192 w 787547"/>
                                                                            <a:gd name="connsiteY86" fmla="*/ 375274 h 457237"/>
                                                                            <a:gd name="connsiteX87" fmla="*/ 724121 w 787547"/>
                                                                            <a:gd name="connsiteY87" fmla="*/ 372632 h 457237"/>
                                                                            <a:gd name="connsiteX88" fmla="*/ 747906 w 787547"/>
                                                                            <a:gd name="connsiteY88" fmla="*/ 354132 h 457237"/>
                                                                            <a:gd name="connsiteX89" fmla="*/ 763762 w 787547"/>
                                                                            <a:gd name="connsiteY89" fmla="*/ 346204 h 457237"/>
                                                                            <a:gd name="connsiteX90" fmla="*/ 769048 w 787547"/>
                                                                            <a:gd name="connsiteY90" fmla="*/ 338276 h 457237"/>
                                                                            <a:gd name="connsiteX91" fmla="*/ 776976 w 787547"/>
                                                                            <a:gd name="connsiteY91" fmla="*/ 335633 h 457237"/>
                                                                            <a:gd name="connsiteX92" fmla="*/ 784905 w 787547"/>
                                                                            <a:gd name="connsiteY92" fmla="*/ 330347 h 457237"/>
                                                                            <a:gd name="connsiteX93" fmla="*/ 787547 w 787547"/>
                                                                            <a:gd name="connsiteY93" fmla="*/ 322419 h 457237"/>
                                                                            <a:gd name="connsiteX94" fmla="*/ 782262 w 787547"/>
                                                                            <a:gd name="connsiteY94" fmla="*/ 301277 h 457237"/>
                                                                            <a:gd name="connsiteX95" fmla="*/ 771691 w 787547"/>
                                                                            <a:gd name="connsiteY95" fmla="*/ 285420 h 457237"/>
                                                                            <a:gd name="connsiteX96" fmla="*/ 761120 w 787547"/>
                                                                            <a:gd name="connsiteY96" fmla="*/ 269563 h 457237"/>
                                                                            <a:gd name="connsiteX97" fmla="*/ 750548 w 787547"/>
                                                                            <a:gd name="connsiteY97" fmla="*/ 245778 h 457237"/>
                                                                            <a:gd name="connsiteX98" fmla="*/ 739977 w 787547"/>
                                                                            <a:gd name="connsiteY98" fmla="*/ 227279 h 457237"/>
                                                                            <a:gd name="connsiteX99" fmla="*/ 724121 w 787547"/>
                                                                            <a:gd name="connsiteY99" fmla="*/ 221993 h 457237"/>
                                                                            <a:gd name="connsiteX100" fmla="*/ 716192 w 787547"/>
                                                                            <a:gd name="connsiteY100" fmla="*/ 219351 h 457237"/>
                                                                            <a:gd name="connsiteX101" fmla="*/ 692407 w 787547"/>
                                                                            <a:gd name="connsiteY101" fmla="*/ 206137 h 457237"/>
                                                                            <a:gd name="connsiteX102" fmla="*/ 681836 w 787547"/>
                                                                            <a:gd name="connsiteY102" fmla="*/ 216708 h 457237"/>
                                                                            <a:gd name="connsiteX103" fmla="*/ 673908 w 787547"/>
                                                                            <a:gd name="connsiteY103" fmla="*/ 221993 h 457237"/>
                                                                            <a:gd name="connsiteX104" fmla="*/ 673908 w 787547"/>
                                                                            <a:gd name="connsiteY104" fmla="*/ 221993 h 457237"/>
                                                                            <a:gd name="connsiteX105" fmla="*/ 655409 w 787547"/>
                                                                            <a:gd name="connsiteY105" fmla="*/ 206137 h 457237"/>
                                                                            <a:gd name="connsiteX106" fmla="*/ 647480 w 787547"/>
                                                                            <a:gd name="connsiteY106" fmla="*/ 203494 h 457237"/>
                                                                            <a:gd name="connsiteX107" fmla="*/ 631624 w 787547"/>
                                                                            <a:gd name="connsiteY107" fmla="*/ 195566 h 457237"/>
                                                                            <a:gd name="connsiteX108" fmla="*/ 636909 w 787547"/>
                                                                            <a:gd name="connsiteY108" fmla="*/ 187637 h 457237"/>
                                                                            <a:gd name="connsiteX109" fmla="*/ 647480 w 787547"/>
                                                                            <a:gd name="connsiteY109" fmla="*/ 177066 h 457237"/>
                                                                            <a:gd name="connsiteX110" fmla="*/ 628981 w 787547"/>
                                                                            <a:gd name="connsiteY110" fmla="*/ 171781 h 457237"/>
                                                                            <a:gd name="connsiteX111" fmla="*/ 613124 w 787547"/>
                                                                            <a:gd name="connsiteY111" fmla="*/ 177066 h 457237"/>
                                                                            <a:gd name="connsiteX112" fmla="*/ 602553 w 787547"/>
                                                                            <a:gd name="connsiteY112" fmla="*/ 166495 h 457237"/>
                                                                            <a:gd name="connsiteX113" fmla="*/ 594625 w 787547"/>
                                                                            <a:gd name="connsiteY113" fmla="*/ 161210 h 457237"/>
                                                                            <a:gd name="connsiteX114" fmla="*/ 581411 w 787547"/>
                                                                            <a:gd name="connsiteY114" fmla="*/ 137425 h 457237"/>
                                                                            <a:gd name="connsiteX115" fmla="*/ 573483 w 787547"/>
                                                                            <a:gd name="connsiteY115" fmla="*/ 132139 h 457237"/>
                                                                            <a:gd name="connsiteX116" fmla="*/ 562911 w 787547"/>
                                                                            <a:gd name="connsiteY116" fmla="*/ 158567 h 457237"/>
                                                                            <a:gd name="connsiteX117" fmla="*/ 549698 w 787547"/>
                                                                            <a:gd name="connsiteY117" fmla="*/ 169138 h 457237"/>
                                                                            <a:gd name="connsiteX118" fmla="*/ 544412 w 787547"/>
                                                                            <a:gd name="connsiteY118" fmla="*/ 177066 h 457237"/>
                                                                            <a:gd name="connsiteX119" fmla="*/ 528555 w 787547"/>
                                                                            <a:gd name="connsiteY119" fmla="*/ 184995 h 457237"/>
                                                                            <a:gd name="connsiteX120" fmla="*/ 520627 w 787547"/>
                                                                            <a:gd name="connsiteY120" fmla="*/ 179709 h 457237"/>
                                                                            <a:gd name="connsiteX121" fmla="*/ 515342 w 787547"/>
                                                                            <a:gd name="connsiteY121" fmla="*/ 163852 h 457237"/>
                                                                            <a:gd name="connsiteX122" fmla="*/ 507413 w 787547"/>
                                                                            <a:gd name="connsiteY122" fmla="*/ 158567 h 457237"/>
                                                                            <a:gd name="connsiteX123" fmla="*/ 504770 w 787547"/>
                                                                            <a:gd name="connsiteY123" fmla="*/ 150639 h 457237"/>
                                                                            <a:gd name="connsiteX124" fmla="*/ 488914 w 787547"/>
                                                                            <a:gd name="connsiteY124" fmla="*/ 142710 h 457237"/>
                                                                            <a:gd name="connsiteX125" fmla="*/ 480985 w 787547"/>
                                                                            <a:gd name="connsiteY125" fmla="*/ 137425 h 457237"/>
                                                                            <a:gd name="connsiteX126" fmla="*/ 478343 w 787547"/>
                                                                            <a:gd name="connsiteY126" fmla="*/ 129496 h 457237"/>
                                                                            <a:gd name="connsiteX127" fmla="*/ 494199 w 787547"/>
                                                                            <a:gd name="connsiteY127" fmla="*/ 116282 h 457237"/>
                                                                            <a:gd name="connsiteX128" fmla="*/ 502128 w 787547"/>
                                                                            <a:gd name="connsiteY128" fmla="*/ 108354 h 457237"/>
                                                                            <a:gd name="connsiteX129" fmla="*/ 504770 w 787547"/>
                                                                            <a:gd name="connsiteY129" fmla="*/ 100426 h 457237"/>
                                                                            <a:gd name="connsiteX130" fmla="*/ 494199 w 787547"/>
                                                                            <a:gd name="connsiteY130" fmla="*/ 84569 h 457237"/>
                                                                            <a:gd name="connsiteX131" fmla="*/ 457200 w 787547"/>
                                                                            <a:gd name="connsiteY131" fmla="*/ 87212 h 457237"/>
                                                                            <a:gd name="connsiteX132" fmla="*/ 441344 w 787547"/>
                                                                            <a:gd name="connsiteY132" fmla="*/ 87212 h 457237"/>
                                                                            <a:gd name="connsiteX133" fmla="*/ 436058 w 787547"/>
                                                                            <a:gd name="connsiteY133" fmla="*/ 79284 h 457237"/>
                                                                            <a:gd name="connsiteX134" fmla="*/ 428130 w 787547"/>
                                                                            <a:gd name="connsiteY134" fmla="*/ 76641 h 457237"/>
                                                                            <a:gd name="connsiteX135" fmla="*/ 420202 w 787547"/>
                                                                            <a:gd name="connsiteY135" fmla="*/ 71355 h 457237"/>
                                                                            <a:gd name="connsiteX136" fmla="*/ 393774 w 787547"/>
                                                                            <a:gd name="connsiteY136" fmla="*/ 63427 h 457237"/>
                                                                            <a:gd name="connsiteX137" fmla="*/ 385846 w 787547"/>
                                                                            <a:gd name="connsiteY137" fmla="*/ 58141 h 457237"/>
                                                                            <a:gd name="connsiteX138" fmla="*/ 377917 w 787547"/>
                                                                            <a:gd name="connsiteY138" fmla="*/ 42285 h 457237"/>
                                                                            <a:gd name="connsiteX139" fmla="*/ 372632 w 787547"/>
                                                                            <a:gd name="connsiteY139" fmla="*/ 34356 h 457237"/>
                                                                            <a:gd name="connsiteX140" fmla="*/ 364703 w 787547"/>
                                                                            <a:gd name="connsiteY140" fmla="*/ 18500 h 457237"/>
                                                                            <a:gd name="connsiteX141" fmla="*/ 356775 w 787547"/>
                                                                            <a:gd name="connsiteY141" fmla="*/ 13214 h 457237"/>
                                                                            <a:gd name="connsiteX142" fmla="*/ 343561 w 787547"/>
                                                                            <a:gd name="connsiteY142" fmla="*/ 21143 h 45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787547" h="457237">
                                                                              <a:moveTo>
                                                                                <a:pt x="343561" y="21143"/>
                                                                              </a:moveTo>
                                                                              <a:lnTo>
                                                                                <a:pt x="343561" y="21143"/>
                                                                              </a:lnTo>
                                                                              <a:cubicBezTo>
                                                                                <a:pt x="339006" y="30253"/>
                                                                                <a:pt x="337897" y="44928"/>
                                                                                <a:pt x="325062" y="44928"/>
                                                                              </a:cubicBezTo>
                                                                              <a:cubicBezTo>
                                                                                <a:pt x="320570" y="44928"/>
                                                                                <a:pt x="316253" y="43166"/>
                                                                                <a:pt x="311848" y="42285"/>
                                                                              </a:cubicBezTo>
                                                                              <a:cubicBezTo>
                                                                                <a:pt x="296876" y="19826"/>
                                                                                <a:pt x="321529" y="54604"/>
                                                                                <a:pt x="290706" y="23785"/>
                                                                              </a:cubicBezTo>
                                                                              <a:cubicBezTo>
                                                                                <a:pt x="288063" y="21142"/>
                                                                                <a:pt x="285170" y="18728"/>
                                                                                <a:pt x="282777" y="15857"/>
                                                                              </a:cubicBezTo>
                                                                              <a:cubicBezTo>
                                                                                <a:pt x="280744" y="13417"/>
                                                                                <a:pt x="279738" y="10175"/>
                                                                                <a:pt x="277492" y="7929"/>
                                                                              </a:cubicBezTo>
                                                                              <a:cubicBezTo>
                                                                                <a:pt x="272369" y="2806"/>
                                                                                <a:pt x="268083" y="2150"/>
                                                                                <a:pt x="261635" y="0"/>
                                                                              </a:cubicBezTo>
                                                                              <a:cubicBezTo>
                                                                                <a:pt x="256350" y="1762"/>
                                                                                <a:pt x="248870" y="650"/>
                                                                                <a:pt x="245779" y="5286"/>
                                                                              </a:cubicBezTo>
                                                                              <a:cubicBezTo>
                                                                                <a:pt x="242255" y="10572"/>
                                                                                <a:pt x="240493" y="17619"/>
                                                                                <a:pt x="235207" y="21143"/>
                                                                              </a:cubicBezTo>
                                                                              <a:cubicBezTo>
                                                                                <a:pt x="232564" y="22905"/>
                                                                                <a:pt x="230181" y="25138"/>
                                                                                <a:pt x="227279" y="26428"/>
                                                                              </a:cubicBezTo>
                                                                              <a:cubicBezTo>
                                                                                <a:pt x="219000" y="30107"/>
                                                                                <a:pt x="209641" y="32159"/>
                                                                                <a:pt x="200851" y="34356"/>
                                                                              </a:cubicBezTo>
                                                                              <a:cubicBezTo>
                                                                                <a:pt x="192476" y="46921"/>
                                                                                <a:pt x="198580" y="41280"/>
                                                                                <a:pt x="179709" y="47570"/>
                                                                              </a:cubicBezTo>
                                                                              <a:lnTo>
                                                                                <a:pt x="171781" y="50213"/>
                                                                              </a:lnTo>
                                                                              <a:lnTo>
                                                                                <a:pt x="163853" y="52856"/>
                                                                              </a:lnTo>
                                                                              <a:cubicBezTo>
                                                                                <a:pt x="162091" y="55499"/>
                                                                                <a:pt x="160957" y="58693"/>
                                                                                <a:pt x="158567" y="60784"/>
                                                                              </a:cubicBezTo>
                                                                              <a:cubicBezTo>
                                                                                <a:pt x="145957" y="71817"/>
                                                                                <a:pt x="141823" y="71651"/>
                                                                                <a:pt x="126854" y="76641"/>
                                                                              </a:cubicBezTo>
                                                                              <a:lnTo>
                                                                                <a:pt x="118925" y="79284"/>
                                                                              </a:lnTo>
                                                                              <a:lnTo>
                                                                                <a:pt x="110997" y="81926"/>
                                                                              </a:lnTo>
                                                                              <a:cubicBezTo>
                                                                                <a:pt x="105711" y="85450"/>
                                                                                <a:pt x="101474" y="92010"/>
                                                                                <a:pt x="95140" y="92497"/>
                                                                              </a:cubicBezTo>
                                                                              <a:cubicBezTo>
                                                                                <a:pt x="57271" y="95410"/>
                                                                                <a:pt x="72270" y="95140"/>
                                                                                <a:pt x="50213" y="95140"/>
                                                                              </a:cubicBezTo>
                                                                              <a:lnTo>
                                                                                <a:pt x="39642" y="105711"/>
                                                                              </a:lnTo>
                                                                              <a:lnTo>
                                                                                <a:pt x="15857" y="110997"/>
                                                                              </a:lnTo>
                                                                              <a:cubicBezTo>
                                                                                <a:pt x="11465" y="111938"/>
                                                                                <a:pt x="6381" y="111148"/>
                                                                                <a:pt x="2643" y="113640"/>
                                                                              </a:cubicBezTo>
                                                                              <a:cubicBezTo>
                                                                                <a:pt x="325" y="115185"/>
                                                                                <a:pt x="881" y="118925"/>
                                                                                <a:pt x="0" y="121568"/>
                                                                              </a:cubicBezTo>
                                                                              <a:cubicBezTo>
                                                                                <a:pt x="1891" y="131024"/>
                                                                                <a:pt x="1123" y="135904"/>
                                                                                <a:pt x="7929" y="142710"/>
                                                                              </a:cubicBezTo>
                                                                              <a:cubicBezTo>
                                                                                <a:pt x="10175" y="144956"/>
                                                                                <a:pt x="13214" y="146234"/>
                                                                                <a:pt x="15857" y="147996"/>
                                                                              </a:cubicBezTo>
                                                                              <a:cubicBezTo>
                                                                                <a:pt x="17619" y="150639"/>
                                                                                <a:pt x="18663" y="153940"/>
                                                                                <a:pt x="21143" y="155924"/>
                                                                              </a:cubicBezTo>
                                                                              <a:cubicBezTo>
                                                                                <a:pt x="23318" y="157664"/>
                                                                                <a:pt x="26579" y="157321"/>
                                                                                <a:pt x="29071" y="158567"/>
                                                                              </a:cubicBezTo>
                                                                              <a:cubicBezTo>
                                                                                <a:pt x="31912" y="159987"/>
                                                                                <a:pt x="34356" y="162090"/>
                                                                                <a:pt x="36999" y="163852"/>
                                                                              </a:cubicBezTo>
                                                                              <a:cubicBezTo>
                                                                                <a:pt x="40961" y="179699"/>
                                                                                <a:pt x="41396" y="176223"/>
                                                                                <a:pt x="36999" y="198208"/>
                                                                              </a:cubicBezTo>
                                                                              <a:cubicBezTo>
                                                                                <a:pt x="35906" y="203671"/>
                                                                                <a:pt x="31714" y="208493"/>
                                                                                <a:pt x="31714" y="214065"/>
                                                                              </a:cubicBezTo>
                                                                              <a:lnTo>
                                                                                <a:pt x="31714" y="245778"/>
                                                                              </a:lnTo>
                                                                              <a:lnTo>
                                                                                <a:pt x="42285" y="269563"/>
                                                                              </a:lnTo>
                                                                              <a:cubicBezTo>
                                                                                <a:pt x="48451" y="273968"/>
                                                                                <a:pt x="54286" y="278878"/>
                                                                                <a:pt x="60784" y="282777"/>
                                                                              </a:cubicBezTo>
                                                                              <a:cubicBezTo>
                                                                                <a:pt x="63173" y="284210"/>
                                                                                <a:pt x="66221" y="284174"/>
                                                                                <a:pt x="68713" y="285420"/>
                                                                              </a:cubicBezTo>
                                                                              <a:cubicBezTo>
                                                                                <a:pt x="86962" y="294545"/>
                                                                                <a:pt x="65213" y="287850"/>
                                                                                <a:pt x="87212" y="293348"/>
                                                                              </a:cubicBezTo>
                                                                              <a:cubicBezTo>
                                                                                <a:pt x="88093" y="295991"/>
                                                                                <a:pt x="89855" y="298491"/>
                                                                                <a:pt x="89855" y="301277"/>
                                                                              </a:cubicBezTo>
                                                                              <a:cubicBezTo>
                                                                                <a:pt x="89855" y="310578"/>
                                                                                <a:pt x="87294" y="316887"/>
                                                                                <a:pt x="84569" y="325062"/>
                                                                              </a:cubicBezTo>
                                                                              <a:cubicBezTo>
                                                                                <a:pt x="87212" y="326824"/>
                                                                                <a:pt x="89485" y="329343"/>
                                                                                <a:pt x="92498" y="330347"/>
                                                                              </a:cubicBezTo>
                                                                              <a:cubicBezTo>
                                                                                <a:pt x="97581" y="332041"/>
                                                                                <a:pt x="103123" y="331828"/>
                                                                                <a:pt x="108354" y="332990"/>
                                                                              </a:cubicBezTo>
                                                                              <a:cubicBezTo>
                                                                                <a:pt x="111074" y="333594"/>
                                                                                <a:pt x="113640" y="334752"/>
                                                                                <a:pt x="116283" y="335633"/>
                                                                              </a:cubicBezTo>
                                                                              <a:cubicBezTo>
                                                                                <a:pt x="118926" y="338276"/>
                                                                                <a:pt x="121340" y="341168"/>
                                                                                <a:pt x="124211" y="343561"/>
                                                                              </a:cubicBezTo>
                                                                              <a:cubicBezTo>
                                                                                <a:pt x="126651" y="345594"/>
                                                                                <a:pt x="130047" y="346457"/>
                                                                                <a:pt x="132139" y="348847"/>
                                                                              </a:cubicBezTo>
                                                                              <a:cubicBezTo>
                                                                                <a:pt x="136322" y="353628"/>
                                                                                <a:pt x="139186" y="359418"/>
                                                                                <a:pt x="142710" y="364703"/>
                                                                              </a:cubicBezTo>
                                                                              <a:cubicBezTo>
                                                                                <a:pt x="144472" y="367346"/>
                                                                                <a:pt x="145353" y="370870"/>
                                                                                <a:pt x="147996" y="372632"/>
                                                                              </a:cubicBezTo>
                                                                              <a:lnTo>
                                                                                <a:pt x="163853" y="383203"/>
                                                                              </a:lnTo>
                                                                              <a:cubicBezTo>
                                                                                <a:pt x="170492" y="403126"/>
                                                                                <a:pt x="161537" y="378572"/>
                                                                                <a:pt x="171781" y="399059"/>
                                                                              </a:cubicBezTo>
                                                                              <a:cubicBezTo>
                                                                                <a:pt x="173027" y="401551"/>
                                                                                <a:pt x="173071" y="404553"/>
                                                                                <a:pt x="174424" y="406988"/>
                                                                              </a:cubicBezTo>
                                                                              <a:cubicBezTo>
                                                                                <a:pt x="177509" y="412541"/>
                                                                                <a:pt x="181472" y="417559"/>
                                                                                <a:pt x="184995" y="422844"/>
                                                                              </a:cubicBezTo>
                                                                              <a:cubicBezTo>
                                                                                <a:pt x="186757" y="425487"/>
                                                                                <a:pt x="187267" y="429769"/>
                                                                                <a:pt x="190280" y="430773"/>
                                                                              </a:cubicBezTo>
                                                                              <a:lnTo>
                                                                                <a:pt x="198209" y="433415"/>
                                                                              </a:lnTo>
                                                                              <a:cubicBezTo>
                                                                                <a:pt x="199971" y="436058"/>
                                                                                <a:pt x="200801" y="439661"/>
                                                                                <a:pt x="203494" y="441344"/>
                                                                              </a:cubicBezTo>
                                                                              <a:cubicBezTo>
                                                                                <a:pt x="208219" y="444297"/>
                                                                                <a:pt x="219351" y="446629"/>
                                                                                <a:pt x="219351" y="446629"/>
                                                                              </a:cubicBezTo>
                                                                              <a:cubicBezTo>
                                                                                <a:pt x="222875" y="445748"/>
                                                                                <a:pt x="226430" y="444984"/>
                                                                                <a:pt x="229922" y="443986"/>
                                                                              </a:cubicBezTo>
                                                                              <a:cubicBezTo>
                                                                                <a:pt x="232600" y="443221"/>
                                                                                <a:pt x="235064" y="441344"/>
                                                                                <a:pt x="237850" y="441344"/>
                                                                              </a:cubicBezTo>
                                                                              <a:cubicBezTo>
                                                                                <a:pt x="244952" y="441344"/>
                                                                                <a:pt x="251945" y="443105"/>
                                                                                <a:pt x="258992" y="443986"/>
                                                                              </a:cubicBezTo>
                                                                              <a:cubicBezTo>
                                                                                <a:pt x="263000" y="446658"/>
                                                                                <a:pt x="269379" y="451915"/>
                                                                                <a:pt x="274849" y="451915"/>
                                                                              </a:cubicBezTo>
                                                                              <a:cubicBezTo>
                                                                                <a:pt x="278481" y="451915"/>
                                                                                <a:pt x="281896" y="450153"/>
                                                                                <a:pt x="285420" y="449272"/>
                                                                              </a:cubicBezTo>
                                                                              <a:cubicBezTo>
                                                                                <a:pt x="287182" y="446629"/>
                                                                                <a:pt x="289416" y="444246"/>
                                                                                <a:pt x="290706" y="441344"/>
                                                                              </a:cubicBezTo>
                                                                              <a:cubicBezTo>
                                                                                <a:pt x="292969" y="436253"/>
                                                                                <a:pt x="291355" y="428577"/>
                                                                                <a:pt x="295991" y="425487"/>
                                                                              </a:cubicBezTo>
                                                                              <a:lnTo>
                                                                                <a:pt x="311848" y="414916"/>
                                                                              </a:lnTo>
                                                                              <a:lnTo>
                                                                                <a:pt x="322419" y="383203"/>
                                                                              </a:lnTo>
                                                                              <a:cubicBezTo>
                                                                                <a:pt x="323300" y="380560"/>
                                                                                <a:pt x="322419" y="376155"/>
                                                                                <a:pt x="325062" y="375274"/>
                                                                              </a:cubicBezTo>
                                                                              <a:lnTo>
                                                                                <a:pt x="332990" y="372632"/>
                                                                              </a:lnTo>
                                                                              <a:cubicBezTo>
                                                                                <a:pt x="337971" y="377613"/>
                                                                                <a:pt x="342221" y="382900"/>
                                                                                <a:pt x="348847" y="385845"/>
                                                                              </a:cubicBezTo>
                                                                              <a:cubicBezTo>
                                                                                <a:pt x="363585" y="392395"/>
                                                                                <a:pt x="369190" y="391692"/>
                                                                                <a:pt x="385846" y="393774"/>
                                                                              </a:cubicBezTo>
                                                                              <a:lnTo>
                                                                                <a:pt x="409631" y="401702"/>
                                                                              </a:lnTo>
                                                                              <a:cubicBezTo>
                                                                                <a:pt x="412274" y="402583"/>
                                                                                <a:pt x="414857" y="403669"/>
                                                                                <a:pt x="417559" y="404345"/>
                                                                              </a:cubicBezTo>
                                                                              <a:cubicBezTo>
                                                                                <a:pt x="433531" y="408338"/>
                                                                                <a:pt x="424691" y="405841"/>
                                                                                <a:pt x="443987" y="412273"/>
                                                                              </a:cubicBezTo>
                                                                              <a:cubicBezTo>
                                                                                <a:pt x="472900" y="421910"/>
                                                                                <a:pt x="429106" y="406541"/>
                                                                                <a:pt x="459843" y="420202"/>
                                                                              </a:cubicBezTo>
                                                                              <a:cubicBezTo>
                                                                                <a:pt x="464934" y="422465"/>
                                                                                <a:pt x="475700" y="425487"/>
                                                                                <a:pt x="475700" y="425487"/>
                                                                              </a:cubicBezTo>
                                                                              <a:cubicBezTo>
                                                                                <a:pt x="479442" y="424240"/>
                                                                                <a:pt x="490877" y="420202"/>
                                                                                <a:pt x="494199" y="420202"/>
                                                                              </a:cubicBezTo>
                                                                              <a:cubicBezTo>
                                                                                <a:pt x="497831" y="420202"/>
                                                                                <a:pt x="501246" y="421963"/>
                                                                                <a:pt x="504770" y="422844"/>
                                                                              </a:cubicBezTo>
                                                                              <a:cubicBezTo>
                                                                                <a:pt x="510056" y="426368"/>
                                                                                <a:pt x="514601" y="431406"/>
                                                                                <a:pt x="520627" y="433415"/>
                                                                              </a:cubicBezTo>
                                                                              <a:cubicBezTo>
                                                                                <a:pt x="539497" y="439705"/>
                                                                                <a:pt x="531848" y="435611"/>
                                                                                <a:pt x="544412" y="443986"/>
                                                                              </a:cubicBezTo>
                                                                              <a:cubicBezTo>
                                                                                <a:pt x="546250" y="446743"/>
                                                                                <a:pt x="552264" y="457966"/>
                                                                                <a:pt x="557626" y="457200"/>
                                                                              </a:cubicBezTo>
                                                                              <a:cubicBezTo>
                                                                                <a:pt x="561986" y="456577"/>
                                                                                <a:pt x="564373" y="451457"/>
                                                                                <a:pt x="568197" y="449272"/>
                                                                              </a:cubicBezTo>
                                                                              <a:cubicBezTo>
                                                                                <a:pt x="570616" y="447890"/>
                                                                                <a:pt x="573482" y="447510"/>
                                                                                <a:pt x="576125" y="446629"/>
                                                                              </a:cubicBezTo>
                                                                              <a:cubicBezTo>
                                                                                <a:pt x="577887" y="443986"/>
                                                                                <a:pt x="579990" y="441542"/>
                                                                                <a:pt x="581411" y="438701"/>
                                                                              </a:cubicBezTo>
                                                                              <a:cubicBezTo>
                                                                                <a:pt x="582657" y="436210"/>
                                                                                <a:pt x="582314" y="432948"/>
                                                                                <a:pt x="584054" y="430773"/>
                                                                              </a:cubicBezTo>
                                                                              <a:cubicBezTo>
                                                                                <a:pt x="586038" y="428293"/>
                                                                                <a:pt x="589339" y="427249"/>
                                                                                <a:pt x="591982" y="425487"/>
                                                                              </a:cubicBezTo>
                                                                              <a:cubicBezTo>
                                                                                <a:pt x="596321" y="412473"/>
                                                                                <a:pt x="591519" y="421468"/>
                                                                                <a:pt x="602553" y="412273"/>
                                                                              </a:cubicBezTo>
                                                                              <a:cubicBezTo>
                                                                                <a:pt x="611674" y="404672"/>
                                                                                <a:pt x="612979" y="398227"/>
                                                                                <a:pt x="626338" y="393774"/>
                                                                              </a:cubicBezTo>
                                                                              <a:lnTo>
                                                                                <a:pt x="650123" y="385845"/>
                                                                              </a:lnTo>
                                                                              <a:cubicBezTo>
                                                                                <a:pt x="658748" y="382970"/>
                                                                                <a:pt x="661067" y="381835"/>
                                                                                <a:pt x="671265" y="380560"/>
                                                                              </a:cubicBezTo>
                                                                              <a:cubicBezTo>
                                                                                <a:pt x="691341" y="378050"/>
                                                                                <a:pt x="698630" y="379176"/>
                                                                                <a:pt x="716192" y="375274"/>
                                                                              </a:cubicBezTo>
                                                                              <a:cubicBezTo>
                                                                                <a:pt x="718912" y="374670"/>
                                                                                <a:pt x="721478" y="373513"/>
                                                                                <a:pt x="724121" y="372632"/>
                                                                              </a:cubicBezTo>
                                                                              <a:cubicBezTo>
                                                                                <a:pt x="736540" y="360211"/>
                                                                                <a:pt x="728940" y="366776"/>
                                                                                <a:pt x="747906" y="354132"/>
                                                                              </a:cubicBezTo>
                                                                              <a:cubicBezTo>
                                                                                <a:pt x="758151" y="347302"/>
                                                                                <a:pt x="752821" y="349851"/>
                                                                                <a:pt x="763762" y="346204"/>
                                                                              </a:cubicBezTo>
                                                                              <a:cubicBezTo>
                                                                                <a:pt x="765524" y="343561"/>
                                                                                <a:pt x="766568" y="340260"/>
                                                                                <a:pt x="769048" y="338276"/>
                                                                              </a:cubicBezTo>
                                                                              <a:cubicBezTo>
                                                                                <a:pt x="771223" y="336536"/>
                                                                                <a:pt x="774484" y="336879"/>
                                                                                <a:pt x="776976" y="335633"/>
                                                                              </a:cubicBezTo>
                                                                              <a:cubicBezTo>
                                                                                <a:pt x="779817" y="334212"/>
                                                                                <a:pt x="782262" y="332109"/>
                                                                                <a:pt x="784905" y="330347"/>
                                                                              </a:cubicBezTo>
                                                                              <a:cubicBezTo>
                                                                                <a:pt x="785786" y="327704"/>
                                                                                <a:pt x="787547" y="325205"/>
                                                                                <a:pt x="787547" y="322419"/>
                                                                              </a:cubicBezTo>
                                                                              <a:cubicBezTo>
                                                                                <a:pt x="787547" y="320073"/>
                                                                                <a:pt x="784348" y="305033"/>
                                                                                <a:pt x="782262" y="301277"/>
                                                                              </a:cubicBezTo>
                                                                              <a:cubicBezTo>
                                                                                <a:pt x="779177" y="295724"/>
                                                                                <a:pt x="775215" y="290706"/>
                                                                                <a:pt x="771691" y="285420"/>
                                                                              </a:cubicBezTo>
                                                                              <a:lnTo>
                                                                                <a:pt x="761120" y="269563"/>
                                                                              </a:lnTo>
                                                                              <a:cubicBezTo>
                                                                                <a:pt x="754829" y="250694"/>
                                                                                <a:pt x="758924" y="258343"/>
                                                                                <a:pt x="750548" y="245778"/>
                                                                              </a:cubicBezTo>
                                                                              <a:cubicBezTo>
                                                                                <a:pt x="748315" y="236844"/>
                                                                                <a:pt x="749121" y="232359"/>
                                                                                <a:pt x="739977" y="227279"/>
                                                                              </a:cubicBezTo>
                                                                              <a:cubicBezTo>
                                                                                <a:pt x="735107" y="224573"/>
                                                                                <a:pt x="729406" y="223755"/>
                                                                                <a:pt x="724121" y="221993"/>
                                                                              </a:cubicBezTo>
                                                                              <a:lnTo>
                                                                                <a:pt x="716192" y="219351"/>
                                                                              </a:lnTo>
                                                                              <a:cubicBezTo>
                                                                                <a:pt x="698018" y="207235"/>
                                                                                <a:pt x="706362" y="210789"/>
                                                                                <a:pt x="692407" y="206137"/>
                                                                              </a:cubicBezTo>
                                                                              <a:cubicBezTo>
                                                                                <a:pt x="675109" y="211904"/>
                                                                                <a:pt x="692087" y="203895"/>
                                                                                <a:pt x="681836" y="216708"/>
                                                                              </a:cubicBezTo>
                                                                              <a:cubicBezTo>
                                                                                <a:pt x="679852" y="219188"/>
                                                                                <a:pt x="673908" y="221993"/>
                                                                                <a:pt x="673908" y="221993"/>
                                                                              </a:cubicBezTo>
                                                                              <a:lnTo>
                                                                                <a:pt x="673908" y="221993"/>
                                                                              </a:lnTo>
                                                                              <a:cubicBezTo>
                                                                                <a:pt x="667742" y="216708"/>
                                                                                <a:pt x="662062" y="210794"/>
                                                                                <a:pt x="655409" y="206137"/>
                                                                              </a:cubicBezTo>
                                                                              <a:cubicBezTo>
                                                                                <a:pt x="653127" y="204539"/>
                                                                                <a:pt x="649972" y="204740"/>
                                                                                <a:pt x="647480" y="203494"/>
                                                                              </a:cubicBezTo>
                                                                              <a:cubicBezTo>
                                                                                <a:pt x="626993" y="193250"/>
                                                                                <a:pt x="651547" y="202205"/>
                                                                                <a:pt x="631624" y="195566"/>
                                                                              </a:cubicBezTo>
                                                                              <a:cubicBezTo>
                                                                                <a:pt x="633386" y="192923"/>
                                                                                <a:pt x="634429" y="189621"/>
                                                                                <a:pt x="636909" y="187637"/>
                                                                              </a:cubicBezTo>
                                                                              <a:cubicBezTo>
                                                                                <a:pt x="649723" y="177385"/>
                                                                                <a:pt x="641713" y="194368"/>
                                                                                <a:pt x="647480" y="177066"/>
                                                                              </a:cubicBezTo>
                                                                              <a:cubicBezTo>
                                                                                <a:pt x="643390" y="164798"/>
                                                                                <a:pt x="647108" y="167249"/>
                                                                                <a:pt x="628981" y="171781"/>
                                                                              </a:cubicBezTo>
                                                                              <a:cubicBezTo>
                                                                                <a:pt x="623576" y="173132"/>
                                                                                <a:pt x="613124" y="177066"/>
                                                                                <a:pt x="613124" y="177066"/>
                                                                              </a:cubicBezTo>
                                                                              <a:cubicBezTo>
                                                                                <a:pt x="595826" y="171299"/>
                                                                                <a:pt x="612804" y="179308"/>
                                                                                <a:pt x="602553" y="166495"/>
                                                                              </a:cubicBezTo>
                                                                              <a:cubicBezTo>
                                                                                <a:pt x="600569" y="164015"/>
                                                                                <a:pt x="597268" y="162972"/>
                                                                                <a:pt x="594625" y="161210"/>
                                                                              </a:cubicBezTo>
                                                                              <a:cubicBezTo>
                                                                                <a:pt x="591871" y="152948"/>
                                                                                <a:pt x="589201" y="142619"/>
                                                                                <a:pt x="581411" y="137425"/>
                                                                              </a:cubicBezTo>
                                                                              <a:lnTo>
                                                                                <a:pt x="573483" y="132139"/>
                                                                              </a:lnTo>
                                                                              <a:cubicBezTo>
                                                                                <a:pt x="556581" y="137773"/>
                                                                                <a:pt x="569884" y="130672"/>
                                                                                <a:pt x="562911" y="158567"/>
                                                                              </a:cubicBezTo>
                                                                              <a:cubicBezTo>
                                                                                <a:pt x="560738" y="167260"/>
                                                                                <a:pt x="556555" y="166852"/>
                                                                                <a:pt x="549698" y="169138"/>
                                                                              </a:cubicBezTo>
                                                                              <a:cubicBezTo>
                                                                                <a:pt x="547936" y="171781"/>
                                                                                <a:pt x="546658" y="174820"/>
                                                                                <a:pt x="544412" y="177066"/>
                                                                              </a:cubicBezTo>
                                                                              <a:cubicBezTo>
                                                                                <a:pt x="539288" y="182190"/>
                                                                                <a:pt x="535005" y="182845"/>
                                                                                <a:pt x="528555" y="184995"/>
                                                                              </a:cubicBezTo>
                                                                              <a:cubicBezTo>
                                                                                <a:pt x="525912" y="183233"/>
                                                                                <a:pt x="522310" y="182403"/>
                                                                                <a:pt x="520627" y="179709"/>
                                                                              </a:cubicBezTo>
                                                                              <a:cubicBezTo>
                                                                                <a:pt x="517674" y="174984"/>
                                                                                <a:pt x="519978" y="166942"/>
                                                                                <a:pt x="515342" y="163852"/>
                                                                              </a:cubicBezTo>
                                                                              <a:lnTo>
                                                                                <a:pt x="507413" y="158567"/>
                                                                              </a:lnTo>
                                                                              <a:cubicBezTo>
                                                                                <a:pt x="506532" y="155924"/>
                                                                                <a:pt x="506510" y="152814"/>
                                                                                <a:pt x="504770" y="150639"/>
                                                                              </a:cubicBezTo>
                                                                              <a:cubicBezTo>
                                                                                <a:pt x="499721" y="144328"/>
                                                                                <a:pt x="495298" y="145902"/>
                                                                                <a:pt x="488914" y="142710"/>
                                                                              </a:cubicBezTo>
                                                                              <a:cubicBezTo>
                                                                                <a:pt x="486073" y="141290"/>
                                                                                <a:pt x="483628" y="139187"/>
                                                                                <a:pt x="480985" y="137425"/>
                                                                              </a:cubicBezTo>
                                                                              <a:cubicBezTo>
                                                                                <a:pt x="480104" y="134782"/>
                                                                                <a:pt x="477462" y="132139"/>
                                                                                <a:pt x="478343" y="129496"/>
                                                                              </a:cubicBezTo>
                                                                              <a:cubicBezTo>
                                                                                <a:pt x="480124" y="124153"/>
                                                                                <a:pt x="490294" y="119536"/>
                                                                                <a:pt x="494199" y="116282"/>
                                                                              </a:cubicBezTo>
                                                                              <a:cubicBezTo>
                                                                                <a:pt x="497070" y="113889"/>
                                                                                <a:pt x="499485" y="110997"/>
                                                                                <a:pt x="502128" y="108354"/>
                                                                              </a:cubicBezTo>
                                                                              <a:cubicBezTo>
                                                                                <a:pt x="503009" y="105711"/>
                                                                                <a:pt x="504770" y="103212"/>
                                                                                <a:pt x="504770" y="100426"/>
                                                                              </a:cubicBezTo>
                                                                              <a:cubicBezTo>
                                                                                <a:pt x="504770" y="92774"/>
                                                                                <a:pt x="498968" y="89338"/>
                                                                                <a:pt x="494199" y="84569"/>
                                                                              </a:cubicBezTo>
                                                                              <a:cubicBezTo>
                                                                                <a:pt x="481866" y="85450"/>
                                                                                <a:pt x="469480" y="85767"/>
                                                                                <a:pt x="457200" y="87212"/>
                                                                              </a:cubicBezTo>
                                                                              <a:cubicBezTo>
                                                                                <a:pt x="441574" y="89051"/>
                                                                                <a:pt x="456970" y="92421"/>
                                                                                <a:pt x="441344" y="87212"/>
                                                                              </a:cubicBezTo>
                                                                              <a:cubicBezTo>
                                                                                <a:pt x="439582" y="84569"/>
                                                                                <a:pt x="438538" y="81268"/>
                                                                                <a:pt x="436058" y="79284"/>
                                                                              </a:cubicBezTo>
                                                                              <a:cubicBezTo>
                                                                                <a:pt x="433883" y="77544"/>
                                                                                <a:pt x="430621" y="77887"/>
                                                                                <a:pt x="428130" y="76641"/>
                                                                              </a:cubicBezTo>
                                                                              <a:cubicBezTo>
                                                                                <a:pt x="425289" y="75220"/>
                                                                                <a:pt x="423104" y="72645"/>
                                                                                <a:pt x="420202" y="71355"/>
                                                                              </a:cubicBezTo>
                                                                              <a:cubicBezTo>
                                                                                <a:pt x="411935" y="67681"/>
                                                                                <a:pt x="402556" y="65623"/>
                                                                                <a:pt x="393774" y="63427"/>
                                                                              </a:cubicBezTo>
                                                                              <a:cubicBezTo>
                                                                                <a:pt x="391131" y="61665"/>
                                                                                <a:pt x="388092" y="60387"/>
                                                                                <a:pt x="385846" y="58141"/>
                                                                              </a:cubicBezTo>
                                                                              <a:cubicBezTo>
                                                                                <a:pt x="378272" y="50567"/>
                                                                                <a:pt x="382216" y="50883"/>
                                                                                <a:pt x="377917" y="42285"/>
                                                                              </a:cubicBezTo>
                                                                              <a:cubicBezTo>
                                                                                <a:pt x="376497" y="39444"/>
                                                                                <a:pt x="374052" y="37197"/>
                                                                                <a:pt x="372632" y="34356"/>
                                                                              </a:cubicBezTo>
                                                                              <a:cubicBezTo>
                                                                                <a:pt x="368333" y="25758"/>
                                                                                <a:pt x="372277" y="26074"/>
                                                                                <a:pt x="364703" y="18500"/>
                                                                              </a:cubicBezTo>
                                                                              <a:cubicBezTo>
                                                                                <a:pt x="362457" y="16254"/>
                                                                                <a:pt x="359418" y="14976"/>
                                                                                <a:pt x="356775" y="13214"/>
                                                                              </a:cubicBezTo>
                                                                              <a:cubicBezTo>
                                                                                <a:pt x="344995" y="16159"/>
                                                                                <a:pt x="345763" y="19822"/>
                                                                                <a:pt x="343561" y="21143"/>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4" name="Freeform 263"/>
                                                                      <p:cNvSpPr/>
                                                                      <p:nvPr/>
                                                                    </p:nvSpPr>
                                                                    <p:spPr>
                                                                      <a:xfrm>
                                                                        <a:off x="3333591" y="4293394"/>
                                                                        <a:ext cx="947897" cy="452437"/>
                                                                      </a:xfrm>
                                                                      <a:custGeom>
                                                                        <a:avLst/>
                                                                        <a:gdLst>
                                                                          <a:gd name="connsiteX0" fmla="*/ 109697 w 947897"/>
                                                                          <a:gd name="connsiteY0" fmla="*/ 328612 h 452437"/>
                                                                          <a:gd name="connsiteX1" fmla="*/ 109697 w 947897"/>
                                                                          <a:gd name="connsiteY1" fmla="*/ 328612 h 452437"/>
                                                                          <a:gd name="connsiteX2" fmla="*/ 85884 w 947897"/>
                                                                          <a:gd name="connsiteY2" fmla="*/ 314325 h 452437"/>
                                                                          <a:gd name="connsiteX3" fmla="*/ 66834 w 947897"/>
                                                                          <a:gd name="connsiteY3" fmla="*/ 316706 h 452437"/>
                                                                          <a:gd name="connsiteX4" fmla="*/ 59690 w 947897"/>
                                                                          <a:gd name="connsiteY4" fmla="*/ 319087 h 452437"/>
                                                                          <a:gd name="connsiteX5" fmla="*/ 47784 w 947897"/>
                                                                          <a:gd name="connsiteY5" fmla="*/ 309562 h 452437"/>
                                                                          <a:gd name="connsiteX6" fmla="*/ 40640 w 947897"/>
                                                                          <a:gd name="connsiteY6" fmla="*/ 295275 h 452437"/>
                                                                          <a:gd name="connsiteX7" fmla="*/ 35878 w 947897"/>
                                                                          <a:gd name="connsiteY7" fmla="*/ 280987 h 452437"/>
                                                                          <a:gd name="connsiteX8" fmla="*/ 33497 w 947897"/>
                                                                          <a:gd name="connsiteY8" fmla="*/ 273844 h 452437"/>
                                                                          <a:gd name="connsiteX9" fmla="*/ 31115 w 947897"/>
                                                                          <a:gd name="connsiteY9" fmla="*/ 266700 h 452437"/>
                                                                          <a:gd name="connsiteX10" fmla="*/ 23972 w 947897"/>
                                                                          <a:gd name="connsiteY10" fmla="*/ 264319 h 452437"/>
                                                                          <a:gd name="connsiteX11" fmla="*/ 16828 w 947897"/>
                                                                          <a:gd name="connsiteY11" fmla="*/ 259556 h 452437"/>
                                                                          <a:gd name="connsiteX12" fmla="*/ 2540 w 947897"/>
                                                                          <a:gd name="connsiteY12" fmla="*/ 254794 h 452437"/>
                                                                          <a:gd name="connsiteX13" fmla="*/ 159 w 947897"/>
                                                                          <a:gd name="connsiteY13" fmla="*/ 247650 h 452437"/>
                                                                          <a:gd name="connsiteX14" fmla="*/ 9684 w 947897"/>
                                                                          <a:gd name="connsiteY14" fmla="*/ 233362 h 452437"/>
                                                                          <a:gd name="connsiteX15" fmla="*/ 16828 w 947897"/>
                                                                          <a:gd name="connsiteY15" fmla="*/ 219075 h 452437"/>
                                                                          <a:gd name="connsiteX16" fmla="*/ 19209 w 947897"/>
                                                                          <a:gd name="connsiteY16" fmla="*/ 207169 h 452437"/>
                                                                          <a:gd name="connsiteX17" fmla="*/ 21590 w 947897"/>
                                                                          <a:gd name="connsiteY17" fmla="*/ 200025 h 452437"/>
                                                                          <a:gd name="connsiteX18" fmla="*/ 35878 w 947897"/>
                                                                          <a:gd name="connsiteY18" fmla="*/ 195262 h 452437"/>
                                                                          <a:gd name="connsiteX19" fmla="*/ 50165 w 947897"/>
                                                                          <a:gd name="connsiteY19" fmla="*/ 188119 h 452437"/>
                                                                          <a:gd name="connsiteX20" fmla="*/ 54928 w 947897"/>
                                                                          <a:gd name="connsiteY20" fmla="*/ 195262 h 452437"/>
                                                                          <a:gd name="connsiteX21" fmla="*/ 62072 w 947897"/>
                                                                          <a:gd name="connsiteY21" fmla="*/ 197644 h 452437"/>
                                                                          <a:gd name="connsiteX22" fmla="*/ 69215 w 947897"/>
                                                                          <a:gd name="connsiteY22" fmla="*/ 202406 h 452437"/>
                                                                          <a:gd name="connsiteX23" fmla="*/ 78740 w 947897"/>
                                                                          <a:gd name="connsiteY23" fmla="*/ 216694 h 452437"/>
                                                                          <a:gd name="connsiteX24" fmla="*/ 88265 w 947897"/>
                                                                          <a:gd name="connsiteY24" fmla="*/ 238125 h 452437"/>
                                                                          <a:gd name="connsiteX25" fmla="*/ 95409 w 947897"/>
                                                                          <a:gd name="connsiteY25" fmla="*/ 242887 h 452437"/>
                                                                          <a:gd name="connsiteX26" fmla="*/ 114459 w 947897"/>
                                                                          <a:gd name="connsiteY26" fmla="*/ 240506 h 452437"/>
                                                                          <a:gd name="connsiteX27" fmla="*/ 121603 w 947897"/>
                                                                          <a:gd name="connsiteY27" fmla="*/ 238125 h 452437"/>
                                                                          <a:gd name="connsiteX28" fmla="*/ 123984 w 947897"/>
                                                                          <a:gd name="connsiteY28" fmla="*/ 216694 h 452437"/>
                                                                          <a:gd name="connsiteX29" fmla="*/ 147797 w 947897"/>
                                                                          <a:gd name="connsiteY29" fmla="*/ 221456 h 452437"/>
                                                                          <a:gd name="connsiteX30" fmla="*/ 154940 w 947897"/>
                                                                          <a:gd name="connsiteY30" fmla="*/ 226219 h 452437"/>
                                                                          <a:gd name="connsiteX31" fmla="*/ 162084 w 947897"/>
                                                                          <a:gd name="connsiteY31" fmla="*/ 223837 h 452437"/>
                                                                          <a:gd name="connsiteX32" fmla="*/ 176372 w 947897"/>
                                                                          <a:gd name="connsiteY32" fmla="*/ 228600 h 452437"/>
                                                                          <a:gd name="connsiteX33" fmla="*/ 181134 w 947897"/>
                                                                          <a:gd name="connsiteY33" fmla="*/ 235744 h 452437"/>
                                                                          <a:gd name="connsiteX34" fmla="*/ 197803 w 947897"/>
                                                                          <a:gd name="connsiteY34" fmla="*/ 242887 h 452437"/>
                                                                          <a:gd name="connsiteX35" fmla="*/ 214472 w 947897"/>
                                                                          <a:gd name="connsiteY35" fmla="*/ 240506 h 452437"/>
                                                                          <a:gd name="connsiteX36" fmla="*/ 228759 w 947897"/>
                                                                          <a:gd name="connsiteY36" fmla="*/ 235744 h 452437"/>
                                                                          <a:gd name="connsiteX37" fmla="*/ 243047 w 947897"/>
                                                                          <a:gd name="connsiteY37" fmla="*/ 230981 h 452437"/>
                                                                          <a:gd name="connsiteX38" fmla="*/ 252572 w 947897"/>
                                                                          <a:gd name="connsiteY38" fmla="*/ 228600 h 452437"/>
                                                                          <a:gd name="connsiteX39" fmla="*/ 297815 w 947897"/>
                                                                          <a:gd name="connsiteY39" fmla="*/ 223837 h 452437"/>
                                                                          <a:gd name="connsiteX40" fmla="*/ 309722 w 947897"/>
                                                                          <a:gd name="connsiteY40" fmla="*/ 221456 h 452437"/>
                                                                          <a:gd name="connsiteX41" fmla="*/ 331153 w 947897"/>
                                                                          <a:gd name="connsiteY41" fmla="*/ 211931 h 452437"/>
                                                                          <a:gd name="connsiteX42" fmla="*/ 397828 w 947897"/>
                                                                          <a:gd name="connsiteY42" fmla="*/ 211931 h 452437"/>
                                                                          <a:gd name="connsiteX43" fmla="*/ 412115 w 947897"/>
                                                                          <a:gd name="connsiteY43" fmla="*/ 216694 h 452437"/>
                                                                          <a:gd name="connsiteX44" fmla="*/ 421640 w 947897"/>
                                                                          <a:gd name="connsiteY44" fmla="*/ 230981 h 452437"/>
                                                                          <a:gd name="connsiteX45" fmla="*/ 424022 w 947897"/>
                                                                          <a:gd name="connsiteY45" fmla="*/ 240506 h 452437"/>
                                                                          <a:gd name="connsiteX46" fmla="*/ 431165 w 947897"/>
                                                                          <a:gd name="connsiteY46" fmla="*/ 242887 h 452437"/>
                                                                          <a:gd name="connsiteX47" fmla="*/ 450215 w 947897"/>
                                                                          <a:gd name="connsiteY47" fmla="*/ 240506 h 452437"/>
                                                                          <a:gd name="connsiteX48" fmla="*/ 452597 w 947897"/>
                                                                          <a:gd name="connsiteY48" fmla="*/ 219075 h 452437"/>
                                                                          <a:gd name="connsiteX49" fmla="*/ 445453 w 947897"/>
                                                                          <a:gd name="connsiteY49" fmla="*/ 204787 h 452437"/>
                                                                          <a:gd name="connsiteX50" fmla="*/ 440690 w 947897"/>
                                                                          <a:gd name="connsiteY50" fmla="*/ 185737 h 452437"/>
                                                                          <a:gd name="connsiteX51" fmla="*/ 433547 w 947897"/>
                                                                          <a:gd name="connsiteY51" fmla="*/ 164306 h 452437"/>
                                                                          <a:gd name="connsiteX52" fmla="*/ 431165 w 947897"/>
                                                                          <a:gd name="connsiteY52" fmla="*/ 157162 h 452437"/>
                                                                          <a:gd name="connsiteX53" fmla="*/ 433547 w 947897"/>
                                                                          <a:gd name="connsiteY53" fmla="*/ 142875 h 452437"/>
                                                                          <a:gd name="connsiteX54" fmla="*/ 454978 w 947897"/>
                                                                          <a:gd name="connsiteY54" fmla="*/ 130969 h 452437"/>
                                                                          <a:gd name="connsiteX55" fmla="*/ 462122 w 947897"/>
                                                                          <a:gd name="connsiteY55" fmla="*/ 128587 h 452437"/>
                                                                          <a:gd name="connsiteX56" fmla="*/ 469265 w 947897"/>
                                                                          <a:gd name="connsiteY56" fmla="*/ 123825 h 452437"/>
                                                                          <a:gd name="connsiteX57" fmla="*/ 483553 w 947897"/>
                                                                          <a:gd name="connsiteY57" fmla="*/ 119062 h 452437"/>
                                                                          <a:gd name="connsiteX58" fmla="*/ 490697 w 947897"/>
                                                                          <a:gd name="connsiteY58" fmla="*/ 116681 h 452437"/>
                                                                          <a:gd name="connsiteX59" fmla="*/ 495459 w 947897"/>
                                                                          <a:gd name="connsiteY59" fmla="*/ 109537 h 452437"/>
                                                                          <a:gd name="connsiteX60" fmla="*/ 500222 w 947897"/>
                                                                          <a:gd name="connsiteY60" fmla="*/ 90487 h 452437"/>
                                                                          <a:gd name="connsiteX61" fmla="*/ 504984 w 947897"/>
                                                                          <a:gd name="connsiteY61" fmla="*/ 83344 h 452437"/>
                                                                          <a:gd name="connsiteX62" fmla="*/ 512128 w 947897"/>
                                                                          <a:gd name="connsiteY62" fmla="*/ 69056 h 452437"/>
                                                                          <a:gd name="connsiteX63" fmla="*/ 519272 w 947897"/>
                                                                          <a:gd name="connsiteY63" fmla="*/ 61912 h 452437"/>
                                                                          <a:gd name="connsiteX64" fmla="*/ 533559 w 947897"/>
                                                                          <a:gd name="connsiteY64" fmla="*/ 57150 h 452437"/>
                                                                          <a:gd name="connsiteX65" fmla="*/ 554990 w 947897"/>
                                                                          <a:gd name="connsiteY65" fmla="*/ 52387 h 452437"/>
                                                                          <a:gd name="connsiteX66" fmla="*/ 578803 w 947897"/>
                                                                          <a:gd name="connsiteY66" fmla="*/ 57150 h 452437"/>
                                                                          <a:gd name="connsiteX67" fmla="*/ 593090 w 947897"/>
                                                                          <a:gd name="connsiteY67" fmla="*/ 64294 h 452437"/>
                                                                          <a:gd name="connsiteX68" fmla="*/ 616903 w 947897"/>
                                                                          <a:gd name="connsiteY68" fmla="*/ 61912 h 452437"/>
                                                                          <a:gd name="connsiteX69" fmla="*/ 624047 w 947897"/>
                                                                          <a:gd name="connsiteY69" fmla="*/ 57150 h 452437"/>
                                                                          <a:gd name="connsiteX70" fmla="*/ 643097 w 947897"/>
                                                                          <a:gd name="connsiteY70" fmla="*/ 59531 h 452437"/>
                                                                          <a:gd name="connsiteX71" fmla="*/ 666909 w 947897"/>
                                                                          <a:gd name="connsiteY71" fmla="*/ 61912 h 452437"/>
                                                                          <a:gd name="connsiteX72" fmla="*/ 674053 w 947897"/>
                                                                          <a:gd name="connsiteY72" fmla="*/ 57150 h 452437"/>
                                                                          <a:gd name="connsiteX73" fmla="*/ 683578 w 947897"/>
                                                                          <a:gd name="connsiteY73" fmla="*/ 47625 h 452437"/>
                                                                          <a:gd name="connsiteX74" fmla="*/ 690722 w 947897"/>
                                                                          <a:gd name="connsiteY74" fmla="*/ 33337 h 452437"/>
                                                                          <a:gd name="connsiteX75" fmla="*/ 697865 w 947897"/>
                                                                          <a:gd name="connsiteY75" fmla="*/ 30956 h 452437"/>
                                                                          <a:gd name="connsiteX76" fmla="*/ 700247 w 947897"/>
                                                                          <a:gd name="connsiteY76" fmla="*/ 21431 h 452437"/>
                                                                          <a:gd name="connsiteX77" fmla="*/ 702628 w 947897"/>
                                                                          <a:gd name="connsiteY77" fmla="*/ 14287 h 452437"/>
                                                                          <a:gd name="connsiteX78" fmla="*/ 705009 w 947897"/>
                                                                          <a:gd name="connsiteY78" fmla="*/ 2381 h 452437"/>
                                                                          <a:gd name="connsiteX79" fmla="*/ 712153 w 947897"/>
                                                                          <a:gd name="connsiteY79" fmla="*/ 0 h 452437"/>
                                                                          <a:gd name="connsiteX80" fmla="*/ 719297 w 947897"/>
                                                                          <a:gd name="connsiteY80" fmla="*/ 4762 h 452437"/>
                                                                          <a:gd name="connsiteX81" fmla="*/ 724059 w 947897"/>
                                                                          <a:gd name="connsiteY81" fmla="*/ 11906 h 452437"/>
                                                                          <a:gd name="connsiteX82" fmla="*/ 776447 w 947897"/>
                                                                          <a:gd name="connsiteY82" fmla="*/ 19050 h 452437"/>
                                                                          <a:gd name="connsiteX83" fmla="*/ 785972 w 947897"/>
                                                                          <a:gd name="connsiteY83" fmla="*/ 21431 h 452437"/>
                                                                          <a:gd name="connsiteX84" fmla="*/ 809784 w 947897"/>
                                                                          <a:gd name="connsiteY84" fmla="*/ 26194 h 452437"/>
                                                                          <a:gd name="connsiteX85" fmla="*/ 824072 w 947897"/>
                                                                          <a:gd name="connsiteY85" fmla="*/ 30956 h 452437"/>
                                                                          <a:gd name="connsiteX86" fmla="*/ 835978 w 947897"/>
                                                                          <a:gd name="connsiteY86" fmla="*/ 33337 h 452437"/>
                                                                          <a:gd name="connsiteX87" fmla="*/ 850265 w 947897"/>
                                                                          <a:gd name="connsiteY87" fmla="*/ 38100 h 452437"/>
                                                                          <a:gd name="connsiteX88" fmla="*/ 888365 w 947897"/>
                                                                          <a:gd name="connsiteY88" fmla="*/ 40481 h 452437"/>
                                                                          <a:gd name="connsiteX89" fmla="*/ 895509 w 947897"/>
                                                                          <a:gd name="connsiteY89" fmla="*/ 45244 h 452437"/>
                                                                          <a:gd name="connsiteX90" fmla="*/ 909797 w 947897"/>
                                                                          <a:gd name="connsiteY90" fmla="*/ 50006 h 452437"/>
                                                                          <a:gd name="connsiteX91" fmla="*/ 916940 w 947897"/>
                                                                          <a:gd name="connsiteY91" fmla="*/ 54769 h 452437"/>
                                                                          <a:gd name="connsiteX92" fmla="*/ 924084 w 947897"/>
                                                                          <a:gd name="connsiteY92" fmla="*/ 57150 h 452437"/>
                                                                          <a:gd name="connsiteX93" fmla="*/ 928847 w 947897"/>
                                                                          <a:gd name="connsiteY93" fmla="*/ 71437 h 452437"/>
                                                                          <a:gd name="connsiteX94" fmla="*/ 924084 w 947897"/>
                                                                          <a:gd name="connsiteY94" fmla="*/ 88106 h 452437"/>
                                                                          <a:gd name="connsiteX95" fmla="*/ 921703 w 947897"/>
                                                                          <a:gd name="connsiteY95" fmla="*/ 97631 h 452437"/>
                                                                          <a:gd name="connsiteX96" fmla="*/ 926465 w 947897"/>
                                                                          <a:gd name="connsiteY96" fmla="*/ 145256 h 452437"/>
                                                                          <a:gd name="connsiteX97" fmla="*/ 931228 w 947897"/>
                                                                          <a:gd name="connsiteY97" fmla="*/ 152400 h 452437"/>
                                                                          <a:gd name="connsiteX98" fmla="*/ 940753 w 947897"/>
                                                                          <a:gd name="connsiteY98" fmla="*/ 164306 h 452437"/>
                                                                          <a:gd name="connsiteX99" fmla="*/ 943134 w 947897"/>
                                                                          <a:gd name="connsiteY99" fmla="*/ 171450 h 452437"/>
                                                                          <a:gd name="connsiteX100" fmla="*/ 947897 w 947897"/>
                                                                          <a:gd name="connsiteY100" fmla="*/ 178594 h 452437"/>
                                                                          <a:gd name="connsiteX101" fmla="*/ 945515 w 947897"/>
                                                                          <a:gd name="connsiteY101" fmla="*/ 190500 h 452437"/>
                                                                          <a:gd name="connsiteX102" fmla="*/ 940753 w 947897"/>
                                                                          <a:gd name="connsiteY102" fmla="*/ 204787 h 452437"/>
                                                                          <a:gd name="connsiteX103" fmla="*/ 933609 w 947897"/>
                                                                          <a:gd name="connsiteY103" fmla="*/ 235744 h 452437"/>
                                                                          <a:gd name="connsiteX104" fmla="*/ 919322 w 947897"/>
                                                                          <a:gd name="connsiteY104" fmla="*/ 240506 h 452437"/>
                                                                          <a:gd name="connsiteX105" fmla="*/ 902653 w 947897"/>
                                                                          <a:gd name="connsiteY105" fmla="*/ 238125 h 452437"/>
                                                                          <a:gd name="connsiteX106" fmla="*/ 895509 w 947897"/>
                                                                          <a:gd name="connsiteY106" fmla="*/ 235744 h 452437"/>
                                                                          <a:gd name="connsiteX107" fmla="*/ 885984 w 947897"/>
                                                                          <a:gd name="connsiteY107" fmla="*/ 233362 h 452437"/>
                                                                          <a:gd name="connsiteX108" fmla="*/ 862172 w 947897"/>
                                                                          <a:gd name="connsiteY108" fmla="*/ 230981 h 452437"/>
                                                                          <a:gd name="connsiteX109" fmla="*/ 857409 w 947897"/>
                                                                          <a:gd name="connsiteY109" fmla="*/ 245269 h 452437"/>
                                                                          <a:gd name="connsiteX110" fmla="*/ 859790 w 947897"/>
                                                                          <a:gd name="connsiteY110" fmla="*/ 252412 h 452437"/>
                                                                          <a:gd name="connsiteX111" fmla="*/ 874078 w 947897"/>
                                                                          <a:gd name="connsiteY111" fmla="*/ 259556 h 452437"/>
                                                                          <a:gd name="connsiteX112" fmla="*/ 881222 w 947897"/>
                                                                          <a:gd name="connsiteY112" fmla="*/ 273844 h 452437"/>
                                                                          <a:gd name="connsiteX113" fmla="*/ 876459 w 947897"/>
                                                                          <a:gd name="connsiteY113" fmla="*/ 288131 h 452437"/>
                                                                          <a:gd name="connsiteX114" fmla="*/ 862172 w 947897"/>
                                                                          <a:gd name="connsiteY114" fmla="*/ 292894 h 452437"/>
                                                                          <a:gd name="connsiteX115" fmla="*/ 857409 w 947897"/>
                                                                          <a:gd name="connsiteY115" fmla="*/ 328612 h 452437"/>
                                                                          <a:gd name="connsiteX116" fmla="*/ 852647 w 947897"/>
                                                                          <a:gd name="connsiteY116" fmla="*/ 342900 h 452437"/>
                                                                          <a:gd name="connsiteX117" fmla="*/ 852647 w 947897"/>
                                                                          <a:gd name="connsiteY117" fmla="*/ 361950 h 452437"/>
                                                                          <a:gd name="connsiteX118" fmla="*/ 838359 w 947897"/>
                                                                          <a:gd name="connsiteY118" fmla="*/ 366712 h 452437"/>
                                                                          <a:gd name="connsiteX119" fmla="*/ 824072 w 947897"/>
                                                                          <a:gd name="connsiteY119" fmla="*/ 373856 h 452437"/>
                                                                          <a:gd name="connsiteX120" fmla="*/ 816928 w 947897"/>
                                                                          <a:gd name="connsiteY120" fmla="*/ 376237 h 452437"/>
                                                                          <a:gd name="connsiteX121" fmla="*/ 809784 w 947897"/>
                                                                          <a:gd name="connsiteY121" fmla="*/ 381000 h 452437"/>
                                                                          <a:gd name="connsiteX122" fmla="*/ 802640 w 947897"/>
                                                                          <a:gd name="connsiteY122" fmla="*/ 383381 h 452437"/>
                                                                          <a:gd name="connsiteX123" fmla="*/ 793115 w 947897"/>
                                                                          <a:gd name="connsiteY123" fmla="*/ 392906 h 452437"/>
                                                                          <a:gd name="connsiteX124" fmla="*/ 790734 w 947897"/>
                                                                          <a:gd name="connsiteY124" fmla="*/ 400050 h 452437"/>
                                                                          <a:gd name="connsiteX125" fmla="*/ 785972 w 947897"/>
                                                                          <a:gd name="connsiteY125" fmla="*/ 407194 h 452437"/>
                                                                          <a:gd name="connsiteX126" fmla="*/ 783590 w 947897"/>
                                                                          <a:gd name="connsiteY126" fmla="*/ 419100 h 452437"/>
                                                                          <a:gd name="connsiteX127" fmla="*/ 781209 w 947897"/>
                                                                          <a:gd name="connsiteY127" fmla="*/ 426244 h 452437"/>
                                                                          <a:gd name="connsiteX128" fmla="*/ 766922 w 947897"/>
                                                                          <a:gd name="connsiteY128" fmla="*/ 431006 h 452437"/>
                                                                          <a:gd name="connsiteX129" fmla="*/ 747872 w 947897"/>
                                                                          <a:gd name="connsiteY129" fmla="*/ 428625 h 452437"/>
                                                                          <a:gd name="connsiteX130" fmla="*/ 707390 w 947897"/>
                                                                          <a:gd name="connsiteY130" fmla="*/ 433387 h 452437"/>
                                                                          <a:gd name="connsiteX131" fmla="*/ 685959 w 947897"/>
                                                                          <a:gd name="connsiteY131" fmla="*/ 428625 h 452437"/>
                                                                          <a:gd name="connsiteX132" fmla="*/ 678815 w 947897"/>
                                                                          <a:gd name="connsiteY132" fmla="*/ 423862 h 452437"/>
                                                                          <a:gd name="connsiteX133" fmla="*/ 664528 w 947897"/>
                                                                          <a:gd name="connsiteY133" fmla="*/ 419100 h 452437"/>
                                                                          <a:gd name="connsiteX134" fmla="*/ 657384 w 947897"/>
                                                                          <a:gd name="connsiteY134" fmla="*/ 423862 h 452437"/>
                                                                          <a:gd name="connsiteX135" fmla="*/ 643097 w 947897"/>
                                                                          <a:gd name="connsiteY135" fmla="*/ 428625 h 452437"/>
                                                                          <a:gd name="connsiteX136" fmla="*/ 631190 w 947897"/>
                                                                          <a:gd name="connsiteY136" fmla="*/ 438150 h 452437"/>
                                                                          <a:gd name="connsiteX137" fmla="*/ 616903 w 947897"/>
                                                                          <a:gd name="connsiteY137" fmla="*/ 447675 h 452437"/>
                                                                          <a:gd name="connsiteX138" fmla="*/ 607378 w 947897"/>
                                                                          <a:gd name="connsiteY138" fmla="*/ 452437 h 452437"/>
                                                                          <a:gd name="connsiteX139" fmla="*/ 593090 w 947897"/>
                                                                          <a:gd name="connsiteY139" fmla="*/ 450056 h 452437"/>
                                                                          <a:gd name="connsiteX140" fmla="*/ 578803 w 947897"/>
                                                                          <a:gd name="connsiteY140" fmla="*/ 445294 h 452437"/>
                                                                          <a:gd name="connsiteX141" fmla="*/ 571659 w 947897"/>
                                                                          <a:gd name="connsiteY141" fmla="*/ 440531 h 452437"/>
                                                                          <a:gd name="connsiteX142" fmla="*/ 557372 w 947897"/>
                                                                          <a:gd name="connsiteY142" fmla="*/ 435769 h 452437"/>
                                                                          <a:gd name="connsiteX143" fmla="*/ 550228 w 947897"/>
                                                                          <a:gd name="connsiteY143" fmla="*/ 433387 h 452437"/>
                                                                          <a:gd name="connsiteX144" fmla="*/ 531178 w 947897"/>
                                                                          <a:gd name="connsiteY144" fmla="*/ 431006 h 452437"/>
                                                                          <a:gd name="connsiteX145" fmla="*/ 509747 w 947897"/>
                                                                          <a:gd name="connsiteY145" fmla="*/ 428625 h 452437"/>
                                                                          <a:gd name="connsiteX146" fmla="*/ 483553 w 947897"/>
                                                                          <a:gd name="connsiteY146" fmla="*/ 421481 h 452437"/>
                                                                          <a:gd name="connsiteX147" fmla="*/ 469265 w 947897"/>
                                                                          <a:gd name="connsiteY147" fmla="*/ 416719 h 452437"/>
                                                                          <a:gd name="connsiteX148" fmla="*/ 447834 w 947897"/>
                                                                          <a:gd name="connsiteY148" fmla="*/ 411956 h 452437"/>
                                                                          <a:gd name="connsiteX149" fmla="*/ 431165 w 947897"/>
                                                                          <a:gd name="connsiteY149" fmla="*/ 407194 h 452437"/>
                                                                          <a:gd name="connsiteX150" fmla="*/ 412115 w 947897"/>
                                                                          <a:gd name="connsiteY150" fmla="*/ 402431 h 452437"/>
                                                                          <a:gd name="connsiteX151" fmla="*/ 397828 w 947897"/>
                                                                          <a:gd name="connsiteY151" fmla="*/ 395287 h 452437"/>
                                                                          <a:gd name="connsiteX152" fmla="*/ 390684 w 947897"/>
                                                                          <a:gd name="connsiteY152" fmla="*/ 390525 h 452437"/>
                                                                          <a:gd name="connsiteX153" fmla="*/ 376397 w 947897"/>
                                                                          <a:gd name="connsiteY153" fmla="*/ 385762 h 452437"/>
                                                                          <a:gd name="connsiteX154" fmla="*/ 362109 w 947897"/>
                                                                          <a:gd name="connsiteY154" fmla="*/ 381000 h 452437"/>
                                                                          <a:gd name="connsiteX155" fmla="*/ 347822 w 947897"/>
                                                                          <a:gd name="connsiteY155" fmla="*/ 376237 h 452437"/>
                                                                          <a:gd name="connsiteX156" fmla="*/ 333534 w 947897"/>
                                                                          <a:gd name="connsiteY156" fmla="*/ 366712 h 452437"/>
                                                                          <a:gd name="connsiteX157" fmla="*/ 328772 w 947897"/>
                                                                          <a:gd name="connsiteY157" fmla="*/ 359569 h 452437"/>
                                                                          <a:gd name="connsiteX158" fmla="*/ 319247 w 947897"/>
                                                                          <a:gd name="connsiteY158" fmla="*/ 338137 h 452437"/>
                                                                          <a:gd name="connsiteX159" fmla="*/ 321628 w 947897"/>
                                                                          <a:gd name="connsiteY159" fmla="*/ 330994 h 452437"/>
                                                                          <a:gd name="connsiteX160" fmla="*/ 335915 w 947897"/>
                                                                          <a:gd name="connsiteY160" fmla="*/ 323850 h 452437"/>
                                                                          <a:gd name="connsiteX161" fmla="*/ 333534 w 947897"/>
                                                                          <a:gd name="connsiteY161" fmla="*/ 314325 h 452437"/>
                                                                          <a:gd name="connsiteX162" fmla="*/ 316865 w 947897"/>
                                                                          <a:gd name="connsiteY162" fmla="*/ 307181 h 452437"/>
                                                                          <a:gd name="connsiteX163" fmla="*/ 302578 w 947897"/>
                                                                          <a:gd name="connsiteY163" fmla="*/ 309562 h 452437"/>
                                                                          <a:gd name="connsiteX164" fmla="*/ 295434 w 947897"/>
                                                                          <a:gd name="connsiteY164" fmla="*/ 311944 h 452437"/>
                                                                          <a:gd name="connsiteX165" fmla="*/ 276384 w 947897"/>
                                                                          <a:gd name="connsiteY165" fmla="*/ 316706 h 452437"/>
                                                                          <a:gd name="connsiteX166" fmla="*/ 266859 w 947897"/>
                                                                          <a:gd name="connsiteY166" fmla="*/ 319087 h 452437"/>
                                                                          <a:gd name="connsiteX167" fmla="*/ 240665 w 947897"/>
                                                                          <a:gd name="connsiteY167" fmla="*/ 316706 h 452437"/>
                                                                          <a:gd name="connsiteX168" fmla="*/ 226378 w 947897"/>
                                                                          <a:gd name="connsiteY168" fmla="*/ 311944 h 452437"/>
                                                                          <a:gd name="connsiteX169" fmla="*/ 219234 w 947897"/>
                                                                          <a:gd name="connsiteY169" fmla="*/ 307181 h 452437"/>
                                                                          <a:gd name="connsiteX170" fmla="*/ 183515 w 947897"/>
                                                                          <a:gd name="connsiteY170" fmla="*/ 311944 h 452437"/>
                                                                          <a:gd name="connsiteX171" fmla="*/ 181134 w 947897"/>
                                                                          <a:gd name="connsiteY171" fmla="*/ 319087 h 452437"/>
                                                                          <a:gd name="connsiteX172" fmla="*/ 173990 w 947897"/>
                                                                          <a:gd name="connsiteY172" fmla="*/ 323850 h 452437"/>
                                                                          <a:gd name="connsiteX173" fmla="*/ 159703 w 947897"/>
                                                                          <a:gd name="connsiteY173" fmla="*/ 333375 h 452437"/>
                                                                          <a:gd name="connsiteX174" fmla="*/ 133509 w 947897"/>
                                                                          <a:gd name="connsiteY174" fmla="*/ 328612 h 452437"/>
                                                                          <a:gd name="connsiteX175" fmla="*/ 119222 w 947897"/>
                                                                          <a:gd name="connsiteY175" fmla="*/ 319087 h 452437"/>
                                                                          <a:gd name="connsiteX176" fmla="*/ 109697 w 947897"/>
                                                                          <a:gd name="connsiteY176" fmla="*/ 328612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947897" h="452437">
                                                                            <a:moveTo>
                                                                              <a:pt x="109697" y="328612"/>
                                                                            </a:moveTo>
                                                                            <a:lnTo>
                                                                              <a:pt x="109697" y="328612"/>
                                                                            </a:lnTo>
                                                                            <a:cubicBezTo>
                                                                              <a:pt x="108276" y="327597"/>
                                                                              <a:pt x="93150" y="314325"/>
                                                                              <a:pt x="85884" y="314325"/>
                                                                            </a:cubicBezTo>
                                                                            <a:cubicBezTo>
                                                                              <a:pt x="79485" y="314325"/>
                                                                              <a:pt x="73184" y="315912"/>
                                                                              <a:pt x="66834" y="316706"/>
                                                                            </a:cubicBezTo>
                                                                            <a:cubicBezTo>
                                                                              <a:pt x="64453" y="317500"/>
                                                                              <a:pt x="62200" y="319087"/>
                                                                              <a:pt x="59690" y="319087"/>
                                                                            </a:cubicBezTo>
                                                                            <a:cubicBezTo>
                                                                              <a:pt x="52023" y="319087"/>
                                                                              <a:pt x="51441" y="315047"/>
                                                                              <a:pt x="47784" y="309562"/>
                                                                            </a:cubicBezTo>
                                                                            <a:cubicBezTo>
                                                                              <a:pt x="39098" y="283505"/>
                                                                              <a:pt x="52953" y="322979"/>
                                                                              <a:pt x="40640" y="295275"/>
                                                                            </a:cubicBezTo>
                                                                            <a:cubicBezTo>
                                                                              <a:pt x="38601" y="290687"/>
                                                                              <a:pt x="37465" y="285750"/>
                                                                              <a:pt x="35878" y="280987"/>
                                                                            </a:cubicBezTo>
                                                                            <a:lnTo>
                                                                              <a:pt x="33497" y="273844"/>
                                                                            </a:lnTo>
                                                                            <a:cubicBezTo>
                                                                              <a:pt x="32703" y="271463"/>
                                                                              <a:pt x="33496" y="267494"/>
                                                                              <a:pt x="31115" y="266700"/>
                                                                            </a:cubicBezTo>
                                                                            <a:lnTo>
                                                                              <a:pt x="23972" y="264319"/>
                                                                            </a:lnTo>
                                                                            <a:cubicBezTo>
                                                                              <a:pt x="21591" y="262731"/>
                                                                              <a:pt x="19443" y="260718"/>
                                                                              <a:pt x="16828" y="259556"/>
                                                                            </a:cubicBezTo>
                                                                            <a:cubicBezTo>
                                                                              <a:pt x="12240" y="257517"/>
                                                                              <a:pt x="2540" y="254794"/>
                                                                              <a:pt x="2540" y="254794"/>
                                                                            </a:cubicBezTo>
                                                                            <a:cubicBezTo>
                                                                              <a:pt x="1746" y="252413"/>
                                                                              <a:pt x="-635" y="250031"/>
                                                                              <a:pt x="159" y="247650"/>
                                                                            </a:cubicBezTo>
                                                                            <a:cubicBezTo>
                                                                              <a:pt x="1969" y="242220"/>
                                                                              <a:pt x="7874" y="238792"/>
                                                                              <a:pt x="9684" y="233362"/>
                                                                            </a:cubicBezTo>
                                                                            <a:cubicBezTo>
                                                                              <a:pt x="12970" y="223504"/>
                                                                              <a:pt x="10673" y="228307"/>
                                                                              <a:pt x="16828" y="219075"/>
                                                                            </a:cubicBezTo>
                                                                            <a:cubicBezTo>
                                                                              <a:pt x="17622" y="215106"/>
                                                                              <a:pt x="18227" y="211095"/>
                                                                              <a:pt x="19209" y="207169"/>
                                                                            </a:cubicBezTo>
                                                                            <a:cubicBezTo>
                                                                              <a:pt x="19818" y="204734"/>
                                                                              <a:pt x="19547" y="201484"/>
                                                                              <a:pt x="21590" y="200025"/>
                                                                            </a:cubicBezTo>
                                                                            <a:cubicBezTo>
                                                                              <a:pt x="25675" y="197107"/>
                                                                              <a:pt x="31701" y="198047"/>
                                                                              <a:pt x="35878" y="195262"/>
                                                                            </a:cubicBezTo>
                                                                            <a:cubicBezTo>
                                                                              <a:pt x="45110" y="189108"/>
                                                                              <a:pt x="40307" y="191405"/>
                                                                              <a:pt x="50165" y="188119"/>
                                                                            </a:cubicBezTo>
                                                                            <a:cubicBezTo>
                                                                              <a:pt x="51753" y="190500"/>
                                                                              <a:pt x="52693" y="193474"/>
                                                                              <a:pt x="54928" y="195262"/>
                                                                            </a:cubicBezTo>
                                                                            <a:cubicBezTo>
                                                                              <a:pt x="56888" y="196830"/>
                                                                              <a:pt x="59827" y="196521"/>
                                                                              <a:pt x="62072" y="197644"/>
                                                                            </a:cubicBezTo>
                                                                            <a:cubicBezTo>
                                                                              <a:pt x="64631" y="198924"/>
                                                                              <a:pt x="66834" y="200819"/>
                                                                              <a:pt x="69215" y="202406"/>
                                                                            </a:cubicBezTo>
                                                                            <a:cubicBezTo>
                                                                              <a:pt x="72390" y="207169"/>
                                                                              <a:pt x="76930" y="211264"/>
                                                                              <a:pt x="78740" y="216694"/>
                                                                            </a:cubicBezTo>
                                                                            <a:cubicBezTo>
                                                                              <a:pt x="81097" y="223763"/>
                                                                              <a:pt x="82606" y="232466"/>
                                                                              <a:pt x="88265" y="238125"/>
                                                                            </a:cubicBezTo>
                                                                            <a:cubicBezTo>
                                                                              <a:pt x="90289" y="240149"/>
                                                                              <a:pt x="93028" y="241300"/>
                                                                              <a:pt x="95409" y="242887"/>
                                                                            </a:cubicBezTo>
                                                                            <a:cubicBezTo>
                                                                              <a:pt x="101759" y="242093"/>
                                                                              <a:pt x="108163" y="241651"/>
                                                                              <a:pt x="114459" y="240506"/>
                                                                            </a:cubicBezTo>
                                                                            <a:cubicBezTo>
                                                                              <a:pt x="116929" y="240057"/>
                                                                              <a:pt x="120671" y="240456"/>
                                                                              <a:pt x="121603" y="238125"/>
                                                                            </a:cubicBezTo>
                                                                            <a:cubicBezTo>
                                                                              <a:pt x="124272" y="231451"/>
                                                                              <a:pt x="123190" y="223838"/>
                                                                              <a:pt x="123984" y="216694"/>
                                                                            </a:cubicBezTo>
                                                                            <a:cubicBezTo>
                                                                              <a:pt x="130122" y="217571"/>
                                                                              <a:pt x="141149" y="218132"/>
                                                                              <a:pt x="147797" y="221456"/>
                                                                            </a:cubicBezTo>
                                                                            <a:cubicBezTo>
                                                                              <a:pt x="150357" y="222736"/>
                                                                              <a:pt x="152559" y="224631"/>
                                                                              <a:pt x="154940" y="226219"/>
                                                                            </a:cubicBezTo>
                                                                            <a:cubicBezTo>
                                                                              <a:pt x="157321" y="225425"/>
                                                                              <a:pt x="159589" y="223560"/>
                                                                              <a:pt x="162084" y="223837"/>
                                                                            </a:cubicBezTo>
                                                                            <a:cubicBezTo>
                                                                              <a:pt x="167074" y="224391"/>
                                                                              <a:pt x="176372" y="228600"/>
                                                                              <a:pt x="176372" y="228600"/>
                                                                            </a:cubicBezTo>
                                                                            <a:cubicBezTo>
                                                                              <a:pt x="177959" y="230981"/>
                                                                              <a:pt x="178935" y="233912"/>
                                                                              <a:pt x="181134" y="235744"/>
                                                                            </a:cubicBezTo>
                                                                            <a:cubicBezTo>
                                                                              <a:pt x="185057" y="239013"/>
                                                                              <a:pt x="192841" y="241233"/>
                                                                              <a:pt x="197803" y="242887"/>
                                                                            </a:cubicBezTo>
                                                                            <a:cubicBezTo>
                                                                              <a:pt x="203359" y="242093"/>
                                                                              <a:pt x="209003" y="241768"/>
                                                                              <a:pt x="214472" y="240506"/>
                                                                            </a:cubicBezTo>
                                                                            <a:cubicBezTo>
                                                                              <a:pt x="219363" y="239377"/>
                                                                              <a:pt x="223997" y="237331"/>
                                                                              <a:pt x="228759" y="235744"/>
                                                                            </a:cubicBezTo>
                                                                            <a:lnTo>
                                                                              <a:pt x="243047" y="230981"/>
                                                                            </a:lnTo>
                                                                            <a:cubicBezTo>
                                                                              <a:pt x="246222" y="230187"/>
                                                                              <a:pt x="249377" y="229310"/>
                                                                              <a:pt x="252572" y="228600"/>
                                                                            </a:cubicBezTo>
                                                                            <a:cubicBezTo>
                                                                              <a:pt x="272037" y="224275"/>
                                                                              <a:pt x="269703" y="225846"/>
                                                                              <a:pt x="297815" y="223837"/>
                                                                            </a:cubicBezTo>
                                                                            <a:cubicBezTo>
                                                                              <a:pt x="306465" y="220954"/>
                                                                              <a:pt x="302449" y="221456"/>
                                                                              <a:pt x="309722" y="221456"/>
                                                                            </a:cubicBezTo>
                                                                            <a:lnTo>
                                                                              <a:pt x="331153" y="211931"/>
                                                                            </a:lnTo>
                                                                            <a:cubicBezTo>
                                                                              <a:pt x="360320" y="208691"/>
                                                                              <a:pt x="360690" y="207474"/>
                                                                              <a:pt x="397828" y="211931"/>
                                                                            </a:cubicBezTo>
                                                                            <a:cubicBezTo>
                                                                              <a:pt x="402812" y="212529"/>
                                                                              <a:pt x="412115" y="216694"/>
                                                                              <a:pt x="412115" y="216694"/>
                                                                            </a:cubicBezTo>
                                                                            <a:cubicBezTo>
                                                                              <a:pt x="415290" y="221456"/>
                                                                              <a:pt x="420251" y="225428"/>
                                                                              <a:pt x="421640" y="230981"/>
                                                                            </a:cubicBezTo>
                                                                            <a:cubicBezTo>
                                                                              <a:pt x="422434" y="234156"/>
                                                                              <a:pt x="421977" y="237950"/>
                                                                              <a:pt x="424022" y="240506"/>
                                                                            </a:cubicBezTo>
                                                                            <a:cubicBezTo>
                                                                              <a:pt x="425590" y="242466"/>
                                                                              <a:pt x="428784" y="242093"/>
                                                                              <a:pt x="431165" y="242887"/>
                                                                            </a:cubicBezTo>
                                                                            <a:cubicBezTo>
                                                                              <a:pt x="437515" y="242093"/>
                                                                              <a:pt x="444273" y="242883"/>
                                                                              <a:pt x="450215" y="240506"/>
                                                                            </a:cubicBezTo>
                                                                            <a:cubicBezTo>
                                                                              <a:pt x="458809" y="237069"/>
                                                                              <a:pt x="453504" y="223156"/>
                                                                              <a:pt x="452597" y="219075"/>
                                                                            </a:cubicBezTo>
                                                                            <a:cubicBezTo>
                                                                              <a:pt x="450203" y="208305"/>
                                                                              <a:pt x="450589" y="215059"/>
                                                                              <a:pt x="445453" y="204787"/>
                                                                            </a:cubicBezTo>
                                                                            <a:cubicBezTo>
                                                                              <a:pt x="442564" y="199008"/>
                                                                              <a:pt x="442320" y="191712"/>
                                                                              <a:pt x="440690" y="185737"/>
                                                                            </a:cubicBezTo>
                                                                            <a:cubicBezTo>
                                                                              <a:pt x="438709" y="178472"/>
                                                                              <a:pt x="435928" y="171450"/>
                                                                              <a:pt x="433547" y="164306"/>
                                                                            </a:cubicBezTo>
                                                                            <a:lnTo>
                                                                              <a:pt x="431165" y="157162"/>
                                                                            </a:lnTo>
                                                                            <a:cubicBezTo>
                                                                              <a:pt x="431959" y="152400"/>
                                                                              <a:pt x="431586" y="147287"/>
                                                                              <a:pt x="433547" y="142875"/>
                                                                            </a:cubicBezTo>
                                                                            <a:cubicBezTo>
                                                                              <a:pt x="437267" y="134504"/>
                                                                              <a:pt x="447890" y="133332"/>
                                                                              <a:pt x="454978" y="130969"/>
                                                                            </a:cubicBezTo>
                                                                            <a:cubicBezTo>
                                                                              <a:pt x="457359" y="130175"/>
                                                                              <a:pt x="460033" y="129979"/>
                                                                              <a:pt x="462122" y="128587"/>
                                                                            </a:cubicBezTo>
                                                                            <a:cubicBezTo>
                                                                              <a:pt x="464503" y="127000"/>
                                                                              <a:pt x="466650" y="124987"/>
                                                                              <a:pt x="469265" y="123825"/>
                                                                            </a:cubicBezTo>
                                                                            <a:cubicBezTo>
                                                                              <a:pt x="473853" y="121786"/>
                                                                              <a:pt x="478790" y="120650"/>
                                                                              <a:pt x="483553" y="119062"/>
                                                                            </a:cubicBezTo>
                                                                            <a:lnTo>
                                                                              <a:pt x="490697" y="116681"/>
                                                                            </a:lnTo>
                                                                            <a:cubicBezTo>
                                                                              <a:pt x="492284" y="114300"/>
                                                                              <a:pt x="494454" y="112217"/>
                                                                              <a:pt x="495459" y="109537"/>
                                                                            </a:cubicBezTo>
                                                                            <a:cubicBezTo>
                                                                              <a:pt x="499538" y="98659"/>
                                                                              <a:pt x="495812" y="99306"/>
                                                                              <a:pt x="500222" y="90487"/>
                                                                            </a:cubicBezTo>
                                                                            <a:cubicBezTo>
                                                                              <a:pt x="501502" y="87928"/>
                                                                              <a:pt x="503397" y="85725"/>
                                                                              <a:pt x="504984" y="83344"/>
                                                                            </a:cubicBezTo>
                                                                            <a:cubicBezTo>
                                                                              <a:pt x="507371" y="76183"/>
                                                                              <a:pt x="506998" y="75212"/>
                                                                              <a:pt x="512128" y="69056"/>
                                                                            </a:cubicBezTo>
                                                                            <a:cubicBezTo>
                                                                              <a:pt x="514284" y="66469"/>
                                                                              <a:pt x="516328" y="63547"/>
                                                                              <a:pt x="519272" y="61912"/>
                                                                            </a:cubicBezTo>
                                                                            <a:cubicBezTo>
                                                                              <a:pt x="523660" y="59474"/>
                                                                              <a:pt x="528797" y="58737"/>
                                                                              <a:pt x="533559" y="57150"/>
                                                                            </a:cubicBezTo>
                                                                            <a:cubicBezTo>
                                                                              <a:pt x="545282" y="53243"/>
                                                                              <a:pt x="538229" y="55181"/>
                                                                              <a:pt x="554990" y="52387"/>
                                                                            </a:cubicBezTo>
                                                                            <a:cubicBezTo>
                                                                              <a:pt x="561130" y="53264"/>
                                                                              <a:pt x="572154" y="53826"/>
                                                                              <a:pt x="578803" y="57150"/>
                                                                            </a:cubicBezTo>
                                                                            <a:cubicBezTo>
                                                                              <a:pt x="597278" y="66386"/>
                                                                              <a:pt x="575126" y="58304"/>
                                                                              <a:pt x="593090" y="64294"/>
                                                                            </a:cubicBezTo>
                                                                            <a:cubicBezTo>
                                                                              <a:pt x="601028" y="63500"/>
                                                                              <a:pt x="609130" y="63706"/>
                                                                              <a:pt x="616903" y="61912"/>
                                                                            </a:cubicBezTo>
                                                                            <a:cubicBezTo>
                                                                              <a:pt x="619692" y="61268"/>
                                                                              <a:pt x="621197" y="57409"/>
                                                                              <a:pt x="624047" y="57150"/>
                                                                            </a:cubicBezTo>
                                                                            <a:cubicBezTo>
                                                                              <a:pt x="630420" y="56571"/>
                                                                              <a:pt x="636747" y="58737"/>
                                                                              <a:pt x="643097" y="59531"/>
                                                                            </a:cubicBezTo>
                                                                            <a:cubicBezTo>
                                                                              <a:pt x="660489" y="65329"/>
                                                                              <a:pt x="652514" y="65512"/>
                                                                              <a:pt x="666909" y="61912"/>
                                                                            </a:cubicBezTo>
                                                                            <a:cubicBezTo>
                                                                              <a:pt x="669290" y="60325"/>
                                                                              <a:pt x="672265" y="59385"/>
                                                                              <a:pt x="674053" y="57150"/>
                                                                            </a:cubicBezTo>
                                                                            <a:cubicBezTo>
                                                                              <a:pt x="683290" y="45604"/>
                                                                              <a:pt x="667991" y="52820"/>
                                                                              <a:pt x="683578" y="47625"/>
                                                                            </a:cubicBezTo>
                                                                            <a:cubicBezTo>
                                                                              <a:pt x="685147" y="42918"/>
                                                                              <a:pt x="686524" y="36695"/>
                                                                              <a:pt x="690722" y="33337"/>
                                                                            </a:cubicBezTo>
                                                                            <a:cubicBezTo>
                                                                              <a:pt x="692682" y="31769"/>
                                                                              <a:pt x="695484" y="31750"/>
                                                                              <a:pt x="697865" y="30956"/>
                                                                            </a:cubicBezTo>
                                                                            <a:cubicBezTo>
                                                                              <a:pt x="698659" y="27781"/>
                                                                              <a:pt x="699348" y="24578"/>
                                                                              <a:pt x="700247" y="21431"/>
                                                                            </a:cubicBezTo>
                                                                            <a:cubicBezTo>
                                                                              <a:pt x="700937" y="19017"/>
                                                                              <a:pt x="702019" y="16722"/>
                                                                              <a:pt x="702628" y="14287"/>
                                                                            </a:cubicBezTo>
                                                                            <a:cubicBezTo>
                                                                              <a:pt x="703610" y="10361"/>
                                                                              <a:pt x="702764" y="5748"/>
                                                                              <a:pt x="705009" y="2381"/>
                                                                            </a:cubicBezTo>
                                                                            <a:cubicBezTo>
                                                                              <a:pt x="706401" y="292"/>
                                                                              <a:pt x="709772" y="794"/>
                                                                              <a:pt x="712153" y="0"/>
                                                                            </a:cubicBezTo>
                                                                            <a:cubicBezTo>
                                                                              <a:pt x="714534" y="1587"/>
                                                                              <a:pt x="717273" y="2738"/>
                                                                              <a:pt x="719297" y="4762"/>
                                                                            </a:cubicBezTo>
                                                                            <a:cubicBezTo>
                                                                              <a:pt x="721321" y="6786"/>
                                                                              <a:pt x="721632" y="10389"/>
                                                                              <a:pt x="724059" y="11906"/>
                                                                            </a:cubicBezTo>
                                                                            <a:cubicBezTo>
                                                                              <a:pt x="736751" y="19839"/>
                                                                              <a:pt x="767979" y="18521"/>
                                                                              <a:pt x="776447" y="19050"/>
                                                                            </a:cubicBezTo>
                                                                            <a:cubicBezTo>
                                                                              <a:pt x="779622" y="19844"/>
                                                                              <a:pt x="782772" y="20745"/>
                                                                              <a:pt x="785972" y="21431"/>
                                                                            </a:cubicBezTo>
                                                                            <a:cubicBezTo>
                                                                              <a:pt x="793887" y="23127"/>
                                                                              <a:pt x="802105" y="23635"/>
                                                                              <a:pt x="809784" y="26194"/>
                                                                            </a:cubicBezTo>
                                                                            <a:cubicBezTo>
                                                                              <a:pt x="814547" y="27781"/>
                                                                              <a:pt x="819149" y="29972"/>
                                                                              <a:pt x="824072" y="30956"/>
                                                                            </a:cubicBezTo>
                                                                            <a:cubicBezTo>
                                                                              <a:pt x="828041" y="31750"/>
                                                                              <a:pt x="832073" y="32272"/>
                                                                              <a:pt x="835978" y="33337"/>
                                                                            </a:cubicBezTo>
                                                                            <a:cubicBezTo>
                                                                              <a:pt x="840821" y="34658"/>
                                                                              <a:pt x="845255" y="37787"/>
                                                                              <a:pt x="850265" y="38100"/>
                                                                            </a:cubicBezTo>
                                                                            <a:lnTo>
                                                                              <a:pt x="888365" y="40481"/>
                                                                            </a:lnTo>
                                                                            <a:cubicBezTo>
                                                                              <a:pt x="890746" y="42069"/>
                                                                              <a:pt x="892894" y="44082"/>
                                                                              <a:pt x="895509" y="45244"/>
                                                                            </a:cubicBezTo>
                                                                            <a:cubicBezTo>
                                                                              <a:pt x="900097" y="47283"/>
                                                                              <a:pt x="909797" y="50006"/>
                                                                              <a:pt x="909797" y="50006"/>
                                                                            </a:cubicBezTo>
                                                                            <a:cubicBezTo>
                                                                              <a:pt x="912178" y="51594"/>
                                                                              <a:pt x="914380" y="53489"/>
                                                                              <a:pt x="916940" y="54769"/>
                                                                            </a:cubicBezTo>
                                                                            <a:cubicBezTo>
                                                                              <a:pt x="919185" y="55892"/>
                                                                              <a:pt x="922625" y="55108"/>
                                                                              <a:pt x="924084" y="57150"/>
                                                                            </a:cubicBezTo>
                                                                            <a:cubicBezTo>
                                                                              <a:pt x="927002" y="61235"/>
                                                                              <a:pt x="928847" y="71437"/>
                                                                              <a:pt x="928847" y="71437"/>
                                                                            </a:cubicBezTo>
                                                                            <a:cubicBezTo>
                                                                              <a:pt x="921387" y="101266"/>
                                                                              <a:pt x="930927" y="64152"/>
                                                                              <a:pt x="924084" y="88106"/>
                                                                            </a:cubicBezTo>
                                                                            <a:cubicBezTo>
                                                                              <a:pt x="923185" y="91253"/>
                                                                              <a:pt x="922497" y="94456"/>
                                                                              <a:pt x="921703" y="97631"/>
                                                                            </a:cubicBezTo>
                                                                            <a:cubicBezTo>
                                                                              <a:pt x="921842" y="99986"/>
                                                                              <a:pt x="920254" y="132834"/>
                                                                              <a:pt x="926465" y="145256"/>
                                                                            </a:cubicBezTo>
                                                                            <a:cubicBezTo>
                                                                              <a:pt x="927745" y="147816"/>
                                                                              <a:pt x="929640" y="150019"/>
                                                                              <a:pt x="931228" y="152400"/>
                                                                            </a:cubicBezTo>
                                                                            <a:cubicBezTo>
                                                                              <a:pt x="937213" y="170357"/>
                                                                              <a:pt x="928443" y="148919"/>
                                                                              <a:pt x="940753" y="164306"/>
                                                                            </a:cubicBezTo>
                                                                            <a:cubicBezTo>
                                                                              <a:pt x="942321" y="166266"/>
                                                                              <a:pt x="942011" y="169205"/>
                                                                              <a:pt x="943134" y="171450"/>
                                                                            </a:cubicBezTo>
                                                                            <a:cubicBezTo>
                                                                              <a:pt x="944414" y="174010"/>
                                                                              <a:pt x="946309" y="176213"/>
                                                                              <a:pt x="947897" y="178594"/>
                                                                            </a:cubicBezTo>
                                                                            <a:cubicBezTo>
                                                                              <a:pt x="947103" y="182563"/>
                                                                              <a:pt x="946580" y="186595"/>
                                                                              <a:pt x="945515" y="190500"/>
                                                                            </a:cubicBezTo>
                                                                            <a:cubicBezTo>
                                                                              <a:pt x="944194" y="195343"/>
                                                                              <a:pt x="940753" y="204787"/>
                                                                              <a:pt x="940753" y="204787"/>
                                                                            </a:cubicBezTo>
                                                                            <a:cubicBezTo>
                                                                              <a:pt x="940477" y="207548"/>
                                                                              <a:pt x="941940" y="230537"/>
                                                                              <a:pt x="933609" y="235744"/>
                                                                            </a:cubicBezTo>
                                                                            <a:cubicBezTo>
                                                                              <a:pt x="929352" y="238405"/>
                                                                              <a:pt x="919322" y="240506"/>
                                                                              <a:pt x="919322" y="240506"/>
                                                                            </a:cubicBezTo>
                                                                            <a:cubicBezTo>
                                                                              <a:pt x="913766" y="239712"/>
                                                                              <a:pt x="908157" y="239226"/>
                                                                              <a:pt x="902653" y="238125"/>
                                                                            </a:cubicBezTo>
                                                                            <a:cubicBezTo>
                                                                              <a:pt x="900192" y="237633"/>
                                                                              <a:pt x="897923" y="236434"/>
                                                                              <a:pt x="895509" y="235744"/>
                                                                            </a:cubicBezTo>
                                                                            <a:cubicBezTo>
                                                                              <a:pt x="892362" y="234845"/>
                                                                              <a:pt x="889159" y="234156"/>
                                                                              <a:pt x="885984" y="233362"/>
                                                                            </a:cubicBezTo>
                                                                            <a:cubicBezTo>
                                                                              <a:pt x="878541" y="228401"/>
                                                                              <a:pt x="873100" y="222481"/>
                                                                              <a:pt x="862172" y="230981"/>
                                                                            </a:cubicBezTo>
                                                                            <a:cubicBezTo>
                                                                              <a:pt x="858209" y="234063"/>
                                                                              <a:pt x="857409" y="245269"/>
                                                                              <a:pt x="857409" y="245269"/>
                                                                            </a:cubicBezTo>
                                                                            <a:cubicBezTo>
                                                                              <a:pt x="858203" y="247650"/>
                                                                              <a:pt x="858222" y="250452"/>
                                                                              <a:pt x="859790" y="252412"/>
                                                                            </a:cubicBezTo>
                                                                            <a:cubicBezTo>
                                                                              <a:pt x="863148" y="256610"/>
                                                                              <a:pt x="869371" y="257987"/>
                                                                              <a:pt x="874078" y="259556"/>
                                                                            </a:cubicBezTo>
                                                                            <a:cubicBezTo>
                                                                              <a:pt x="875950" y="262364"/>
                                                                              <a:pt x="881691" y="269621"/>
                                                                              <a:pt x="881222" y="273844"/>
                                                                            </a:cubicBezTo>
                                                                            <a:cubicBezTo>
                                                                              <a:pt x="880668" y="278833"/>
                                                                              <a:pt x="881221" y="286543"/>
                                                                              <a:pt x="876459" y="288131"/>
                                                                            </a:cubicBezTo>
                                                                            <a:lnTo>
                                                                              <a:pt x="862172" y="292894"/>
                                                                            </a:lnTo>
                                                                            <a:cubicBezTo>
                                                                              <a:pt x="855407" y="313180"/>
                                                                              <a:pt x="865174" y="282014"/>
                                                                              <a:pt x="857409" y="328612"/>
                                                                            </a:cubicBezTo>
                                                                            <a:cubicBezTo>
                                                                              <a:pt x="856584" y="333564"/>
                                                                              <a:pt x="852647" y="342900"/>
                                                                              <a:pt x="852647" y="342900"/>
                                                                            </a:cubicBezTo>
                                                                            <a:cubicBezTo>
                                                                              <a:pt x="854526" y="348537"/>
                                                                              <a:pt x="858394" y="356204"/>
                                                                              <a:pt x="852647" y="361950"/>
                                                                            </a:cubicBezTo>
                                                                            <a:cubicBezTo>
                                                                              <a:pt x="849097" y="365500"/>
                                                                              <a:pt x="843122" y="365124"/>
                                                                              <a:pt x="838359" y="366712"/>
                                                                            </a:cubicBezTo>
                                                                            <a:cubicBezTo>
                                                                              <a:pt x="820404" y="372697"/>
                                                                              <a:pt x="842533" y="364626"/>
                                                                              <a:pt x="824072" y="373856"/>
                                                                            </a:cubicBezTo>
                                                                            <a:cubicBezTo>
                                                                              <a:pt x="821827" y="374978"/>
                                                                              <a:pt x="819309" y="375443"/>
                                                                              <a:pt x="816928" y="376237"/>
                                                                            </a:cubicBezTo>
                                                                            <a:cubicBezTo>
                                                                              <a:pt x="814547" y="377825"/>
                                                                              <a:pt x="812344" y="379720"/>
                                                                              <a:pt x="809784" y="381000"/>
                                                                            </a:cubicBezTo>
                                                                            <a:cubicBezTo>
                                                                              <a:pt x="807539" y="382123"/>
                                                                              <a:pt x="804415" y="381606"/>
                                                                              <a:pt x="802640" y="383381"/>
                                                                            </a:cubicBezTo>
                                                                            <a:cubicBezTo>
                                                                              <a:pt x="789940" y="396081"/>
                                                                              <a:pt x="812166" y="386557"/>
                                                                              <a:pt x="793115" y="392906"/>
                                                                            </a:cubicBezTo>
                                                                            <a:cubicBezTo>
                                                                              <a:pt x="792321" y="395287"/>
                                                                              <a:pt x="791856" y="397805"/>
                                                                              <a:pt x="790734" y="400050"/>
                                                                            </a:cubicBezTo>
                                                                            <a:cubicBezTo>
                                                                              <a:pt x="789454" y="402610"/>
                                                                              <a:pt x="786977" y="404514"/>
                                                                              <a:pt x="785972" y="407194"/>
                                                                            </a:cubicBezTo>
                                                                            <a:cubicBezTo>
                                                                              <a:pt x="784551" y="410984"/>
                                                                              <a:pt x="784572" y="415174"/>
                                                                              <a:pt x="783590" y="419100"/>
                                                                            </a:cubicBezTo>
                                                                            <a:cubicBezTo>
                                                                              <a:pt x="782981" y="421535"/>
                                                                              <a:pt x="783252" y="424785"/>
                                                                              <a:pt x="781209" y="426244"/>
                                                                            </a:cubicBezTo>
                                                                            <a:cubicBezTo>
                                                                              <a:pt x="777124" y="429162"/>
                                                                              <a:pt x="766922" y="431006"/>
                                                                              <a:pt x="766922" y="431006"/>
                                                                            </a:cubicBezTo>
                                                                            <a:cubicBezTo>
                                                                              <a:pt x="760572" y="430212"/>
                                                                              <a:pt x="754271" y="428625"/>
                                                                              <a:pt x="747872" y="428625"/>
                                                                            </a:cubicBezTo>
                                                                            <a:cubicBezTo>
                                                                              <a:pt x="719711" y="428625"/>
                                                                              <a:pt x="723373" y="428060"/>
                                                                              <a:pt x="707390" y="433387"/>
                                                                            </a:cubicBezTo>
                                                                            <a:cubicBezTo>
                                                                              <a:pt x="701905" y="432473"/>
                                                                              <a:pt x="691820" y="431555"/>
                                                                              <a:pt x="685959" y="428625"/>
                                                                            </a:cubicBezTo>
                                                                            <a:cubicBezTo>
                                                                              <a:pt x="683399" y="427345"/>
                                                                              <a:pt x="681430" y="425024"/>
                                                                              <a:pt x="678815" y="423862"/>
                                                                            </a:cubicBezTo>
                                                                            <a:cubicBezTo>
                                                                              <a:pt x="674228" y="421823"/>
                                                                              <a:pt x="664528" y="419100"/>
                                                                              <a:pt x="664528" y="419100"/>
                                                                            </a:cubicBezTo>
                                                                            <a:cubicBezTo>
                                                                              <a:pt x="662147" y="420687"/>
                                                                              <a:pt x="659999" y="422700"/>
                                                                              <a:pt x="657384" y="423862"/>
                                                                            </a:cubicBezTo>
                                                                            <a:cubicBezTo>
                                                                              <a:pt x="652797" y="425901"/>
                                                                              <a:pt x="643097" y="428625"/>
                                                                              <a:pt x="643097" y="428625"/>
                                                                            </a:cubicBezTo>
                                                                            <a:cubicBezTo>
                                                                              <a:pt x="634296" y="441826"/>
                                                                              <a:pt x="643370" y="431384"/>
                                                                              <a:pt x="631190" y="438150"/>
                                                                            </a:cubicBezTo>
                                                                            <a:cubicBezTo>
                                                                              <a:pt x="626187" y="440930"/>
                                                                              <a:pt x="621665" y="444500"/>
                                                                              <a:pt x="616903" y="447675"/>
                                                                            </a:cubicBezTo>
                                                                            <a:cubicBezTo>
                                                                              <a:pt x="613950" y="449644"/>
                                                                              <a:pt x="610553" y="450850"/>
                                                                              <a:pt x="607378" y="452437"/>
                                                                            </a:cubicBezTo>
                                                                            <a:cubicBezTo>
                                                                              <a:pt x="602615" y="451643"/>
                                                                              <a:pt x="597774" y="451227"/>
                                                                              <a:pt x="593090" y="450056"/>
                                                                            </a:cubicBezTo>
                                                                            <a:cubicBezTo>
                                                                              <a:pt x="588220" y="448839"/>
                                                                              <a:pt x="578803" y="445294"/>
                                                                              <a:pt x="578803" y="445294"/>
                                                                            </a:cubicBezTo>
                                                                            <a:cubicBezTo>
                                                                              <a:pt x="576422" y="443706"/>
                                                                              <a:pt x="574274" y="441693"/>
                                                                              <a:pt x="571659" y="440531"/>
                                                                            </a:cubicBezTo>
                                                                            <a:cubicBezTo>
                                                                              <a:pt x="567072" y="438492"/>
                                                                              <a:pt x="562134" y="437356"/>
                                                                              <a:pt x="557372" y="435769"/>
                                                                            </a:cubicBezTo>
                                                                            <a:cubicBezTo>
                                                                              <a:pt x="554991" y="434975"/>
                                                                              <a:pt x="552719" y="433698"/>
                                                                              <a:pt x="550228" y="433387"/>
                                                                            </a:cubicBezTo>
                                                                            <a:lnTo>
                                                                              <a:pt x="531178" y="431006"/>
                                                                            </a:lnTo>
                                                                            <a:cubicBezTo>
                                                                              <a:pt x="524040" y="430166"/>
                                                                              <a:pt x="516862" y="429641"/>
                                                                              <a:pt x="509747" y="428625"/>
                                                                            </a:cubicBezTo>
                                                                            <a:cubicBezTo>
                                                                              <a:pt x="497962" y="426942"/>
                                                                              <a:pt x="495424" y="425438"/>
                                                                              <a:pt x="483553" y="421481"/>
                                                                            </a:cubicBezTo>
                                                                            <a:lnTo>
                                                                              <a:pt x="469265" y="416719"/>
                                                                            </a:lnTo>
                                                                            <a:cubicBezTo>
                                                                              <a:pt x="455356" y="412082"/>
                                                                              <a:pt x="468802" y="416149"/>
                                                                              <a:pt x="447834" y="411956"/>
                                                                            </a:cubicBezTo>
                                                                            <a:cubicBezTo>
                                                                              <a:pt x="432972" y="408984"/>
                                                                              <a:pt x="443639" y="410596"/>
                                                                              <a:pt x="431165" y="407194"/>
                                                                            </a:cubicBezTo>
                                                                            <a:cubicBezTo>
                                                                              <a:pt x="424850" y="405472"/>
                                                                              <a:pt x="412115" y="402431"/>
                                                                              <a:pt x="412115" y="402431"/>
                                                                            </a:cubicBezTo>
                                                                            <a:cubicBezTo>
                                                                              <a:pt x="391651" y="388788"/>
                                                                              <a:pt x="417540" y="405143"/>
                                                                              <a:pt x="397828" y="395287"/>
                                                                            </a:cubicBezTo>
                                                                            <a:cubicBezTo>
                                                                              <a:pt x="395268" y="394007"/>
                                                                              <a:pt x="393299" y="391687"/>
                                                                              <a:pt x="390684" y="390525"/>
                                                                            </a:cubicBezTo>
                                                                            <a:cubicBezTo>
                                                                              <a:pt x="386097" y="388486"/>
                                                                              <a:pt x="381159" y="387350"/>
                                                                              <a:pt x="376397" y="385762"/>
                                                                            </a:cubicBezTo>
                                                                            <a:lnTo>
                                                                              <a:pt x="362109" y="381000"/>
                                                                            </a:lnTo>
                                                                            <a:cubicBezTo>
                                                                              <a:pt x="362104" y="380998"/>
                                                                              <a:pt x="347827" y="376241"/>
                                                                              <a:pt x="347822" y="376237"/>
                                                                            </a:cubicBezTo>
                                                                            <a:lnTo>
                                                                              <a:pt x="333534" y="366712"/>
                                                                            </a:lnTo>
                                                                            <a:cubicBezTo>
                                                                              <a:pt x="331947" y="364331"/>
                                                                              <a:pt x="329525" y="362330"/>
                                                                              <a:pt x="328772" y="359569"/>
                                                                            </a:cubicBezTo>
                                                                            <a:cubicBezTo>
                                                                              <a:pt x="322579" y="336861"/>
                                                                              <a:pt x="333834" y="343001"/>
                                                                              <a:pt x="319247" y="338137"/>
                                                                            </a:cubicBezTo>
                                                                            <a:cubicBezTo>
                                                                              <a:pt x="320041" y="335756"/>
                                                                              <a:pt x="320060" y="332954"/>
                                                                              <a:pt x="321628" y="330994"/>
                                                                            </a:cubicBezTo>
                                                                            <a:cubicBezTo>
                                                                              <a:pt x="324986" y="326797"/>
                                                                              <a:pt x="331208" y="325419"/>
                                                                              <a:pt x="335915" y="323850"/>
                                                                            </a:cubicBezTo>
                                                                            <a:cubicBezTo>
                                                                              <a:pt x="335121" y="320675"/>
                                                                              <a:pt x="335629" y="316839"/>
                                                                              <a:pt x="333534" y="314325"/>
                                                                            </a:cubicBezTo>
                                                                            <a:cubicBezTo>
                                                                              <a:pt x="331269" y="311607"/>
                                                                              <a:pt x="320655" y="308444"/>
                                                                              <a:pt x="316865" y="307181"/>
                                                                            </a:cubicBezTo>
                                                                            <a:cubicBezTo>
                                                                              <a:pt x="312103" y="307975"/>
                                                                              <a:pt x="307291" y="308515"/>
                                                                              <a:pt x="302578" y="309562"/>
                                                                            </a:cubicBezTo>
                                                                            <a:cubicBezTo>
                                                                              <a:pt x="300128" y="310107"/>
                                                                              <a:pt x="297856" y="311284"/>
                                                                              <a:pt x="295434" y="311944"/>
                                                                            </a:cubicBezTo>
                                                                            <a:cubicBezTo>
                                                                              <a:pt x="289119" y="313666"/>
                                                                              <a:pt x="282734" y="315119"/>
                                                                              <a:pt x="276384" y="316706"/>
                                                                            </a:cubicBezTo>
                                                                            <a:lnTo>
                                                                              <a:pt x="266859" y="319087"/>
                                                                            </a:lnTo>
                                                                            <a:cubicBezTo>
                                                                              <a:pt x="258128" y="318293"/>
                                                                              <a:pt x="249299" y="318229"/>
                                                                              <a:pt x="240665" y="316706"/>
                                                                            </a:cubicBezTo>
                                                                            <a:cubicBezTo>
                                                                              <a:pt x="235721" y="315834"/>
                                                                              <a:pt x="226378" y="311944"/>
                                                                              <a:pt x="226378" y="311944"/>
                                                                            </a:cubicBezTo>
                                                                            <a:cubicBezTo>
                                                                              <a:pt x="223997" y="310356"/>
                                                                              <a:pt x="222090" y="307371"/>
                                                                              <a:pt x="219234" y="307181"/>
                                                                            </a:cubicBezTo>
                                                                            <a:cubicBezTo>
                                                                              <a:pt x="199809" y="305886"/>
                                                                              <a:pt x="196666" y="307559"/>
                                                                              <a:pt x="183515" y="311944"/>
                                                                            </a:cubicBezTo>
                                                                            <a:cubicBezTo>
                                                                              <a:pt x="182721" y="314325"/>
                                                                              <a:pt x="182702" y="317127"/>
                                                                              <a:pt x="181134" y="319087"/>
                                                                            </a:cubicBezTo>
                                                                            <a:cubicBezTo>
                                                                              <a:pt x="179346" y="321322"/>
                                                                              <a:pt x="176189" y="322018"/>
                                                                              <a:pt x="173990" y="323850"/>
                                                                            </a:cubicBezTo>
                                                                            <a:cubicBezTo>
                                                                              <a:pt x="162099" y="333760"/>
                                                                              <a:pt x="172258" y="329191"/>
                                                                              <a:pt x="159703" y="333375"/>
                                                                            </a:cubicBezTo>
                                                                            <a:cubicBezTo>
                                                                              <a:pt x="155544" y="332855"/>
                                                                              <a:pt x="139906" y="332166"/>
                                                                              <a:pt x="133509" y="328612"/>
                                                                            </a:cubicBezTo>
                                                                            <a:cubicBezTo>
                                                                              <a:pt x="128506" y="325832"/>
                                                                              <a:pt x="124652" y="320897"/>
                                                                              <a:pt x="119222" y="319087"/>
                                                                            </a:cubicBezTo>
                                                                            <a:cubicBezTo>
                                                                              <a:pt x="102675" y="313572"/>
                                                                              <a:pt x="111284" y="327025"/>
                                                                              <a:pt x="109697" y="328612"/>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2" name="Freeform 261"/>
                                                                    <p:cNvSpPr/>
                                                                    <p:nvPr/>
                                                                  </p:nvSpPr>
                                                                  <p:spPr>
                                                                    <a:xfrm>
                                                                      <a:off x="4257675" y="4207449"/>
                                                                      <a:ext cx="681038" cy="319465"/>
                                                                    </a:xfrm>
                                                                    <a:custGeom>
                                                                      <a:avLst/>
                                                                      <a:gdLst>
                                                                        <a:gd name="connsiteX0" fmla="*/ 235744 w 681038"/>
                                                                        <a:gd name="connsiteY0" fmla="*/ 16889 h 319465"/>
                                                                        <a:gd name="connsiteX1" fmla="*/ 235744 w 681038"/>
                                                                        <a:gd name="connsiteY1" fmla="*/ 16889 h 319465"/>
                                                                        <a:gd name="connsiteX2" fmla="*/ 228600 w 681038"/>
                                                                        <a:gd name="connsiteY2" fmla="*/ 35939 h 319465"/>
                                                                        <a:gd name="connsiteX3" fmla="*/ 214313 w 681038"/>
                                                                        <a:gd name="connsiteY3" fmla="*/ 40701 h 319465"/>
                                                                        <a:gd name="connsiteX4" fmla="*/ 207169 w 681038"/>
                                                                        <a:gd name="connsiteY4" fmla="*/ 45464 h 319465"/>
                                                                        <a:gd name="connsiteX5" fmla="*/ 192881 w 681038"/>
                                                                        <a:gd name="connsiteY5" fmla="*/ 52607 h 319465"/>
                                                                        <a:gd name="connsiteX6" fmla="*/ 180975 w 681038"/>
                                                                        <a:gd name="connsiteY6" fmla="*/ 62132 h 319465"/>
                                                                        <a:gd name="connsiteX7" fmla="*/ 171450 w 681038"/>
                                                                        <a:gd name="connsiteY7" fmla="*/ 76420 h 319465"/>
                                                                        <a:gd name="connsiteX8" fmla="*/ 157163 w 681038"/>
                                                                        <a:gd name="connsiteY8" fmla="*/ 83564 h 319465"/>
                                                                        <a:gd name="connsiteX9" fmla="*/ 142875 w 681038"/>
                                                                        <a:gd name="connsiteY9" fmla="*/ 90707 h 319465"/>
                                                                        <a:gd name="connsiteX10" fmla="*/ 92869 w 681038"/>
                                                                        <a:gd name="connsiteY10" fmla="*/ 93089 h 319465"/>
                                                                        <a:gd name="connsiteX11" fmla="*/ 85725 w 681038"/>
                                                                        <a:gd name="connsiteY11" fmla="*/ 95470 h 319465"/>
                                                                        <a:gd name="connsiteX12" fmla="*/ 71438 w 681038"/>
                                                                        <a:gd name="connsiteY12" fmla="*/ 104995 h 319465"/>
                                                                        <a:gd name="connsiteX13" fmla="*/ 64294 w 681038"/>
                                                                        <a:gd name="connsiteY13" fmla="*/ 109757 h 319465"/>
                                                                        <a:gd name="connsiteX14" fmla="*/ 57150 w 681038"/>
                                                                        <a:gd name="connsiteY14" fmla="*/ 112139 h 319465"/>
                                                                        <a:gd name="connsiteX15" fmla="*/ 42863 w 681038"/>
                                                                        <a:gd name="connsiteY15" fmla="*/ 140714 h 319465"/>
                                                                        <a:gd name="connsiteX16" fmla="*/ 40481 w 681038"/>
                                                                        <a:gd name="connsiteY16" fmla="*/ 147857 h 319465"/>
                                                                        <a:gd name="connsiteX17" fmla="*/ 38100 w 681038"/>
                                                                        <a:gd name="connsiteY17" fmla="*/ 155001 h 319465"/>
                                                                        <a:gd name="connsiteX18" fmla="*/ 11906 w 681038"/>
                                                                        <a:gd name="connsiteY18" fmla="*/ 159764 h 319465"/>
                                                                        <a:gd name="connsiteX19" fmla="*/ 2381 w 681038"/>
                                                                        <a:gd name="connsiteY19" fmla="*/ 181195 h 319465"/>
                                                                        <a:gd name="connsiteX20" fmla="*/ 0 w 681038"/>
                                                                        <a:gd name="connsiteY20" fmla="*/ 188339 h 319465"/>
                                                                        <a:gd name="connsiteX21" fmla="*/ 2381 w 681038"/>
                                                                        <a:gd name="connsiteY21" fmla="*/ 247870 h 319465"/>
                                                                        <a:gd name="connsiteX22" fmla="*/ 4763 w 681038"/>
                                                                        <a:gd name="connsiteY22" fmla="*/ 255014 h 319465"/>
                                                                        <a:gd name="connsiteX23" fmla="*/ 11906 w 681038"/>
                                                                        <a:gd name="connsiteY23" fmla="*/ 259776 h 319465"/>
                                                                        <a:gd name="connsiteX24" fmla="*/ 16669 w 681038"/>
                                                                        <a:gd name="connsiteY24" fmla="*/ 266920 h 319465"/>
                                                                        <a:gd name="connsiteX25" fmla="*/ 23813 w 681038"/>
                                                                        <a:gd name="connsiteY25" fmla="*/ 271682 h 319465"/>
                                                                        <a:gd name="connsiteX26" fmla="*/ 38100 w 681038"/>
                                                                        <a:gd name="connsiteY26" fmla="*/ 283589 h 319465"/>
                                                                        <a:gd name="connsiteX27" fmla="*/ 47625 w 681038"/>
                                                                        <a:gd name="connsiteY27" fmla="*/ 297876 h 319465"/>
                                                                        <a:gd name="connsiteX28" fmla="*/ 61913 w 681038"/>
                                                                        <a:gd name="connsiteY28" fmla="*/ 302639 h 319465"/>
                                                                        <a:gd name="connsiteX29" fmla="*/ 69056 w 681038"/>
                                                                        <a:gd name="connsiteY29" fmla="*/ 305020 h 319465"/>
                                                                        <a:gd name="connsiteX30" fmla="*/ 88106 w 681038"/>
                                                                        <a:gd name="connsiteY30" fmla="*/ 307401 h 319465"/>
                                                                        <a:gd name="connsiteX31" fmla="*/ 111919 w 681038"/>
                                                                        <a:gd name="connsiteY31" fmla="*/ 314545 h 319465"/>
                                                                        <a:gd name="connsiteX32" fmla="*/ 119063 w 681038"/>
                                                                        <a:gd name="connsiteY32" fmla="*/ 316926 h 319465"/>
                                                                        <a:gd name="connsiteX33" fmla="*/ 145256 w 681038"/>
                                                                        <a:gd name="connsiteY33" fmla="*/ 314545 h 319465"/>
                                                                        <a:gd name="connsiteX34" fmla="*/ 152400 w 681038"/>
                                                                        <a:gd name="connsiteY34" fmla="*/ 309782 h 319465"/>
                                                                        <a:gd name="connsiteX35" fmla="*/ 166688 w 681038"/>
                                                                        <a:gd name="connsiteY35" fmla="*/ 316926 h 319465"/>
                                                                        <a:gd name="connsiteX36" fmla="*/ 221456 w 681038"/>
                                                                        <a:gd name="connsiteY36" fmla="*/ 307401 h 319465"/>
                                                                        <a:gd name="connsiteX37" fmla="*/ 223838 w 681038"/>
                                                                        <a:gd name="connsiteY37" fmla="*/ 300257 h 319465"/>
                                                                        <a:gd name="connsiteX38" fmla="*/ 226219 w 681038"/>
                                                                        <a:gd name="connsiteY38" fmla="*/ 276445 h 319465"/>
                                                                        <a:gd name="connsiteX39" fmla="*/ 233363 w 681038"/>
                                                                        <a:gd name="connsiteY39" fmla="*/ 274064 h 319465"/>
                                                                        <a:gd name="connsiteX40" fmla="*/ 235744 w 681038"/>
                                                                        <a:gd name="connsiteY40" fmla="*/ 266920 h 319465"/>
                                                                        <a:gd name="connsiteX41" fmla="*/ 288131 w 681038"/>
                                                                        <a:gd name="connsiteY41" fmla="*/ 259776 h 319465"/>
                                                                        <a:gd name="connsiteX42" fmla="*/ 300038 w 681038"/>
                                                                        <a:gd name="connsiteY42" fmla="*/ 245489 h 319465"/>
                                                                        <a:gd name="connsiteX43" fmla="*/ 307181 w 681038"/>
                                                                        <a:gd name="connsiteY43" fmla="*/ 243107 h 319465"/>
                                                                        <a:gd name="connsiteX44" fmla="*/ 314325 w 681038"/>
                                                                        <a:gd name="connsiteY44" fmla="*/ 238345 h 319465"/>
                                                                        <a:gd name="connsiteX45" fmla="*/ 385763 w 681038"/>
                                                                        <a:gd name="connsiteY45" fmla="*/ 238345 h 319465"/>
                                                                        <a:gd name="connsiteX46" fmla="*/ 392906 w 681038"/>
                                                                        <a:gd name="connsiteY46" fmla="*/ 235964 h 319465"/>
                                                                        <a:gd name="connsiteX47" fmla="*/ 400050 w 681038"/>
                                                                        <a:gd name="connsiteY47" fmla="*/ 231201 h 319465"/>
                                                                        <a:gd name="connsiteX48" fmla="*/ 407194 w 681038"/>
                                                                        <a:gd name="connsiteY48" fmla="*/ 228820 h 319465"/>
                                                                        <a:gd name="connsiteX49" fmla="*/ 416719 w 681038"/>
                                                                        <a:gd name="connsiteY49" fmla="*/ 207389 h 319465"/>
                                                                        <a:gd name="connsiteX50" fmla="*/ 421481 w 681038"/>
                                                                        <a:gd name="connsiteY50" fmla="*/ 200245 h 319465"/>
                                                                        <a:gd name="connsiteX51" fmla="*/ 423863 w 681038"/>
                                                                        <a:gd name="connsiteY51" fmla="*/ 193101 h 319465"/>
                                                                        <a:gd name="connsiteX52" fmla="*/ 431006 w 681038"/>
                                                                        <a:gd name="connsiteY52" fmla="*/ 188339 h 319465"/>
                                                                        <a:gd name="connsiteX53" fmla="*/ 433388 w 681038"/>
                                                                        <a:gd name="connsiteY53" fmla="*/ 181195 h 319465"/>
                                                                        <a:gd name="connsiteX54" fmla="*/ 452438 w 681038"/>
                                                                        <a:gd name="connsiteY54" fmla="*/ 174051 h 319465"/>
                                                                        <a:gd name="connsiteX55" fmla="*/ 478631 w 681038"/>
                                                                        <a:gd name="connsiteY55" fmla="*/ 176432 h 319465"/>
                                                                        <a:gd name="connsiteX56" fmla="*/ 485775 w 681038"/>
                                                                        <a:gd name="connsiteY56" fmla="*/ 178814 h 319465"/>
                                                                        <a:gd name="connsiteX57" fmla="*/ 497681 w 681038"/>
                                                                        <a:gd name="connsiteY57" fmla="*/ 181195 h 319465"/>
                                                                        <a:gd name="connsiteX58" fmla="*/ 521494 w 681038"/>
                                                                        <a:gd name="connsiteY58" fmla="*/ 178814 h 319465"/>
                                                                        <a:gd name="connsiteX59" fmla="*/ 528638 w 681038"/>
                                                                        <a:gd name="connsiteY59" fmla="*/ 176432 h 319465"/>
                                                                        <a:gd name="connsiteX60" fmla="*/ 540544 w 681038"/>
                                                                        <a:gd name="connsiteY60" fmla="*/ 174051 h 319465"/>
                                                                        <a:gd name="connsiteX61" fmla="*/ 571500 w 681038"/>
                                                                        <a:gd name="connsiteY61" fmla="*/ 190720 h 319465"/>
                                                                        <a:gd name="connsiteX62" fmla="*/ 571500 w 681038"/>
                                                                        <a:gd name="connsiteY62" fmla="*/ 190720 h 319465"/>
                                                                        <a:gd name="connsiteX63" fmla="*/ 585788 w 681038"/>
                                                                        <a:gd name="connsiteY63" fmla="*/ 200245 h 319465"/>
                                                                        <a:gd name="connsiteX64" fmla="*/ 592931 w 681038"/>
                                                                        <a:gd name="connsiteY64" fmla="*/ 205007 h 319465"/>
                                                                        <a:gd name="connsiteX65" fmla="*/ 623888 w 681038"/>
                                                                        <a:gd name="connsiteY65" fmla="*/ 202626 h 319465"/>
                                                                        <a:gd name="connsiteX66" fmla="*/ 628650 w 681038"/>
                                                                        <a:gd name="connsiteY66" fmla="*/ 188339 h 319465"/>
                                                                        <a:gd name="connsiteX67" fmla="*/ 631031 w 681038"/>
                                                                        <a:gd name="connsiteY67" fmla="*/ 169289 h 319465"/>
                                                                        <a:gd name="connsiteX68" fmla="*/ 645319 w 681038"/>
                                                                        <a:gd name="connsiteY68" fmla="*/ 159764 h 319465"/>
                                                                        <a:gd name="connsiteX69" fmla="*/ 652463 w 681038"/>
                                                                        <a:gd name="connsiteY69" fmla="*/ 145476 h 319465"/>
                                                                        <a:gd name="connsiteX70" fmla="*/ 657225 w 681038"/>
                                                                        <a:gd name="connsiteY70" fmla="*/ 114520 h 319465"/>
                                                                        <a:gd name="connsiteX71" fmla="*/ 661988 w 681038"/>
                                                                        <a:gd name="connsiteY71" fmla="*/ 100232 h 319465"/>
                                                                        <a:gd name="connsiteX72" fmla="*/ 669131 w 681038"/>
                                                                        <a:gd name="connsiteY72" fmla="*/ 95470 h 319465"/>
                                                                        <a:gd name="connsiteX73" fmla="*/ 673894 w 681038"/>
                                                                        <a:gd name="connsiteY73" fmla="*/ 88326 h 319465"/>
                                                                        <a:gd name="connsiteX74" fmla="*/ 681038 w 681038"/>
                                                                        <a:gd name="connsiteY74" fmla="*/ 83564 h 319465"/>
                                                                        <a:gd name="connsiteX75" fmla="*/ 673894 w 681038"/>
                                                                        <a:gd name="connsiteY75" fmla="*/ 78801 h 319465"/>
                                                                        <a:gd name="connsiteX76" fmla="*/ 647700 w 681038"/>
                                                                        <a:gd name="connsiteY76" fmla="*/ 76420 h 319465"/>
                                                                        <a:gd name="connsiteX77" fmla="*/ 638175 w 681038"/>
                                                                        <a:gd name="connsiteY77" fmla="*/ 74039 h 319465"/>
                                                                        <a:gd name="connsiteX78" fmla="*/ 616744 w 681038"/>
                                                                        <a:gd name="connsiteY78" fmla="*/ 64514 h 319465"/>
                                                                        <a:gd name="connsiteX79" fmla="*/ 595313 w 681038"/>
                                                                        <a:gd name="connsiteY79" fmla="*/ 47845 h 319465"/>
                                                                        <a:gd name="connsiteX80" fmla="*/ 581025 w 681038"/>
                                                                        <a:gd name="connsiteY80" fmla="*/ 38320 h 319465"/>
                                                                        <a:gd name="connsiteX81" fmla="*/ 559594 w 681038"/>
                                                                        <a:gd name="connsiteY81" fmla="*/ 31176 h 319465"/>
                                                                        <a:gd name="connsiteX82" fmla="*/ 545306 w 681038"/>
                                                                        <a:gd name="connsiteY82" fmla="*/ 26414 h 319465"/>
                                                                        <a:gd name="connsiteX83" fmla="*/ 538163 w 681038"/>
                                                                        <a:gd name="connsiteY83" fmla="*/ 24032 h 319465"/>
                                                                        <a:gd name="connsiteX84" fmla="*/ 502444 w 681038"/>
                                                                        <a:gd name="connsiteY84" fmla="*/ 31176 h 319465"/>
                                                                        <a:gd name="connsiteX85" fmla="*/ 500063 w 681038"/>
                                                                        <a:gd name="connsiteY85" fmla="*/ 40701 h 319465"/>
                                                                        <a:gd name="connsiteX86" fmla="*/ 495300 w 681038"/>
                                                                        <a:gd name="connsiteY86" fmla="*/ 47845 h 319465"/>
                                                                        <a:gd name="connsiteX87" fmla="*/ 481013 w 681038"/>
                                                                        <a:gd name="connsiteY87" fmla="*/ 52607 h 319465"/>
                                                                        <a:gd name="connsiteX88" fmla="*/ 461963 w 681038"/>
                                                                        <a:gd name="connsiteY88" fmla="*/ 47845 h 319465"/>
                                                                        <a:gd name="connsiteX89" fmla="*/ 450056 w 681038"/>
                                                                        <a:gd name="connsiteY89" fmla="*/ 38320 h 319465"/>
                                                                        <a:gd name="connsiteX90" fmla="*/ 402431 w 681038"/>
                                                                        <a:gd name="connsiteY90" fmla="*/ 40701 h 319465"/>
                                                                        <a:gd name="connsiteX91" fmla="*/ 385763 w 681038"/>
                                                                        <a:gd name="connsiteY91" fmla="*/ 59751 h 319465"/>
                                                                        <a:gd name="connsiteX92" fmla="*/ 381000 w 681038"/>
                                                                        <a:gd name="connsiteY92" fmla="*/ 66895 h 319465"/>
                                                                        <a:gd name="connsiteX93" fmla="*/ 364331 w 681038"/>
                                                                        <a:gd name="connsiteY93" fmla="*/ 74039 h 319465"/>
                                                                        <a:gd name="connsiteX94" fmla="*/ 350044 w 681038"/>
                                                                        <a:gd name="connsiteY94" fmla="*/ 71657 h 319465"/>
                                                                        <a:gd name="connsiteX95" fmla="*/ 342900 w 681038"/>
                                                                        <a:gd name="connsiteY95" fmla="*/ 69276 h 319465"/>
                                                                        <a:gd name="connsiteX96" fmla="*/ 323850 w 681038"/>
                                                                        <a:gd name="connsiteY96" fmla="*/ 66895 h 319465"/>
                                                                        <a:gd name="connsiteX97" fmla="*/ 326231 w 681038"/>
                                                                        <a:gd name="connsiteY97" fmla="*/ 57370 h 319465"/>
                                                                        <a:gd name="connsiteX98" fmla="*/ 333375 w 681038"/>
                                                                        <a:gd name="connsiteY98" fmla="*/ 52607 h 319465"/>
                                                                        <a:gd name="connsiteX99" fmla="*/ 338138 w 681038"/>
                                                                        <a:gd name="connsiteY99" fmla="*/ 45464 h 319465"/>
                                                                        <a:gd name="connsiteX100" fmla="*/ 335756 w 681038"/>
                                                                        <a:gd name="connsiteY100" fmla="*/ 33557 h 319465"/>
                                                                        <a:gd name="connsiteX101" fmla="*/ 314325 w 681038"/>
                                                                        <a:gd name="connsiteY101" fmla="*/ 24032 h 319465"/>
                                                                        <a:gd name="connsiteX102" fmla="*/ 304800 w 681038"/>
                                                                        <a:gd name="connsiteY102" fmla="*/ 220 h 319465"/>
                                                                        <a:gd name="connsiteX103" fmla="*/ 292894 w 681038"/>
                                                                        <a:gd name="connsiteY103" fmla="*/ 2601 h 319465"/>
                                                                        <a:gd name="connsiteX104" fmla="*/ 285750 w 681038"/>
                                                                        <a:gd name="connsiteY104" fmla="*/ 7364 h 319465"/>
                                                                        <a:gd name="connsiteX105" fmla="*/ 276225 w 681038"/>
                                                                        <a:gd name="connsiteY105" fmla="*/ 21651 h 319465"/>
                                                                        <a:gd name="connsiteX106" fmla="*/ 269081 w 681038"/>
                                                                        <a:gd name="connsiteY106" fmla="*/ 24032 h 319465"/>
                                                                        <a:gd name="connsiteX107" fmla="*/ 242888 w 681038"/>
                                                                        <a:gd name="connsiteY107" fmla="*/ 26414 h 319465"/>
                                                                        <a:gd name="connsiteX108" fmla="*/ 235744 w 681038"/>
                                                                        <a:gd name="connsiteY108" fmla="*/ 16889 h 3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81038" h="319465">
                                                                          <a:moveTo>
                                                                            <a:pt x="235744" y="16889"/>
                                                                          </a:moveTo>
                                                                          <a:lnTo>
                                                                            <a:pt x="235744" y="16889"/>
                                                                          </a:lnTo>
                                                                          <a:cubicBezTo>
                                                                            <a:pt x="233363" y="23239"/>
                                                                            <a:pt x="233137" y="30898"/>
                                                                            <a:pt x="228600" y="35939"/>
                                                                          </a:cubicBezTo>
                                                                          <a:cubicBezTo>
                                                                            <a:pt x="225242" y="39670"/>
                                                                            <a:pt x="214313" y="40701"/>
                                                                            <a:pt x="214313" y="40701"/>
                                                                          </a:cubicBezTo>
                                                                          <a:cubicBezTo>
                                                                            <a:pt x="211932" y="42289"/>
                                                                            <a:pt x="209729" y="44184"/>
                                                                            <a:pt x="207169" y="45464"/>
                                                                          </a:cubicBezTo>
                                                                          <a:cubicBezTo>
                                                                            <a:pt x="187443" y="55327"/>
                                                                            <a:pt x="213364" y="38954"/>
                                                                            <a:pt x="192881" y="52607"/>
                                                                          </a:cubicBezTo>
                                                                          <a:cubicBezTo>
                                                                            <a:pt x="171744" y="84316"/>
                                                                            <a:pt x="203975" y="39132"/>
                                                                            <a:pt x="180975" y="62132"/>
                                                                          </a:cubicBezTo>
                                                                          <a:cubicBezTo>
                                                                            <a:pt x="176928" y="66179"/>
                                                                            <a:pt x="176213" y="73245"/>
                                                                            <a:pt x="171450" y="76420"/>
                                                                          </a:cubicBezTo>
                                                                          <a:cubicBezTo>
                                                                            <a:pt x="150976" y="90068"/>
                                                                            <a:pt x="176880" y="73705"/>
                                                                            <a:pt x="157163" y="83564"/>
                                                                          </a:cubicBezTo>
                                                                          <a:cubicBezTo>
                                                                            <a:pt x="150983" y="86654"/>
                                                                            <a:pt x="150057" y="90108"/>
                                                                            <a:pt x="142875" y="90707"/>
                                                                          </a:cubicBezTo>
                                                                          <a:cubicBezTo>
                                                                            <a:pt x="126245" y="92093"/>
                                                                            <a:pt x="109538" y="92295"/>
                                                                            <a:pt x="92869" y="93089"/>
                                                                          </a:cubicBezTo>
                                                                          <a:cubicBezTo>
                                                                            <a:pt x="90488" y="93883"/>
                                                                            <a:pt x="87919" y="94251"/>
                                                                            <a:pt x="85725" y="95470"/>
                                                                          </a:cubicBezTo>
                                                                          <a:cubicBezTo>
                                                                            <a:pt x="80722" y="98250"/>
                                                                            <a:pt x="76200" y="101820"/>
                                                                            <a:pt x="71438" y="104995"/>
                                                                          </a:cubicBezTo>
                                                                          <a:cubicBezTo>
                                                                            <a:pt x="69057" y="106582"/>
                                                                            <a:pt x="67009" y="108852"/>
                                                                            <a:pt x="64294" y="109757"/>
                                                                          </a:cubicBezTo>
                                                                          <a:lnTo>
                                                                            <a:pt x="57150" y="112139"/>
                                                                          </a:lnTo>
                                                                          <a:cubicBezTo>
                                                                            <a:pt x="44837" y="130607"/>
                                                                            <a:pt x="49437" y="120992"/>
                                                                            <a:pt x="42863" y="140714"/>
                                                                          </a:cubicBezTo>
                                                                          <a:lnTo>
                                                                            <a:pt x="40481" y="147857"/>
                                                                          </a:lnTo>
                                                                          <a:cubicBezTo>
                                                                            <a:pt x="39687" y="150238"/>
                                                                            <a:pt x="40561" y="154509"/>
                                                                            <a:pt x="38100" y="155001"/>
                                                                          </a:cubicBezTo>
                                                                          <a:cubicBezTo>
                                                                            <a:pt x="21459" y="158329"/>
                                                                            <a:pt x="30186" y="156716"/>
                                                                            <a:pt x="11906" y="159764"/>
                                                                          </a:cubicBezTo>
                                                                          <a:cubicBezTo>
                                                                            <a:pt x="4360" y="171083"/>
                                                                            <a:pt x="8048" y="164193"/>
                                                                            <a:pt x="2381" y="181195"/>
                                                                          </a:cubicBezTo>
                                                                          <a:lnTo>
                                                                            <a:pt x="0" y="188339"/>
                                                                          </a:lnTo>
                                                                          <a:cubicBezTo>
                                                                            <a:pt x="794" y="208183"/>
                                                                            <a:pt x="966" y="228061"/>
                                                                            <a:pt x="2381" y="247870"/>
                                                                          </a:cubicBezTo>
                                                                          <a:cubicBezTo>
                                                                            <a:pt x="2560" y="250374"/>
                                                                            <a:pt x="3195" y="253054"/>
                                                                            <a:pt x="4763" y="255014"/>
                                                                          </a:cubicBezTo>
                                                                          <a:cubicBezTo>
                                                                            <a:pt x="6551" y="257249"/>
                                                                            <a:pt x="9525" y="258189"/>
                                                                            <a:pt x="11906" y="259776"/>
                                                                          </a:cubicBezTo>
                                                                          <a:cubicBezTo>
                                                                            <a:pt x="13494" y="262157"/>
                                                                            <a:pt x="14645" y="264896"/>
                                                                            <a:pt x="16669" y="266920"/>
                                                                          </a:cubicBezTo>
                                                                          <a:cubicBezTo>
                                                                            <a:pt x="18693" y="268944"/>
                                                                            <a:pt x="22225" y="269301"/>
                                                                            <a:pt x="23813" y="271682"/>
                                                                          </a:cubicBezTo>
                                                                          <a:cubicBezTo>
                                                                            <a:pt x="33644" y="286428"/>
                                                                            <a:pt x="14986" y="278965"/>
                                                                            <a:pt x="38100" y="283589"/>
                                                                          </a:cubicBezTo>
                                                                          <a:cubicBezTo>
                                                                            <a:pt x="41275" y="288351"/>
                                                                            <a:pt x="42195" y="296066"/>
                                                                            <a:pt x="47625" y="297876"/>
                                                                          </a:cubicBezTo>
                                                                          <a:lnTo>
                                                                            <a:pt x="61913" y="302639"/>
                                                                          </a:lnTo>
                                                                          <a:cubicBezTo>
                                                                            <a:pt x="64294" y="303433"/>
                                                                            <a:pt x="66566" y="304709"/>
                                                                            <a:pt x="69056" y="305020"/>
                                                                          </a:cubicBezTo>
                                                                          <a:cubicBezTo>
                                                                            <a:pt x="75406" y="305814"/>
                                                                            <a:pt x="81794" y="306349"/>
                                                                            <a:pt x="88106" y="307401"/>
                                                                          </a:cubicBezTo>
                                                                          <a:cubicBezTo>
                                                                            <a:pt x="95307" y="308601"/>
                                                                            <a:pt x="105563" y="312426"/>
                                                                            <a:pt x="111919" y="314545"/>
                                                                          </a:cubicBezTo>
                                                                          <a:lnTo>
                                                                            <a:pt x="119063" y="316926"/>
                                                                          </a:lnTo>
                                                                          <a:cubicBezTo>
                                                                            <a:pt x="127794" y="316132"/>
                                                                            <a:pt x="136684" y="316382"/>
                                                                            <a:pt x="145256" y="314545"/>
                                                                          </a:cubicBezTo>
                                                                          <a:cubicBezTo>
                                                                            <a:pt x="148055" y="313945"/>
                                                                            <a:pt x="149577" y="310252"/>
                                                                            <a:pt x="152400" y="309782"/>
                                                                          </a:cubicBezTo>
                                                                          <a:cubicBezTo>
                                                                            <a:pt x="156342" y="309125"/>
                                                                            <a:pt x="164201" y="315268"/>
                                                                            <a:pt x="166688" y="316926"/>
                                                                          </a:cubicBezTo>
                                                                          <a:cubicBezTo>
                                                                            <a:pt x="198629" y="315405"/>
                                                                            <a:pt x="211027" y="328260"/>
                                                                            <a:pt x="221456" y="307401"/>
                                                                          </a:cubicBezTo>
                                                                          <a:cubicBezTo>
                                                                            <a:pt x="222579" y="305156"/>
                                                                            <a:pt x="223044" y="302638"/>
                                                                            <a:pt x="223838" y="300257"/>
                                                                          </a:cubicBezTo>
                                                                          <a:cubicBezTo>
                                                                            <a:pt x="222565" y="295165"/>
                                                                            <a:pt x="216852" y="279567"/>
                                                                            <a:pt x="226219" y="276445"/>
                                                                          </a:cubicBezTo>
                                                                          <a:lnTo>
                                                                            <a:pt x="233363" y="274064"/>
                                                                          </a:lnTo>
                                                                          <a:cubicBezTo>
                                                                            <a:pt x="234157" y="271683"/>
                                                                            <a:pt x="233702" y="268379"/>
                                                                            <a:pt x="235744" y="266920"/>
                                                                          </a:cubicBezTo>
                                                                          <a:cubicBezTo>
                                                                            <a:pt x="246697" y="259095"/>
                                                                            <a:pt x="284070" y="260030"/>
                                                                            <a:pt x="288131" y="259776"/>
                                                                          </a:cubicBezTo>
                                                                          <a:cubicBezTo>
                                                                            <a:pt x="312832" y="243311"/>
                                                                            <a:pt x="275881" y="269648"/>
                                                                            <a:pt x="300038" y="245489"/>
                                                                          </a:cubicBezTo>
                                                                          <a:cubicBezTo>
                                                                            <a:pt x="301813" y="243714"/>
                                                                            <a:pt x="304936" y="244230"/>
                                                                            <a:pt x="307181" y="243107"/>
                                                                          </a:cubicBezTo>
                                                                          <a:cubicBezTo>
                                                                            <a:pt x="309741" y="241827"/>
                                                                            <a:pt x="311944" y="239932"/>
                                                                            <a:pt x="314325" y="238345"/>
                                                                          </a:cubicBezTo>
                                                                          <a:cubicBezTo>
                                                                            <a:pt x="347818" y="242066"/>
                                                                            <a:pt x="339080" y="242235"/>
                                                                            <a:pt x="385763" y="238345"/>
                                                                          </a:cubicBezTo>
                                                                          <a:cubicBezTo>
                                                                            <a:pt x="388264" y="238137"/>
                                                                            <a:pt x="390525" y="236758"/>
                                                                            <a:pt x="392906" y="235964"/>
                                                                          </a:cubicBezTo>
                                                                          <a:cubicBezTo>
                                                                            <a:pt x="395287" y="234376"/>
                                                                            <a:pt x="397490" y="232481"/>
                                                                            <a:pt x="400050" y="231201"/>
                                                                          </a:cubicBezTo>
                                                                          <a:cubicBezTo>
                                                                            <a:pt x="402295" y="230078"/>
                                                                            <a:pt x="405234" y="230388"/>
                                                                            <a:pt x="407194" y="228820"/>
                                                                          </a:cubicBezTo>
                                                                          <a:cubicBezTo>
                                                                            <a:pt x="414114" y="223284"/>
                                                                            <a:pt x="412150" y="214243"/>
                                                                            <a:pt x="416719" y="207389"/>
                                                                          </a:cubicBezTo>
                                                                          <a:cubicBezTo>
                                                                            <a:pt x="418306" y="205008"/>
                                                                            <a:pt x="420201" y="202805"/>
                                                                            <a:pt x="421481" y="200245"/>
                                                                          </a:cubicBezTo>
                                                                          <a:cubicBezTo>
                                                                            <a:pt x="422604" y="198000"/>
                                                                            <a:pt x="422295" y="195061"/>
                                                                            <a:pt x="423863" y="193101"/>
                                                                          </a:cubicBezTo>
                                                                          <a:cubicBezTo>
                                                                            <a:pt x="425651" y="190866"/>
                                                                            <a:pt x="428625" y="189926"/>
                                                                            <a:pt x="431006" y="188339"/>
                                                                          </a:cubicBezTo>
                                                                          <a:cubicBezTo>
                                                                            <a:pt x="431800" y="185958"/>
                                                                            <a:pt x="431460" y="182802"/>
                                                                            <a:pt x="433388" y="181195"/>
                                                                          </a:cubicBezTo>
                                                                          <a:cubicBezTo>
                                                                            <a:pt x="435289" y="179611"/>
                                                                            <a:pt x="448483" y="175369"/>
                                                                            <a:pt x="452438" y="174051"/>
                                                                          </a:cubicBezTo>
                                                                          <a:cubicBezTo>
                                                                            <a:pt x="461169" y="174845"/>
                                                                            <a:pt x="469952" y="175192"/>
                                                                            <a:pt x="478631" y="176432"/>
                                                                          </a:cubicBezTo>
                                                                          <a:cubicBezTo>
                                                                            <a:pt x="481116" y="176787"/>
                                                                            <a:pt x="483340" y="178205"/>
                                                                            <a:pt x="485775" y="178814"/>
                                                                          </a:cubicBezTo>
                                                                          <a:cubicBezTo>
                                                                            <a:pt x="489701" y="179796"/>
                                                                            <a:pt x="493712" y="180401"/>
                                                                            <a:pt x="497681" y="181195"/>
                                                                          </a:cubicBezTo>
                                                                          <a:cubicBezTo>
                                                                            <a:pt x="505619" y="180401"/>
                                                                            <a:pt x="513610" y="180027"/>
                                                                            <a:pt x="521494" y="178814"/>
                                                                          </a:cubicBezTo>
                                                                          <a:cubicBezTo>
                                                                            <a:pt x="523975" y="178432"/>
                                                                            <a:pt x="526203" y="177041"/>
                                                                            <a:pt x="528638" y="176432"/>
                                                                          </a:cubicBezTo>
                                                                          <a:cubicBezTo>
                                                                            <a:pt x="532564" y="175450"/>
                                                                            <a:pt x="536575" y="174845"/>
                                                                            <a:pt x="540544" y="174051"/>
                                                                          </a:cubicBezTo>
                                                                          <a:cubicBezTo>
                                                                            <a:pt x="567664" y="177064"/>
                                                                            <a:pt x="557988" y="170451"/>
                                                                            <a:pt x="571500" y="190720"/>
                                                                          </a:cubicBezTo>
                                                                          <a:lnTo>
                                                                            <a:pt x="571500" y="190720"/>
                                                                          </a:lnTo>
                                                                          <a:lnTo>
                                                                            <a:pt x="585788" y="200245"/>
                                                                          </a:lnTo>
                                                                          <a:lnTo>
                                                                            <a:pt x="592931" y="205007"/>
                                                                          </a:lnTo>
                                                                          <a:cubicBezTo>
                                                                            <a:pt x="603250" y="204213"/>
                                                                            <a:pt x="614509" y="207002"/>
                                                                            <a:pt x="623888" y="202626"/>
                                                                          </a:cubicBezTo>
                                                                          <a:cubicBezTo>
                                                                            <a:pt x="628437" y="200503"/>
                                                                            <a:pt x="628650" y="188339"/>
                                                                            <a:pt x="628650" y="188339"/>
                                                                          </a:cubicBezTo>
                                                                          <a:cubicBezTo>
                                                                            <a:pt x="629444" y="181989"/>
                                                                            <a:pt x="627806" y="174817"/>
                                                                            <a:pt x="631031" y="169289"/>
                                                                          </a:cubicBezTo>
                                                                          <a:cubicBezTo>
                                                                            <a:pt x="633915" y="164345"/>
                                                                            <a:pt x="645319" y="159764"/>
                                                                            <a:pt x="645319" y="159764"/>
                                                                          </a:cubicBezTo>
                                                                          <a:cubicBezTo>
                                                                            <a:pt x="648974" y="154281"/>
                                                                            <a:pt x="651368" y="152046"/>
                                                                            <a:pt x="652463" y="145476"/>
                                                                          </a:cubicBezTo>
                                                                          <a:cubicBezTo>
                                                                            <a:pt x="656026" y="124099"/>
                                                                            <a:pt x="652727" y="129513"/>
                                                                            <a:pt x="657225" y="114520"/>
                                                                          </a:cubicBezTo>
                                                                          <a:cubicBezTo>
                                                                            <a:pt x="658668" y="109711"/>
                                                                            <a:pt x="657811" y="103017"/>
                                                                            <a:pt x="661988" y="100232"/>
                                                                          </a:cubicBezTo>
                                                                          <a:lnTo>
                                                                            <a:pt x="669131" y="95470"/>
                                                                          </a:lnTo>
                                                                          <a:cubicBezTo>
                                                                            <a:pt x="670719" y="93089"/>
                                                                            <a:pt x="671870" y="90350"/>
                                                                            <a:pt x="673894" y="88326"/>
                                                                          </a:cubicBezTo>
                                                                          <a:cubicBezTo>
                                                                            <a:pt x="675918" y="86302"/>
                                                                            <a:pt x="681038" y="86426"/>
                                                                            <a:pt x="681038" y="83564"/>
                                                                          </a:cubicBezTo>
                                                                          <a:cubicBezTo>
                                                                            <a:pt x="681038" y="80702"/>
                                                                            <a:pt x="676693" y="79401"/>
                                                                            <a:pt x="673894" y="78801"/>
                                                                          </a:cubicBezTo>
                                                                          <a:cubicBezTo>
                                                                            <a:pt x="665321" y="76964"/>
                                                                            <a:pt x="656431" y="77214"/>
                                                                            <a:pt x="647700" y="76420"/>
                                                                          </a:cubicBezTo>
                                                                          <a:cubicBezTo>
                                                                            <a:pt x="644525" y="75626"/>
                                                                            <a:pt x="641310" y="74979"/>
                                                                            <a:pt x="638175" y="74039"/>
                                                                          </a:cubicBezTo>
                                                                          <a:cubicBezTo>
                                                                            <a:pt x="629633" y="71476"/>
                                                                            <a:pt x="623242" y="70290"/>
                                                                            <a:pt x="616744" y="64514"/>
                                                                          </a:cubicBezTo>
                                                                          <a:cubicBezTo>
                                                                            <a:pt x="597468" y="47380"/>
                                                                            <a:pt x="610043" y="52755"/>
                                                                            <a:pt x="595313" y="47845"/>
                                                                          </a:cubicBezTo>
                                                                          <a:cubicBezTo>
                                                                            <a:pt x="590550" y="44670"/>
                                                                            <a:pt x="586455" y="40130"/>
                                                                            <a:pt x="581025" y="38320"/>
                                                                          </a:cubicBezTo>
                                                                          <a:lnTo>
                                                                            <a:pt x="559594" y="31176"/>
                                                                          </a:lnTo>
                                                                          <a:lnTo>
                                                                            <a:pt x="545306" y="26414"/>
                                                                          </a:lnTo>
                                                                          <a:lnTo>
                                                                            <a:pt x="538163" y="24032"/>
                                                                          </a:lnTo>
                                                                          <a:cubicBezTo>
                                                                            <a:pt x="536398" y="24179"/>
                                                                            <a:pt x="508660" y="21853"/>
                                                                            <a:pt x="502444" y="31176"/>
                                                                          </a:cubicBezTo>
                                                                          <a:cubicBezTo>
                                                                            <a:pt x="500629" y="33899"/>
                                                                            <a:pt x="501352" y="37693"/>
                                                                            <a:pt x="500063" y="40701"/>
                                                                          </a:cubicBezTo>
                                                                          <a:cubicBezTo>
                                                                            <a:pt x="498936" y="43332"/>
                                                                            <a:pt x="497727" y="46328"/>
                                                                            <a:pt x="495300" y="47845"/>
                                                                          </a:cubicBezTo>
                                                                          <a:cubicBezTo>
                                                                            <a:pt x="491043" y="50506"/>
                                                                            <a:pt x="481013" y="52607"/>
                                                                            <a:pt x="481013" y="52607"/>
                                                                          </a:cubicBezTo>
                                                                          <a:cubicBezTo>
                                                                            <a:pt x="480420" y="52489"/>
                                                                            <a:pt x="464404" y="49798"/>
                                                                            <a:pt x="461963" y="47845"/>
                                                                          </a:cubicBezTo>
                                                                          <a:cubicBezTo>
                                                                            <a:pt x="446577" y="35536"/>
                                                                            <a:pt x="468010" y="44304"/>
                                                                            <a:pt x="450056" y="38320"/>
                                                                          </a:cubicBezTo>
                                                                          <a:cubicBezTo>
                                                                            <a:pt x="434181" y="39114"/>
                                                                            <a:pt x="418192" y="38645"/>
                                                                            <a:pt x="402431" y="40701"/>
                                                                          </a:cubicBezTo>
                                                                          <a:cubicBezTo>
                                                                            <a:pt x="395189" y="41646"/>
                                                                            <a:pt x="387550" y="57070"/>
                                                                            <a:pt x="385763" y="59751"/>
                                                                          </a:cubicBezTo>
                                                                          <a:cubicBezTo>
                                                                            <a:pt x="384175" y="62132"/>
                                                                            <a:pt x="383560" y="65615"/>
                                                                            <a:pt x="381000" y="66895"/>
                                                                          </a:cubicBezTo>
                                                                          <a:cubicBezTo>
                                                                            <a:pt x="369230" y="72780"/>
                                                                            <a:pt x="374842" y="70534"/>
                                                                            <a:pt x="364331" y="74039"/>
                                                                          </a:cubicBezTo>
                                                                          <a:cubicBezTo>
                                                                            <a:pt x="359569" y="73245"/>
                                                                            <a:pt x="354757" y="72704"/>
                                                                            <a:pt x="350044" y="71657"/>
                                                                          </a:cubicBezTo>
                                                                          <a:cubicBezTo>
                                                                            <a:pt x="347594" y="71112"/>
                                                                            <a:pt x="345370" y="69725"/>
                                                                            <a:pt x="342900" y="69276"/>
                                                                          </a:cubicBezTo>
                                                                          <a:cubicBezTo>
                                                                            <a:pt x="336604" y="68131"/>
                                                                            <a:pt x="330200" y="67689"/>
                                                                            <a:pt x="323850" y="66895"/>
                                                                          </a:cubicBezTo>
                                                                          <a:cubicBezTo>
                                                                            <a:pt x="324644" y="63720"/>
                                                                            <a:pt x="324416" y="60093"/>
                                                                            <a:pt x="326231" y="57370"/>
                                                                          </a:cubicBezTo>
                                                                          <a:cubicBezTo>
                                                                            <a:pt x="327819" y="54989"/>
                                                                            <a:pt x="331351" y="54631"/>
                                                                            <a:pt x="333375" y="52607"/>
                                                                          </a:cubicBezTo>
                                                                          <a:cubicBezTo>
                                                                            <a:pt x="335399" y="50583"/>
                                                                            <a:pt x="336550" y="47845"/>
                                                                            <a:pt x="338138" y="45464"/>
                                                                          </a:cubicBezTo>
                                                                          <a:cubicBezTo>
                                                                            <a:pt x="337344" y="41495"/>
                                                                            <a:pt x="337901" y="36989"/>
                                                                            <a:pt x="335756" y="33557"/>
                                                                          </a:cubicBezTo>
                                                                          <a:cubicBezTo>
                                                                            <a:pt x="330743" y="25536"/>
                                                                            <a:pt x="322219" y="25611"/>
                                                                            <a:pt x="314325" y="24032"/>
                                                                          </a:cubicBezTo>
                                                                          <a:cubicBezTo>
                                                                            <a:pt x="313525" y="18434"/>
                                                                            <a:pt x="314678" y="2690"/>
                                                                            <a:pt x="304800" y="220"/>
                                                                          </a:cubicBezTo>
                                                                          <a:cubicBezTo>
                                                                            <a:pt x="300874" y="-762"/>
                                                                            <a:pt x="296863" y="1807"/>
                                                                            <a:pt x="292894" y="2601"/>
                                                                          </a:cubicBezTo>
                                                                          <a:cubicBezTo>
                                                                            <a:pt x="290513" y="4189"/>
                                                                            <a:pt x="287538" y="5129"/>
                                                                            <a:pt x="285750" y="7364"/>
                                                                          </a:cubicBezTo>
                                                                          <a:cubicBezTo>
                                                                            <a:pt x="275764" y="19846"/>
                                                                            <a:pt x="293919" y="9855"/>
                                                                            <a:pt x="276225" y="21651"/>
                                                                          </a:cubicBezTo>
                                                                          <a:cubicBezTo>
                                                                            <a:pt x="274136" y="23043"/>
                                                                            <a:pt x="271566" y="23677"/>
                                                                            <a:pt x="269081" y="24032"/>
                                                                          </a:cubicBezTo>
                                                                          <a:cubicBezTo>
                                                                            <a:pt x="260402" y="25272"/>
                                                                            <a:pt x="251430" y="24443"/>
                                                                            <a:pt x="242888" y="26414"/>
                                                                          </a:cubicBezTo>
                                                                          <a:cubicBezTo>
                                                                            <a:pt x="240700" y="26919"/>
                                                                            <a:pt x="236935" y="18476"/>
                                                                            <a:pt x="235744" y="1688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0" name="Freeform 259"/>
                                                                  <p:cNvSpPr/>
                                                                  <p:nvPr/>
                                                                </p:nvSpPr>
                                                                <p:spPr>
                                                                  <a:xfrm>
                                                                    <a:off x="4159751" y="4379119"/>
                                                                    <a:ext cx="814680" cy="514512"/>
                                                                  </a:xfrm>
                                                                  <a:custGeom>
                                                                    <a:avLst/>
                                                                    <a:gdLst>
                                                                      <a:gd name="connsiteX0" fmla="*/ 293 w 814680"/>
                                                                      <a:gd name="connsiteY0" fmla="*/ 288131 h 514512"/>
                                                                      <a:gd name="connsiteX1" fmla="*/ 293 w 814680"/>
                                                                      <a:gd name="connsiteY1" fmla="*/ 288131 h 514512"/>
                                                                      <a:gd name="connsiteX2" fmla="*/ 24105 w 814680"/>
                                                                      <a:gd name="connsiteY2" fmla="*/ 273844 h 514512"/>
                                                                      <a:gd name="connsiteX3" fmla="*/ 26487 w 814680"/>
                                                                      <a:gd name="connsiteY3" fmla="*/ 266700 h 514512"/>
                                                                      <a:gd name="connsiteX4" fmla="*/ 28868 w 814680"/>
                                                                      <a:gd name="connsiteY4" fmla="*/ 252412 h 514512"/>
                                                                      <a:gd name="connsiteX5" fmla="*/ 31249 w 814680"/>
                                                                      <a:gd name="connsiteY5" fmla="*/ 245269 h 514512"/>
                                                                      <a:gd name="connsiteX6" fmla="*/ 40774 w 814680"/>
                                                                      <a:gd name="connsiteY6" fmla="*/ 209550 h 514512"/>
                                                                      <a:gd name="connsiteX7" fmla="*/ 47918 w 814680"/>
                                                                      <a:gd name="connsiteY7" fmla="*/ 207169 h 514512"/>
                                                                      <a:gd name="connsiteX8" fmla="*/ 50299 w 814680"/>
                                                                      <a:gd name="connsiteY8" fmla="*/ 200025 h 514512"/>
                                                                      <a:gd name="connsiteX9" fmla="*/ 52680 w 814680"/>
                                                                      <a:gd name="connsiteY9" fmla="*/ 180975 h 514512"/>
                                                                      <a:gd name="connsiteX10" fmla="*/ 38393 w 814680"/>
                                                                      <a:gd name="connsiteY10" fmla="*/ 176212 h 514512"/>
                                                                      <a:gd name="connsiteX11" fmla="*/ 38393 w 814680"/>
                                                                      <a:gd name="connsiteY11" fmla="*/ 152400 h 514512"/>
                                                                      <a:gd name="connsiteX12" fmla="*/ 45537 w 814680"/>
                                                                      <a:gd name="connsiteY12" fmla="*/ 147637 h 514512"/>
                                                                      <a:gd name="connsiteX13" fmla="*/ 74112 w 814680"/>
                                                                      <a:gd name="connsiteY13" fmla="*/ 154781 h 514512"/>
                                                                      <a:gd name="connsiteX14" fmla="*/ 81255 w 814680"/>
                                                                      <a:gd name="connsiteY14" fmla="*/ 157162 h 514512"/>
                                                                      <a:gd name="connsiteX15" fmla="*/ 107449 w 814680"/>
                                                                      <a:gd name="connsiteY15" fmla="*/ 150019 h 514512"/>
                                                                      <a:gd name="connsiteX16" fmla="*/ 116974 w 814680"/>
                                                                      <a:gd name="connsiteY16" fmla="*/ 128587 h 514512"/>
                                                                      <a:gd name="connsiteX17" fmla="*/ 119355 w 814680"/>
                                                                      <a:gd name="connsiteY17" fmla="*/ 107156 h 514512"/>
                                                                      <a:gd name="connsiteX18" fmla="*/ 126499 w 814680"/>
                                                                      <a:gd name="connsiteY18" fmla="*/ 109537 h 514512"/>
                                                                      <a:gd name="connsiteX19" fmla="*/ 140787 w 814680"/>
                                                                      <a:gd name="connsiteY19" fmla="*/ 119062 h 514512"/>
                                                                      <a:gd name="connsiteX20" fmla="*/ 147930 w 814680"/>
                                                                      <a:gd name="connsiteY20" fmla="*/ 121444 h 514512"/>
                                                                      <a:gd name="connsiteX21" fmla="*/ 155074 w 814680"/>
                                                                      <a:gd name="connsiteY21" fmla="*/ 126206 h 514512"/>
                                                                      <a:gd name="connsiteX22" fmla="*/ 164599 w 814680"/>
                                                                      <a:gd name="connsiteY22" fmla="*/ 128587 h 514512"/>
                                                                      <a:gd name="connsiteX23" fmla="*/ 188412 w 814680"/>
                                                                      <a:gd name="connsiteY23" fmla="*/ 135731 h 514512"/>
                                                                      <a:gd name="connsiteX24" fmla="*/ 195555 w 814680"/>
                                                                      <a:gd name="connsiteY24" fmla="*/ 140494 h 514512"/>
                                                                      <a:gd name="connsiteX25" fmla="*/ 224130 w 814680"/>
                                                                      <a:gd name="connsiteY25" fmla="*/ 145256 h 514512"/>
                                                                      <a:gd name="connsiteX26" fmla="*/ 255087 w 814680"/>
                                                                      <a:gd name="connsiteY26" fmla="*/ 142875 h 514512"/>
                                                                      <a:gd name="connsiteX27" fmla="*/ 271755 w 814680"/>
                                                                      <a:gd name="connsiteY27" fmla="*/ 142875 h 514512"/>
                                                                      <a:gd name="connsiteX28" fmla="*/ 297949 w 814680"/>
                                                                      <a:gd name="connsiteY28" fmla="*/ 140494 h 514512"/>
                                                                      <a:gd name="connsiteX29" fmla="*/ 305093 w 814680"/>
                                                                      <a:gd name="connsiteY29" fmla="*/ 138112 h 514512"/>
                                                                      <a:gd name="connsiteX30" fmla="*/ 319380 w 814680"/>
                                                                      <a:gd name="connsiteY30" fmla="*/ 135731 h 514512"/>
                                                                      <a:gd name="connsiteX31" fmla="*/ 328905 w 814680"/>
                                                                      <a:gd name="connsiteY31" fmla="*/ 133350 h 514512"/>
                                                                      <a:gd name="connsiteX32" fmla="*/ 331287 w 814680"/>
                                                                      <a:gd name="connsiteY32" fmla="*/ 126206 h 514512"/>
                                                                      <a:gd name="connsiteX33" fmla="*/ 326524 w 814680"/>
                                                                      <a:gd name="connsiteY33" fmla="*/ 119062 h 514512"/>
                                                                      <a:gd name="connsiteX34" fmla="*/ 338430 w 814680"/>
                                                                      <a:gd name="connsiteY34" fmla="*/ 107156 h 514512"/>
                                                                      <a:gd name="connsiteX35" fmla="*/ 350337 w 814680"/>
                                                                      <a:gd name="connsiteY35" fmla="*/ 97631 h 514512"/>
                                                                      <a:gd name="connsiteX36" fmla="*/ 357480 w 814680"/>
                                                                      <a:gd name="connsiteY36" fmla="*/ 92869 h 514512"/>
                                                                      <a:gd name="connsiteX37" fmla="*/ 388437 w 814680"/>
                                                                      <a:gd name="connsiteY37" fmla="*/ 88106 h 514512"/>
                                                                      <a:gd name="connsiteX38" fmla="*/ 395580 w 814680"/>
                                                                      <a:gd name="connsiteY38" fmla="*/ 80962 h 514512"/>
                                                                      <a:gd name="connsiteX39" fmla="*/ 400343 w 814680"/>
                                                                      <a:gd name="connsiteY39" fmla="*/ 73819 h 514512"/>
                                                                      <a:gd name="connsiteX40" fmla="*/ 450349 w 814680"/>
                                                                      <a:gd name="connsiteY40" fmla="*/ 66675 h 514512"/>
                                                                      <a:gd name="connsiteX41" fmla="*/ 457493 w 814680"/>
                                                                      <a:gd name="connsiteY41" fmla="*/ 64294 h 514512"/>
                                                                      <a:gd name="connsiteX42" fmla="*/ 483687 w 814680"/>
                                                                      <a:gd name="connsiteY42" fmla="*/ 59531 h 514512"/>
                                                                      <a:gd name="connsiteX43" fmla="*/ 497974 w 814680"/>
                                                                      <a:gd name="connsiteY43" fmla="*/ 54769 h 514512"/>
                                                                      <a:gd name="connsiteX44" fmla="*/ 512262 w 814680"/>
                                                                      <a:gd name="connsiteY44" fmla="*/ 45244 h 514512"/>
                                                                      <a:gd name="connsiteX45" fmla="*/ 524168 w 814680"/>
                                                                      <a:gd name="connsiteY45" fmla="*/ 26194 h 514512"/>
                                                                      <a:gd name="connsiteX46" fmla="*/ 528930 w 814680"/>
                                                                      <a:gd name="connsiteY46" fmla="*/ 19050 h 514512"/>
                                                                      <a:gd name="connsiteX47" fmla="*/ 543218 w 814680"/>
                                                                      <a:gd name="connsiteY47" fmla="*/ 9525 h 514512"/>
                                                                      <a:gd name="connsiteX48" fmla="*/ 567030 w 814680"/>
                                                                      <a:gd name="connsiteY48" fmla="*/ 2381 h 514512"/>
                                                                      <a:gd name="connsiteX49" fmla="*/ 640849 w 814680"/>
                                                                      <a:gd name="connsiteY49" fmla="*/ 2381 h 514512"/>
                                                                      <a:gd name="connsiteX50" fmla="*/ 647993 w 814680"/>
                                                                      <a:gd name="connsiteY50" fmla="*/ 0 h 514512"/>
                                                                      <a:gd name="connsiteX51" fmla="*/ 664662 w 814680"/>
                                                                      <a:gd name="connsiteY51" fmla="*/ 2381 h 514512"/>
                                                                      <a:gd name="connsiteX52" fmla="*/ 671805 w 814680"/>
                                                                      <a:gd name="connsiteY52" fmla="*/ 4762 h 514512"/>
                                                                      <a:gd name="connsiteX53" fmla="*/ 676568 w 814680"/>
                                                                      <a:gd name="connsiteY53" fmla="*/ 11906 h 514512"/>
                                                                      <a:gd name="connsiteX54" fmla="*/ 690855 w 814680"/>
                                                                      <a:gd name="connsiteY54" fmla="*/ 21431 h 514512"/>
                                                                      <a:gd name="connsiteX55" fmla="*/ 697999 w 814680"/>
                                                                      <a:gd name="connsiteY55" fmla="*/ 26194 h 514512"/>
                                                                      <a:gd name="connsiteX56" fmla="*/ 728955 w 814680"/>
                                                                      <a:gd name="connsiteY56" fmla="*/ 30956 h 514512"/>
                                                                      <a:gd name="connsiteX57" fmla="*/ 736099 w 814680"/>
                                                                      <a:gd name="connsiteY57" fmla="*/ 33337 h 514512"/>
                                                                      <a:gd name="connsiteX58" fmla="*/ 748005 w 814680"/>
                                                                      <a:gd name="connsiteY58" fmla="*/ 42862 h 514512"/>
                                                                      <a:gd name="connsiteX59" fmla="*/ 755149 w 814680"/>
                                                                      <a:gd name="connsiteY59" fmla="*/ 50006 h 514512"/>
                                                                      <a:gd name="connsiteX60" fmla="*/ 786105 w 814680"/>
                                                                      <a:gd name="connsiteY60" fmla="*/ 57150 h 514512"/>
                                                                      <a:gd name="connsiteX61" fmla="*/ 788487 w 814680"/>
                                                                      <a:gd name="connsiteY61" fmla="*/ 64294 h 514512"/>
                                                                      <a:gd name="connsiteX62" fmla="*/ 790868 w 814680"/>
                                                                      <a:gd name="connsiteY62" fmla="*/ 85725 h 514512"/>
                                                                      <a:gd name="connsiteX63" fmla="*/ 798012 w 814680"/>
                                                                      <a:gd name="connsiteY63" fmla="*/ 88106 h 514512"/>
                                                                      <a:gd name="connsiteX64" fmla="*/ 805155 w 814680"/>
                                                                      <a:gd name="connsiteY64" fmla="*/ 92869 h 514512"/>
                                                                      <a:gd name="connsiteX65" fmla="*/ 812299 w 814680"/>
                                                                      <a:gd name="connsiteY65" fmla="*/ 95250 h 514512"/>
                                                                      <a:gd name="connsiteX66" fmla="*/ 814680 w 814680"/>
                                                                      <a:gd name="connsiteY66" fmla="*/ 102394 h 514512"/>
                                                                      <a:gd name="connsiteX67" fmla="*/ 807537 w 814680"/>
                                                                      <a:gd name="connsiteY67" fmla="*/ 119062 h 514512"/>
                                                                      <a:gd name="connsiteX68" fmla="*/ 802774 w 814680"/>
                                                                      <a:gd name="connsiteY68" fmla="*/ 133350 h 514512"/>
                                                                      <a:gd name="connsiteX69" fmla="*/ 795630 w 814680"/>
                                                                      <a:gd name="connsiteY69" fmla="*/ 138112 h 514512"/>
                                                                      <a:gd name="connsiteX70" fmla="*/ 788487 w 814680"/>
                                                                      <a:gd name="connsiteY70" fmla="*/ 140494 h 514512"/>
                                                                      <a:gd name="connsiteX71" fmla="*/ 767055 w 814680"/>
                                                                      <a:gd name="connsiteY71" fmla="*/ 152400 h 514512"/>
                                                                      <a:gd name="connsiteX72" fmla="*/ 759912 w 814680"/>
                                                                      <a:gd name="connsiteY72" fmla="*/ 157162 h 514512"/>
                                                                      <a:gd name="connsiteX73" fmla="*/ 755149 w 814680"/>
                                                                      <a:gd name="connsiteY73" fmla="*/ 164306 h 514512"/>
                                                                      <a:gd name="connsiteX74" fmla="*/ 748005 w 814680"/>
                                                                      <a:gd name="connsiteY74" fmla="*/ 178594 h 514512"/>
                                                                      <a:gd name="connsiteX75" fmla="*/ 740862 w 814680"/>
                                                                      <a:gd name="connsiteY75" fmla="*/ 180975 h 514512"/>
                                                                      <a:gd name="connsiteX76" fmla="*/ 736099 w 814680"/>
                                                                      <a:gd name="connsiteY76" fmla="*/ 188119 h 514512"/>
                                                                      <a:gd name="connsiteX77" fmla="*/ 721812 w 814680"/>
                                                                      <a:gd name="connsiteY77" fmla="*/ 197644 h 514512"/>
                                                                      <a:gd name="connsiteX78" fmla="*/ 712287 w 814680"/>
                                                                      <a:gd name="connsiteY78" fmla="*/ 211931 h 514512"/>
                                                                      <a:gd name="connsiteX79" fmla="*/ 700380 w 814680"/>
                                                                      <a:gd name="connsiteY79" fmla="*/ 230981 h 514512"/>
                                                                      <a:gd name="connsiteX80" fmla="*/ 695618 w 814680"/>
                                                                      <a:gd name="connsiteY80" fmla="*/ 238125 h 514512"/>
                                                                      <a:gd name="connsiteX81" fmla="*/ 681330 w 814680"/>
                                                                      <a:gd name="connsiteY81" fmla="*/ 250031 h 514512"/>
                                                                      <a:gd name="connsiteX82" fmla="*/ 671805 w 814680"/>
                                                                      <a:gd name="connsiteY82" fmla="*/ 271462 h 514512"/>
                                                                      <a:gd name="connsiteX83" fmla="*/ 664662 w 814680"/>
                                                                      <a:gd name="connsiteY83" fmla="*/ 285750 h 514512"/>
                                                                      <a:gd name="connsiteX84" fmla="*/ 659899 w 814680"/>
                                                                      <a:gd name="connsiteY84" fmla="*/ 302419 h 514512"/>
                                                                      <a:gd name="connsiteX85" fmla="*/ 657518 w 814680"/>
                                                                      <a:gd name="connsiteY85" fmla="*/ 314325 h 514512"/>
                                                                      <a:gd name="connsiteX86" fmla="*/ 655137 w 814680"/>
                                                                      <a:gd name="connsiteY86" fmla="*/ 328612 h 514512"/>
                                                                      <a:gd name="connsiteX87" fmla="*/ 652755 w 814680"/>
                                                                      <a:gd name="connsiteY87" fmla="*/ 335756 h 514512"/>
                                                                      <a:gd name="connsiteX88" fmla="*/ 645612 w 814680"/>
                                                                      <a:gd name="connsiteY88" fmla="*/ 340519 h 514512"/>
                                                                      <a:gd name="connsiteX89" fmla="*/ 636087 w 814680"/>
                                                                      <a:gd name="connsiteY89" fmla="*/ 361950 h 514512"/>
                                                                      <a:gd name="connsiteX90" fmla="*/ 633705 w 814680"/>
                                                                      <a:gd name="connsiteY90" fmla="*/ 369094 h 514512"/>
                                                                      <a:gd name="connsiteX91" fmla="*/ 619418 w 814680"/>
                                                                      <a:gd name="connsiteY91" fmla="*/ 378619 h 514512"/>
                                                                      <a:gd name="connsiteX92" fmla="*/ 617037 w 814680"/>
                                                                      <a:gd name="connsiteY92" fmla="*/ 397669 h 514512"/>
                                                                      <a:gd name="connsiteX93" fmla="*/ 605130 w 814680"/>
                                                                      <a:gd name="connsiteY93" fmla="*/ 409575 h 514512"/>
                                                                      <a:gd name="connsiteX94" fmla="*/ 597987 w 814680"/>
                                                                      <a:gd name="connsiteY94" fmla="*/ 411956 h 514512"/>
                                                                      <a:gd name="connsiteX95" fmla="*/ 581318 w 814680"/>
                                                                      <a:gd name="connsiteY95" fmla="*/ 431006 h 514512"/>
                                                                      <a:gd name="connsiteX96" fmla="*/ 574174 w 814680"/>
                                                                      <a:gd name="connsiteY96" fmla="*/ 438150 h 514512"/>
                                                                      <a:gd name="connsiteX97" fmla="*/ 555124 w 814680"/>
                                                                      <a:gd name="connsiteY97" fmla="*/ 440531 h 514512"/>
                                                                      <a:gd name="connsiteX98" fmla="*/ 547980 w 814680"/>
                                                                      <a:gd name="connsiteY98" fmla="*/ 445294 h 514512"/>
                                                                      <a:gd name="connsiteX99" fmla="*/ 519405 w 814680"/>
                                                                      <a:gd name="connsiteY99" fmla="*/ 445294 h 514512"/>
                                                                      <a:gd name="connsiteX100" fmla="*/ 490830 w 814680"/>
                                                                      <a:gd name="connsiteY100" fmla="*/ 440531 h 514512"/>
                                                                      <a:gd name="connsiteX101" fmla="*/ 476543 w 814680"/>
                                                                      <a:gd name="connsiteY101" fmla="*/ 442912 h 514512"/>
                                                                      <a:gd name="connsiteX102" fmla="*/ 469399 w 814680"/>
                                                                      <a:gd name="connsiteY102" fmla="*/ 447675 h 514512"/>
                                                                      <a:gd name="connsiteX103" fmla="*/ 426537 w 814680"/>
                                                                      <a:gd name="connsiteY103" fmla="*/ 442912 h 514512"/>
                                                                      <a:gd name="connsiteX104" fmla="*/ 383674 w 814680"/>
                                                                      <a:gd name="connsiteY104" fmla="*/ 445294 h 514512"/>
                                                                      <a:gd name="connsiteX105" fmla="*/ 369387 w 814680"/>
                                                                      <a:gd name="connsiteY105" fmla="*/ 450056 h 514512"/>
                                                                      <a:gd name="connsiteX106" fmla="*/ 367005 w 814680"/>
                                                                      <a:gd name="connsiteY106" fmla="*/ 457200 h 514512"/>
                                                                      <a:gd name="connsiteX107" fmla="*/ 338430 w 814680"/>
                                                                      <a:gd name="connsiteY107" fmla="*/ 471487 h 514512"/>
                                                                      <a:gd name="connsiteX108" fmla="*/ 331287 w 814680"/>
                                                                      <a:gd name="connsiteY108" fmla="*/ 473869 h 514512"/>
                                                                      <a:gd name="connsiteX109" fmla="*/ 293187 w 814680"/>
                                                                      <a:gd name="connsiteY109" fmla="*/ 478631 h 514512"/>
                                                                      <a:gd name="connsiteX110" fmla="*/ 283662 w 814680"/>
                                                                      <a:gd name="connsiteY110" fmla="*/ 492919 h 514512"/>
                                                                      <a:gd name="connsiteX111" fmla="*/ 276518 w 814680"/>
                                                                      <a:gd name="connsiteY111" fmla="*/ 500062 h 514512"/>
                                                                      <a:gd name="connsiteX112" fmla="*/ 271755 w 814680"/>
                                                                      <a:gd name="connsiteY112" fmla="*/ 507206 h 514512"/>
                                                                      <a:gd name="connsiteX113" fmla="*/ 264612 w 814680"/>
                                                                      <a:gd name="connsiteY113" fmla="*/ 509587 h 514512"/>
                                                                      <a:gd name="connsiteX114" fmla="*/ 257468 w 814680"/>
                                                                      <a:gd name="connsiteY114" fmla="*/ 514350 h 514512"/>
                                                                      <a:gd name="connsiteX115" fmla="*/ 238418 w 814680"/>
                                                                      <a:gd name="connsiteY115" fmla="*/ 507206 h 514512"/>
                                                                      <a:gd name="connsiteX116" fmla="*/ 221749 w 814680"/>
                                                                      <a:gd name="connsiteY116" fmla="*/ 495300 h 514512"/>
                                                                      <a:gd name="connsiteX117" fmla="*/ 202699 w 814680"/>
                                                                      <a:gd name="connsiteY117" fmla="*/ 490537 h 514512"/>
                                                                      <a:gd name="connsiteX118" fmla="*/ 193174 w 814680"/>
                                                                      <a:gd name="connsiteY118" fmla="*/ 488156 h 514512"/>
                                                                      <a:gd name="connsiteX119" fmla="*/ 171743 w 814680"/>
                                                                      <a:gd name="connsiteY119" fmla="*/ 483394 h 514512"/>
                                                                      <a:gd name="connsiteX120" fmla="*/ 157455 w 814680"/>
                                                                      <a:gd name="connsiteY120" fmla="*/ 473869 h 514512"/>
                                                                      <a:gd name="connsiteX121" fmla="*/ 150312 w 814680"/>
                                                                      <a:gd name="connsiteY121" fmla="*/ 469106 h 514512"/>
                                                                      <a:gd name="connsiteX122" fmla="*/ 143168 w 814680"/>
                                                                      <a:gd name="connsiteY122" fmla="*/ 466725 h 514512"/>
                                                                      <a:gd name="connsiteX123" fmla="*/ 128880 w 814680"/>
                                                                      <a:gd name="connsiteY123" fmla="*/ 454819 h 514512"/>
                                                                      <a:gd name="connsiteX124" fmla="*/ 121737 w 814680"/>
                                                                      <a:gd name="connsiteY124" fmla="*/ 452437 h 514512"/>
                                                                      <a:gd name="connsiteX125" fmla="*/ 107449 w 814680"/>
                                                                      <a:gd name="connsiteY125" fmla="*/ 442912 h 514512"/>
                                                                      <a:gd name="connsiteX126" fmla="*/ 102687 w 814680"/>
                                                                      <a:gd name="connsiteY126" fmla="*/ 435769 h 514512"/>
                                                                      <a:gd name="connsiteX127" fmla="*/ 100305 w 814680"/>
                                                                      <a:gd name="connsiteY127" fmla="*/ 428625 h 514512"/>
                                                                      <a:gd name="connsiteX128" fmla="*/ 83637 w 814680"/>
                                                                      <a:gd name="connsiteY128" fmla="*/ 407194 h 514512"/>
                                                                      <a:gd name="connsiteX129" fmla="*/ 69349 w 814680"/>
                                                                      <a:gd name="connsiteY129" fmla="*/ 397669 h 514512"/>
                                                                      <a:gd name="connsiteX130" fmla="*/ 62205 w 814680"/>
                                                                      <a:gd name="connsiteY130" fmla="*/ 392906 h 514512"/>
                                                                      <a:gd name="connsiteX131" fmla="*/ 59824 w 814680"/>
                                                                      <a:gd name="connsiteY131" fmla="*/ 371475 h 514512"/>
                                                                      <a:gd name="connsiteX132" fmla="*/ 52680 w 814680"/>
                                                                      <a:gd name="connsiteY132" fmla="*/ 366712 h 514512"/>
                                                                      <a:gd name="connsiteX133" fmla="*/ 31249 w 814680"/>
                                                                      <a:gd name="connsiteY133" fmla="*/ 359569 h 514512"/>
                                                                      <a:gd name="connsiteX134" fmla="*/ 24105 w 814680"/>
                                                                      <a:gd name="connsiteY134" fmla="*/ 357187 h 514512"/>
                                                                      <a:gd name="connsiteX135" fmla="*/ 16962 w 814680"/>
                                                                      <a:gd name="connsiteY135" fmla="*/ 352425 h 514512"/>
                                                                      <a:gd name="connsiteX136" fmla="*/ 12199 w 814680"/>
                                                                      <a:gd name="connsiteY136" fmla="*/ 338137 h 514512"/>
                                                                      <a:gd name="connsiteX137" fmla="*/ 9818 w 814680"/>
                                                                      <a:gd name="connsiteY137" fmla="*/ 330994 h 514512"/>
                                                                      <a:gd name="connsiteX138" fmla="*/ 7437 w 814680"/>
                                                                      <a:gd name="connsiteY138" fmla="*/ 297656 h 514512"/>
                                                                      <a:gd name="connsiteX139" fmla="*/ 293 w 814680"/>
                                                                      <a:gd name="connsiteY139" fmla="*/ 295275 h 514512"/>
                                                                      <a:gd name="connsiteX140" fmla="*/ 293 w 814680"/>
                                                                      <a:gd name="connsiteY140" fmla="*/ 288131 h 51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14680" h="514512">
                                                                        <a:moveTo>
                                                                          <a:pt x="293" y="288131"/>
                                                                        </a:moveTo>
                                                                        <a:lnTo>
                                                                          <a:pt x="293" y="288131"/>
                                                                        </a:lnTo>
                                                                        <a:cubicBezTo>
                                                                          <a:pt x="15808" y="282313"/>
                                                                          <a:pt x="18203" y="285646"/>
                                                                          <a:pt x="24105" y="273844"/>
                                                                        </a:cubicBezTo>
                                                                        <a:cubicBezTo>
                                                                          <a:pt x="25228" y="271599"/>
                                                                          <a:pt x="25693" y="269081"/>
                                                                          <a:pt x="26487" y="266700"/>
                                                                        </a:cubicBezTo>
                                                                        <a:cubicBezTo>
                                                                          <a:pt x="27281" y="261937"/>
                                                                          <a:pt x="27821" y="257125"/>
                                                                          <a:pt x="28868" y="252412"/>
                                                                        </a:cubicBezTo>
                                                                        <a:cubicBezTo>
                                                                          <a:pt x="29412" y="249962"/>
                                                                          <a:pt x="30917" y="247757"/>
                                                                          <a:pt x="31249" y="245269"/>
                                                                        </a:cubicBezTo>
                                                                        <a:cubicBezTo>
                                                                          <a:pt x="33737" y="226606"/>
                                                                          <a:pt x="26932" y="218778"/>
                                                                          <a:pt x="40774" y="209550"/>
                                                                        </a:cubicBezTo>
                                                                        <a:cubicBezTo>
                                                                          <a:pt x="42863" y="208158"/>
                                                                          <a:pt x="45537" y="207963"/>
                                                                          <a:pt x="47918" y="207169"/>
                                                                        </a:cubicBezTo>
                                                                        <a:cubicBezTo>
                                                                          <a:pt x="48712" y="204788"/>
                                                                          <a:pt x="49176" y="202270"/>
                                                                          <a:pt x="50299" y="200025"/>
                                                                        </a:cubicBezTo>
                                                                        <a:cubicBezTo>
                                                                          <a:pt x="53365" y="193894"/>
                                                                          <a:pt x="61199" y="189494"/>
                                                                          <a:pt x="52680" y="180975"/>
                                                                        </a:cubicBezTo>
                                                                        <a:cubicBezTo>
                                                                          <a:pt x="49130" y="177425"/>
                                                                          <a:pt x="38393" y="176212"/>
                                                                          <a:pt x="38393" y="176212"/>
                                                                        </a:cubicBezTo>
                                                                        <a:cubicBezTo>
                                                                          <a:pt x="35344" y="167065"/>
                                                                          <a:pt x="33181" y="164126"/>
                                                                          <a:pt x="38393" y="152400"/>
                                                                        </a:cubicBezTo>
                                                                        <a:cubicBezTo>
                                                                          <a:pt x="39555" y="149785"/>
                                                                          <a:pt x="43156" y="149225"/>
                                                                          <a:pt x="45537" y="147637"/>
                                                                        </a:cubicBezTo>
                                                                        <a:cubicBezTo>
                                                                          <a:pt x="64774" y="150844"/>
                                                                          <a:pt x="55245" y="148493"/>
                                                                          <a:pt x="74112" y="154781"/>
                                                                        </a:cubicBezTo>
                                                                        <a:lnTo>
                                                                          <a:pt x="81255" y="157162"/>
                                                                        </a:lnTo>
                                                                        <a:cubicBezTo>
                                                                          <a:pt x="104918" y="154533"/>
                                                                          <a:pt x="97604" y="159864"/>
                                                                          <a:pt x="107449" y="150019"/>
                                                                        </a:cubicBezTo>
                                                                        <a:lnTo>
                                                                          <a:pt x="116974" y="128587"/>
                                                                        </a:lnTo>
                                                                        <a:cubicBezTo>
                                                                          <a:pt x="117768" y="121443"/>
                                                                          <a:pt x="116141" y="113585"/>
                                                                          <a:pt x="119355" y="107156"/>
                                                                        </a:cubicBezTo>
                                                                        <a:cubicBezTo>
                                                                          <a:pt x="120478" y="104911"/>
                                                                          <a:pt x="124305" y="108318"/>
                                                                          <a:pt x="126499" y="109537"/>
                                                                        </a:cubicBezTo>
                                                                        <a:cubicBezTo>
                                                                          <a:pt x="131503" y="112317"/>
                                                                          <a:pt x="135357" y="117251"/>
                                                                          <a:pt x="140787" y="119062"/>
                                                                        </a:cubicBezTo>
                                                                        <a:cubicBezTo>
                                                                          <a:pt x="143168" y="119856"/>
                                                                          <a:pt x="145685" y="120321"/>
                                                                          <a:pt x="147930" y="121444"/>
                                                                        </a:cubicBezTo>
                                                                        <a:cubicBezTo>
                                                                          <a:pt x="150490" y="122724"/>
                                                                          <a:pt x="152443" y="125079"/>
                                                                          <a:pt x="155074" y="126206"/>
                                                                        </a:cubicBezTo>
                                                                        <a:cubicBezTo>
                                                                          <a:pt x="158082" y="127495"/>
                                                                          <a:pt x="161464" y="127647"/>
                                                                          <a:pt x="164599" y="128587"/>
                                                                        </a:cubicBezTo>
                                                                        <a:cubicBezTo>
                                                                          <a:pt x="193586" y="137283"/>
                                                                          <a:pt x="166458" y="130243"/>
                                                                          <a:pt x="188412" y="135731"/>
                                                                        </a:cubicBezTo>
                                                                        <a:cubicBezTo>
                                                                          <a:pt x="190793" y="137319"/>
                                                                          <a:pt x="192875" y="139489"/>
                                                                          <a:pt x="195555" y="140494"/>
                                                                        </a:cubicBezTo>
                                                                        <a:cubicBezTo>
                                                                          <a:pt x="199838" y="142100"/>
                                                                          <a:pt x="221657" y="144903"/>
                                                                          <a:pt x="224130" y="145256"/>
                                                                        </a:cubicBezTo>
                                                                        <a:cubicBezTo>
                                                                          <a:pt x="234449" y="144462"/>
                                                                          <a:pt x="244817" y="144159"/>
                                                                          <a:pt x="255087" y="142875"/>
                                                                        </a:cubicBezTo>
                                                                        <a:cubicBezTo>
                                                                          <a:pt x="271029" y="140882"/>
                                                                          <a:pt x="252370" y="138029"/>
                                                                          <a:pt x="271755" y="142875"/>
                                                                        </a:cubicBezTo>
                                                                        <a:cubicBezTo>
                                                                          <a:pt x="280486" y="142081"/>
                                                                          <a:pt x="289270" y="141734"/>
                                                                          <a:pt x="297949" y="140494"/>
                                                                        </a:cubicBezTo>
                                                                        <a:cubicBezTo>
                                                                          <a:pt x="300434" y="140139"/>
                                                                          <a:pt x="302643" y="138657"/>
                                                                          <a:pt x="305093" y="138112"/>
                                                                        </a:cubicBezTo>
                                                                        <a:cubicBezTo>
                                                                          <a:pt x="309806" y="137065"/>
                                                                          <a:pt x="314646" y="136678"/>
                                                                          <a:pt x="319380" y="135731"/>
                                                                        </a:cubicBezTo>
                                                                        <a:cubicBezTo>
                                                                          <a:pt x="322589" y="135089"/>
                                                                          <a:pt x="325730" y="134144"/>
                                                                          <a:pt x="328905" y="133350"/>
                                                                        </a:cubicBezTo>
                                                                        <a:cubicBezTo>
                                                                          <a:pt x="329699" y="130969"/>
                                                                          <a:pt x="331700" y="128682"/>
                                                                          <a:pt x="331287" y="126206"/>
                                                                        </a:cubicBezTo>
                                                                        <a:cubicBezTo>
                                                                          <a:pt x="330817" y="123383"/>
                                                                          <a:pt x="326524" y="121924"/>
                                                                          <a:pt x="326524" y="119062"/>
                                                                        </a:cubicBezTo>
                                                                        <a:cubicBezTo>
                                                                          <a:pt x="326524" y="113773"/>
                                                                          <a:pt x="335257" y="109272"/>
                                                                          <a:pt x="338430" y="107156"/>
                                                                        </a:cubicBezTo>
                                                                        <a:cubicBezTo>
                                                                          <a:pt x="346459" y="95113"/>
                                                                          <a:pt x="338834" y="103382"/>
                                                                          <a:pt x="350337" y="97631"/>
                                                                        </a:cubicBezTo>
                                                                        <a:cubicBezTo>
                                                                          <a:pt x="352897" y="96351"/>
                                                                          <a:pt x="354921" y="94149"/>
                                                                          <a:pt x="357480" y="92869"/>
                                                                        </a:cubicBezTo>
                                                                        <a:cubicBezTo>
                                                                          <a:pt x="366065" y="88576"/>
                                                                          <a:pt x="381597" y="88790"/>
                                                                          <a:pt x="388437" y="88106"/>
                                                                        </a:cubicBezTo>
                                                                        <a:cubicBezTo>
                                                                          <a:pt x="390818" y="85725"/>
                                                                          <a:pt x="393424" y="83549"/>
                                                                          <a:pt x="395580" y="80962"/>
                                                                        </a:cubicBezTo>
                                                                        <a:cubicBezTo>
                                                                          <a:pt x="397412" y="78764"/>
                                                                          <a:pt x="397916" y="75336"/>
                                                                          <a:pt x="400343" y="73819"/>
                                                                        </a:cubicBezTo>
                                                                        <a:cubicBezTo>
                                                                          <a:pt x="412576" y="66174"/>
                                                                          <a:pt x="441412" y="67271"/>
                                                                          <a:pt x="450349" y="66675"/>
                                                                        </a:cubicBezTo>
                                                                        <a:cubicBezTo>
                                                                          <a:pt x="452730" y="65881"/>
                                                                          <a:pt x="455058" y="64903"/>
                                                                          <a:pt x="457493" y="64294"/>
                                                                        </a:cubicBezTo>
                                                                        <a:cubicBezTo>
                                                                          <a:pt x="464163" y="62626"/>
                                                                          <a:pt x="477301" y="60595"/>
                                                                          <a:pt x="483687" y="59531"/>
                                                                        </a:cubicBezTo>
                                                                        <a:cubicBezTo>
                                                                          <a:pt x="488449" y="57944"/>
                                                                          <a:pt x="493797" y="57553"/>
                                                                          <a:pt x="497974" y="54769"/>
                                                                        </a:cubicBezTo>
                                                                        <a:lnTo>
                                                                          <a:pt x="512262" y="45244"/>
                                                                        </a:lnTo>
                                                                        <a:cubicBezTo>
                                                                          <a:pt x="517929" y="28241"/>
                                                                          <a:pt x="512847" y="33740"/>
                                                                          <a:pt x="524168" y="26194"/>
                                                                        </a:cubicBezTo>
                                                                        <a:cubicBezTo>
                                                                          <a:pt x="525755" y="23813"/>
                                                                          <a:pt x="526776" y="20935"/>
                                                                          <a:pt x="528930" y="19050"/>
                                                                        </a:cubicBezTo>
                                                                        <a:cubicBezTo>
                                                                          <a:pt x="533238" y="15281"/>
                                                                          <a:pt x="537788" y="11335"/>
                                                                          <a:pt x="543218" y="9525"/>
                                                                        </a:cubicBezTo>
                                                                        <a:cubicBezTo>
                                                                          <a:pt x="560610" y="3727"/>
                                                                          <a:pt x="552635" y="5979"/>
                                                                          <a:pt x="567030" y="2381"/>
                                                                        </a:cubicBezTo>
                                                                        <a:cubicBezTo>
                                                                          <a:pt x="603286" y="4289"/>
                                                                          <a:pt x="608953" y="6633"/>
                                                                          <a:pt x="640849" y="2381"/>
                                                                        </a:cubicBezTo>
                                                                        <a:cubicBezTo>
                                                                          <a:pt x="643337" y="2049"/>
                                                                          <a:pt x="645612" y="794"/>
                                                                          <a:pt x="647993" y="0"/>
                                                                        </a:cubicBezTo>
                                                                        <a:cubicBezTo>
                                                                          <a:pt x="653549" y="794"/>
                                                                          <a:pt x="659158" y="1280"/>
                                                                          <a:pt x="664662" y="2381"/>
                                                                        </a:cubicBezTo>
                                                                        <a:cubicBezTo>
                                                                          <a:pt x="667123" y="2873"/>
                                                                          <a:pt x="669845" y="3194"/>
                                                                          <a:pt x="671805" y="4762"/>
                                                                        </a:cubicBezTo>
                                                                        <a:cubicBezTo>
                                                                          <a:pt x="674040" y="6550"/>
                                                                          <a:pt x="674414" y="10021"/>
                                                                          <a:pt x="676568" y="11906"/>
                                                                        </a:cubicBezTo>
                                                                        <a:cubicBezTo>
                                                                          <a:pt x="680875" y="15675"/>
                                                                          <a:pt x="686093" y="18256"/>
                                                                          <a:pt x="690855" y="21431"/>
                                                                        </a:cubicBezTo>
                                                                        <a:cubicBezTo>
                                                                          <a:pt x="693236" y="23019"/>
                                                                          <a:pt x="695284" y="25289"/>
                                                                          <a:pt x="697999" y="26194"/>
                                                                        </a:cubicBezTo>
                                                                        <a:cubicBezTo>
                                                                          <a:pt x="712711" y="31097"/>
                                                                          <a:pt x="702645" y="28325"/>
                                                                          <a:pt x="728955" y="30956"/>
                                                                        </a:cubicBezTo>
                                                                        <a:cubicBezTo>
                                                                          <a:pt x="731336" y="31750"/>
                                                                          <a:pt x="734139" y="31769"/>
                                                                          <a:pt x="736099" y="33337"/>
                                                                        </a:cubicBezTo>
                                                                        <a:cubicBezTo>
                                                                          <a:pt x="751487" y="45647"/>
                                                                          <a:pt x="730050" y="36877"/>
                                                                          <a:pt x="748005" y="42862"/>
                                                                        </a:cubicBezTo>
                                                                        <a:cubicBezTo>
                                                                          <a:pt x="750386" y="45243"/>
                                                                          <a:pt x="752205" y="48370"/>
                                                                          <a:pt x="755149" y="50006"/>
                                                                        </a:cubicBezTo>
                                                                        <a:cubicBezTo>
                                                                          <a:pt x="764202" y="55035"/>
                                                                          <a:pt x="776272" y="55745"/>
                                                                          <a:pt x="786105" y="57150"/>
                                                                        </a:cubicBezTo>
                                                                        <a:cubicBezTo>
                                                                          <a:pt x="786899" y="59531"/>
                                                                          <a:pt x="788074" y="61818"/>
                                                                          <a:pt x="788487" y="64294"/>
                                                                        </a:cubicBezTo>
                                                                        <a:cubicBezTo>
                                                                          <a:pt x="789669" y="71384"/>
                                                                          <a:pt x="788199" y="79051"/>
                                                                          <a:pt x="790868" y="85725"/>
                                                                        </a:cubicBezTo>
                                                                        <a:cubicBezTo>
                                                                          <a:pt x="791800" y="88056"/>
                                                                          <a:pt x="795631" y="87312"/>
                                                                          <a:pt x="798012" y="88106"/>
                                                                        </a:cubicBezTo>
                                                                        <a:cubicBezTo>
                                                                          <a:pt x="800393" y="89694"/>
                                                                          <a:pt x="802595" y="91589"/>
                                                                          <a:pt x="805155" y="92869"/>
                                                                        </a:cubicBezTo>
                                                                        <a:cubicBezTo>
                                                                          <a:pt x="807400" y="93992"/>
                                                                          <a:pt x="810524" y="93475"/>
                                                                          <a:pt x="812299" y="95250"/>
                                                                        </a:cubicBezTo>
                                                                        <a:cubicBezTo>
                                                                          <a:pt x="814074" y="97025"/>
                                                                          <a:pt x="813886" y="100013"/>
                                                                          <a:pt x="814680" y="102394"/>
                                                                        </a:cubicBezTo>
                                                                        <a:cubicBezTo>
                                                                          <a:pt x="808382" y="127588"/>
                                                                          <a:pt x="816932" y="97923"/>
                                                                          <a:pt x="807537" y="119062"/>
                                                                        </a:cubicBezTo>
                                                                        <a:cubicBezTo>
                                                                          <a:pt x="805498" y="123650"/>
                                                                          <a:pt x="806951" y="130565"/>
                                                                          <a:pt x="802774" y="133350"/>
                                                                        </a:cubicBezTo>
                                                                        <a:cubicBezTo>
                                                                          <a:pt x="800393" y="134937"/>
                                                                          <a:pt x="798190" y="136832"/>
                                                                          <a:pt x="795630" y="138112"/>
                                                                        </a:cubicBezTo>
                                                                        <a:cubicBezTo>
                                                                          <a:pt x="793385" y="139235"/>
                                                                          <a:pt x="790681" y="139275"/>
                                                                          <a:pt x="788487" y="140494"/>
                                                                        </a:cubicBezTo>
                                                                        <a:cubicBezTo>
                                                                          <a:pt x="763930" y="154138"/>
                                                                          <a:pt x="783217" y="147014"/>
                                                                          <a:pt x="767055" y="152400"/>
                                                                        </a:cubicBezTo>
                                                                        <a:cubicBezTo>
                                                                          <a:pt x="764674" y="153987"/>
                                                                          <a:pt x="761935" y="155139"/>
                                                                          <a:pt x="759912" y="157162"/>
                                                                        </a:cubicBezTo>
                                                                        <a:cubicBezTo>
                                                                          <a:pt x="757888" y="159186"/>
                                                                          <a:pt x="756429" y="161746"/>
                                                                          <a:pt x="755149" y="164306"/>
                                                                        </a:cubicBezTo>
                                                                        <a:cubicBezTo>
                                                                          <a:pt x="752272" y="170060"/>
                                                                          <a:pt x="753694" y="174043"/>
                                                                          <a:pt x="748005" y="178594"/>
                                                                        </a:cubicBezTo>
                                                                        <a:cubicBezTo>
                                                                          <a:pt x="746045" y="180162"/>
                                                                          <a:pt x="743243" y="180181"/>
                                                                          <a:pt x="740862" y="180975"/>
                                                                        </a:cubicBezTo>
                                                                        <a:cubicBezTo>
                                                                          <a:pt x="739274" y="183356"/>
                                                                          <a:pt x="738253" y="186234"/>
                                                                          <a:pt x="736099" y="188119"/>
                                                                        </a:cubicBezTo>
                                                                        <a:cubicBezTo>
                                                                          <a:pt x="731792" y="191888"/>
                                                                          <a:pt x="721812" y="197644"/>
                                                                          <a:pt x="721812" y="197644"/>
                                                                        </a:cubicBezTo>
                                                                        <a:cubicBezTo>
                                                                          <a:pt x="718637" y="202406"/>
                                                                          <a:pt x="714097" y="206501"/>
                                                                          <a:pt x="712287" y="211931"/>
                                                                        </a:cubicBezTo>
                                                                        <a:cubicBezTo>
                                                                          <a:pt x="706619" y="228934"/>
                                                                          <a:pt x="711701" y="223434"/>
                                                                          <a:pt x="700380" y="230981"/>
                                                                        </a:cubicBezTo>
                                                                        <a:cubicBezTo>
                                                                          <a:pt x="698793" y="233362"/>
                                                                          <a:pt x="697450" y="235926"/>
                                                                          <a:pt x="695618" y="238125"/>
                                                                        </a:cubicBezTo>
                                                                        <a:cubicBezTo>
                                                                          <a:pt x="689888" y="245001"/>
                                                                          <a:pt x="688355" y="245349"/>
                                                                          <a:pt x="681330" y="250031"/>
                                                                        </a:cubicBezTo>
                                                                        <a:cubicBezTo>
                                                                          <a:pt x="675663" y="267034"/>
                                                                          <a:pt x="679353" y="260142"/>
                                                                          <a:pt x="671805" y="271462"/>
                                                                        </a:cubicBezTo>
                                                                        <a:cubicBezTo>
                                                                          <a:pt x="665822" y="289412"/>
                                                                          <a:pt x="673891" y="267292"/>
                                                                          <a:pt x="664662" y="285750"/>
                                                                        </a:cubicBezTo>
                                                                        <a:cubicBezTo>
                                                                          <a:pt x="663069" y="288936"/>
                                                                          <a:pt x="660511" y="299666"/>
                                                                          <a:pt x="659899" y="302419"/>
                                                                        </a:cubicBezTo>
                                                                        <a:cubicBezTo>
                                                                          <a:pt x="659021" y="306370"/>
                                                                          <a:pt x="658242" y="310343"/>
                                                                          <a:pt x="657518" y="314325"/>
                                                                        </a:cubicBezTo>
                                                                        <a:cubicBezTo>
                                                                          <a:pt x="656654" y="319075"/>
                                                                          <a:pt x="656184" y="323899"/>
                                                                          <a:pt x="655137" y="328612"/>
                                                                        </a:cubicBezTo>
                                                                        <a:cubicBezTo>
                                                                          <a:pt x="654592" y="331062"/>
                                                                          <a:pt x="654323" y="333796"/>
                                                                          <a:pt x="652755" y="335756"/>
                                                                        </a:cubicBezTo>
                                                                        <a:cubicBezTo>
                                                                          <a:pt x="650967" y="337991"/>
                                                                          <a:pt x="647993" y="338931"/>
                                                                          <a:pt x="645612" y="340519"/>
                                                                        </a:cubicBezTo>
                                                                        <a:cubicBezTo>
                                                                          <a:pt x="638063" y="351840"/>
                                                                          <a:pt x="641755" y="344945"/>
                                                                          <a:pt x="636087" y="361950"/>
                                                                        </a:cubicBezTo>
                                                                        <a:cubicBezTo>
                                                                          <a:pt x="635293" y="364331"/>
                                                                          <a:pt x="635794" y="367702"/>
                                                                          <a:pt x="633705" y="369094"/>
                                                                        </a:cubicBezTo>
                                                                        <a:lnTo>
                                                                          <a:pt x="619418" y="378619"/>
                                                                        </a:lnTo>
                                                                        <a:cubicBezTo>
                                                                          <a:pt x="618624" y="384969"/>
                                                                          <a:pt x="618721" y="391495"/>
                                                                          <a:pt x="617037" y="397669"/>
                                                                        </a:cubicBezTo>
                                                                        <a:cubicBezTo>
                                                                          <a:pt x="615533" y="403182"/>
                                                                          <a:pt x="609807" y="407236"/>
                                                                          <a:pt x="605130" y="409575"/>
                                                                        </a:cubicBezTo>
                                                                        <a:cubicBezTo>
                                                                          <a:pt x="602885" y="410697"/>
                                                                          <a:pt x="600368" y="411162"/>
                                                                          <a:pt x="597987" y="411956"/>
                                                                        </a:cubicBezTo>
                                                                        <a:cubicBezTo>
                                                                          <a:pt x="580920" y="437557"/>
                                                                          <a:pt x="596202" y="418603"/>
                                                                          <a:pt x="581318" y="431006"/>
                                                                        </a:cubicBezTo>
                                                                        <a:cubicBezTo>
                                                                          <a:pt x="578731" y="433162"/>
                                                                          <a:pt x="577339" y="436999"/>
                                                                          <a:pt x="574174" y="438150"/>
                                                                        </a:cubicBezTo>
                                                                        <a:cubicBezTo>
                                                                          <a:pt x="568160" y="440337"/>
                                                                          <a:pt x="561474" y="439737"/>
                                                                          <a:pt x="555124" y="440531"/>
                                                                        </a:cubicBezTo>
                                                                        <a:cubicBezTo>
                                                                          <a:pt x="552743" y="442119"/>
                                                                          <a:pt x="550540" y="444014"/>
                                                                          <a:pt x="547980" y="445294"/>
                                                                        </a:cubicBezTo>
                                                                        <a:cubicBezTo>
                                                                          <a:pt x="537826" y="450371"/>
                                                                          <a:pt x="532424" y="446740"/>
                                                                          <a:pt x="519405" y="445294"/>
                                                                        </a:cubicBezTo>
                                                                        <a:cubicBezTo>
                                                                          <a:pt x="508227" y="441566"/>
                                                                          <a:pt x="506785" y="440531"/>
                                                                          <a:pt x="490830" y="440531"/>
                                                                        </a:cubicBezTo>
                                                                        <a:cubicBezTo>
                                                                          <a:pt x="486002" y="440531"/>
                                                                          <a:pt x="481305" y="442118"/>
                                                                          <a:pt x="476543" y="442912"/>
                                                                        </a:cubicBezTo>
                                                                        <a:cubicBezTo>
                                                                          <a:pt x="474162" y="444500"/>
                                                                          <a:pt x="472256" y="447507"/>
                                                                          <a:pt x="469399" y="447675"/>
                                                                        </a:cubicBezTo>
                                                                        <a:cubicBezTo>
                                                                          <a:pt x="448231" y="448921"/>
                                                                          <a:pt x="442336" y="446863"/>
                                                                          <a:pt x="426537" y="442912"/>
                                                                        </a:cubicBezTo>
                                                                        <a:cubicBezTo>
                                                                          <a:pt x="412249" y="443706"/>
                                                                          <a:pt x="397873" y="443519"/>
                                                                          <a:pt x="383674" y="445294"/>
                                                                        </a:cubicBezTo>
                                                                        <a:cubicBezTo>
                                                                          <a:pt x="378693" y="445917"/>
                                                                          <a:pt x="369387" y="450056"/>
                                                                          <a:pt x="369387" y="450056"/>
                                                                        </a:cubicBezTo>
                                                                        <a:cubicBezTo>
                                                                          <a:pt x="368593" y="452437"/>
                                                                          <a:pt x="368780" y="455425"/>
                                                                          <a:pt x="367005" y="457200"/>
                                                                        </a:cubicBezTo>
                                                                        <a:cubicBezTo>
                                                                          <a:pt x="357770" y="466435"/>
                                                                          <a:pt x="350053" y="467613"/>
                                                                          <a:pt x="338430" y="471487"/>
                                                                        </a:cubicBezTo>
                                                                        <a:lnTo>
                                                                          <a:pt x="331287" y="473869"/>
                                                                        </a:lnTo>
                                                                        <a:cubicBezTo>
                                                                          <a:pt x="314331" y="479522"/>
                                                                          <a:pt x="326620" y="476059"/>
                                                                          <a:pt x="293187" y="478631"/>
                                                                        </a:cubicBezTo>
                                                                        <a:cubicBezTo>
                                                                          <a:pt x="290012" y="483394"/>
                                                                          <a:pt x="287710" y="488872"/>
                                                                          <a:pt x="283662" y="492919"/>
                                                                        </a:cubicBezTo>
                                                                        <a:cubicBezTo>
                                                                          <a:pt x="281281" y="495300"/>
                                                                          <a:pt x="278674" y="497475"/>
                                                                          <a:pt x="276518" y="500062"/>
                                                                        </a:cubicBezTo>
                                                                        <a:cubicBezTo>
                                                                          <a:pt x="274686" y="502261"/>
                                                                          <a:pt x="273990" y="505418"/>
                                                                          <a:pt x="271755" y="507206"/>
                                                                        </a:cubicBezTo>
                                                                        <a:cubicBezTo>
                                                                          <a:pt x="269795" y="508774"/>
                                                                          <a:pt x="266993" y="508793"/>
                                                                          <a:pt x="264612" y="509587"/>
                                                                        </a:cubicBezTo>
                                                                        <a:cubicBezTo>
                                                                          <a:pt x="262231" y="511175"/>
                                                                          <a:pt x="260308" y="513995"/>
                                                                          <a:pt x="257468" y="514350"/>
                                                                        </a:cubicBezTo>
                                                                        <a:cubicBezTo>
                                                                          <a:pt x="249296" y="515372"/>
                                                                          <a:pt x="244304" y="511411"/>
                                                                          <a:pt x="238418" y="507206"/>
                                                                        </a:cubicBezTo>
                                                                        <a:cubicBezTo>
                                                                          <a:pt x="235896" y="505405"/>
                                                                          <a:pt x="225494" y="497172"/>
                                                                          <a:pt x="221749" y="495300"/>
                                                                        </a:cubicBezTo>
                                                                        <a:cubicBezTo>
                                                                          <a:pt x="216645" y="492748"/>
                                                                          <a:pt x="207586" y="491623"/>
                                                                          <a:pt x="202699" y="490537"/>
                                                                        </a:cubicBezTo>
                                                                        <a:cubicBezTo>
                                                                          <a:pt x="199504" y="489827"/>
                                                                          <a:pt x="196369" y="488866"/>
                                                                          <a:pt x="193174" y="488156"/>
                                                                        </a:cubicBezTo>
                                                                        <a:cubicBezTo>
                                                                          <a:pt x="165966" y="482110"/>
                                                                          <a:pt x="194973" y="489201"/>
                                                                          <a:pt x="171743" y="483394"/>
                                                                        </a:cubicBezTo>
                                                                        <a:lnTo>
                                                                          <a:pt x="157455" y="473869"/>
                                                                        </a:lnTo>
                                                                        <a:cubicBezTo>
                                                                          <a:pt x="155074" y="472282"/>
                                                                          <a:pt x="153027" y="470011"/>
                                                                          <a:pt x="150312" y="469106"/>
                                                                        </a:cubicBezTo>
                                                                        <a:lnTo>
                                                                          <a:pt x="143168" y="466725"/>
                                                                        </a:lnTo>
                                                                        <a:cubicBezTo>
                                                                          <a:pt x="137899" y="461456"/>
                                                                          <a:pt x="135513" y="458136"/>
                                                                          <a:pt x="128880" y="454819"/>
                                                                        </a:cubicBezTo>
                                                                        <a:cubicBezTo>
                                                                          <a:pt x="126635" y="453696"/>
                                                                          <a:pt x="123931" y="453656"/>
                                                                          <a:pt x="121737" y="452437"/>
                                                                        </a:cubicBezTo>
                                                                        <a:cubicBezTo>
                                                                          <a:pt x="116733" y="449657"/>
                                                                          <a:pt x="107449" y="442912"/>
                                                                          <a:pt x="107449" y="442912"/>
                                                                        </a:cubicBezTo>
                                                                        <a:cubicBezTo>
                                                                          <a:pt x="105862" y="440531"/>
                                                                          <a:pt x="103967" y="438328"/>
                                                                          <a:pt x="102687" y="435769"/>
                                                                        </a:cubicBezTo>
                                                                        <a:cubicBezTo>
                                                                          <a:pt x="101564" y="433524"/>
                                                                          <a:pt x="101524" y="430819"/>
                                                                          <a:pt x="100305" y="428625"/>
                                                                        </a:cubicBezTo>
                                                                        <a:cubicBezTo>
                                                                          <a:pt x="96391" y="421579"/>
                                                                          <a:pt x="90428" y="412476"/>
                                                                          <a:pt x="83637" y="407194"/>
                                                                        </a:cubicBezTo>
                                                                        <a:cubicBezTo>
                                                                          <a:pt x="79119" y="403680"/>
                                                                          <a:pt x="74112" y="400844"/>
                                                                          <a:pt x="69349" y="397669"/>
                                                                        </a:cubicBezTo>
                                                                        <a:lnTo>
                                                                          <a:pt x="62205" y="392906"/>
                                                                        </a:lnTo>
                                                                        <a:cubicBezTo>
                                                                          <a:pt x="61411" y="385762"/>
                                                                          <a:pt x="62280" y="378230"/>
                                                                          <a:pt x="59824" y="371475"/>
                                                                        </a:cubicBezTo>
                                                                        <a:cubicBezTo>
                                                                          <a:pt x="58846" y="368785"/>
                                                                          <a:pt x="55295" y="367874"/>
                                                                          <a:pt x="52680" y="366712"/>
                                                                        </a:cubicBezTo>
                                                                        <a:cubicBezTo>
                                                                          <a:pt x="52672" y="366708"/>
                                                                          <a:pt x="34825" y="360761"/>
                                                                          <a:pt x="31249" y="359569"/>
                                                                        </a:cubicBezTo>
                                                                        <a:cubicBezTo>
                                                                          <a:pt x="28868" y="358775"/>
                                                                          <a:pt x="26194" y="358579"/>
                                                                          <a:pt x="24105" y="357187"/>
                                                                        </a:cubicBezTo>
                                                                        <a:lnTo>
                                                                          <a:pt x="16962" y="352425"/>
                                                                        </a:lnTo>
                                                                        <a:lnTo>
                                                                          <a:pt x="12199" y="338137"/>
                                                                        </a:lnTo>
                                                                        <a:lnTo>
                                                                          <a:pt x="9818" y="330994"/>
                                                                        </a:lnTo>
                                                                        <a:cubicBezTo>
                                                                          <a:pt x="9024" y="319881"/>
                                                                          <a:pt x="10308" y="308421"/>
                                                                          <a:pt x="7437" y="297656"/>
                                                                        </a:cubicBezTo>
                                                                        <a:cubicBezTo>
                                                                          <a:pt x="6790" y="295231"/>
                                                                          <a:pt x="2382" y="296667"/>
                                                                          <a:pt x="293" y="295275"/>
                                                                        </a:cubicBezTo>
                                                                        <a:cubicBezTo>
                                                                          <a:pt x="-367" y="294835"/>
                                                                          <a:pt x="293" y="289322"/>
                                                                          <a:pt x="293" y="28813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8" name="Freeform 257"/>
                                                                <p:cNvSpPr/>
                                                                <p:nvPr/>
                                                              </p:nvSpPr>
                                                              <p:spPr>
                                                                <a:xfrm>
                                                                  <a:off x="3802111" y="4672013"/>
                                                                  <a:ext cx="405558" cy="245268"/>
                                                                </a:xfrm>
                                                                <a:custGeom>
                                                                  <a:avLst/>
                                                                  <a:gdLst>
                                                                    <a:gd name="connsiteX0" fmla="*/ 29320 w 405558"/>
                                                                    <a:gd name="connsiteY0" fmla="*/ 54768 h 245268"/>
                                                                    <a:gd name="connsiteX1" fmla="*/ 29320 w 405558"/>
                                                                    <a:gd name="connsiteY1" fmla="*/ 54768 h 245268"/>
                                                                    <a:gd name="connsiteX2" fmla="*/ 50752 w 405558"/>
                                                                    <a:gd name="connsiteY2" fmla="*/ 57150 h 245268"/>
                                                                    <a:gd name="connsiteX3" fmla="*/ 57895 w 405558"/>
                                                                    <a:gd name="connsiteY3" fmla="*/ 59531 h 245268"/>
                                                                    <a:gd name="connsiteX4" fmla="*/ 98377 w 405558"/>
                                                                    <a:gd name="connsiteY4" fmla="*/ 61912 h 245268"/>
                                                                    <a:gd name="connsiteX5" fmla="*/ 105520 w 405558"/>
                                                                    <a:gd name="connsiteY5" fmla="*/ 64293 h 245268"/>
                                                                    <a:gd name="connsiteX6" fmla="*/ 119808 w 405558"/>
                                                                    <a:gd name="connsiteY6" fmla="*/ 73818 h 245268"/>
                                                                    <a:gd name="connsiteX7" fmla="*/ 126952 w 405558"/>
                                                                    <a:gd name="connsiteY7" fmla="*/ 76200 h 245268"/>
                                                                    <a:gd name="connsiteX8" fmla="*/ 146002 w 405558"/>
                                                                    <a:gd name="connsiteY8" fmla="*/ 73818 h 245268"/>
                                                                    <a:gd name="connsiteX9" fmla="*/ 157908 w 405558"/>
                                                                    <a:gd name="connsiteY9" fmla="*/ 61912 h 245268"/>
                                                                    <a:gd name="connsiteX10" fmla="*/ 165052 w 405558"/>
                                                                    <a:gd name="connsiteY10" fmla="*/ 59531 h 245268"/>
                                                                    <a:gd name="connsiteX11" fmla="*/ 193627 w 405558"/>
                                                                    <a:gd name="connsiteY11" fmla="*/ 45243 h 245268"/>
                                                                    <a:gd name="connsiteX12" fmla="*/ 200770 w 405558"/>
                                                                    <a:gd name="connsiteY12" fmla="*/ 42862 h 245268"/>
                                                                    <a:gd name="connsiteX13" fmla="*/ 215058 w 405558"/>
                                                                    <a:gd name="connsiteY13" fmla="*/ 50006 h 245268"/>
                                                                    <a:gd name="connsiteX14" fmla="*/ 222202 w 405558"/>
                                                                    <a:gd name="connsiteY14" fmla="*/ 52387 h 245268"/>
                                                                    <a:gd name="connsiteX15" fmla="*/ 257920 w 405558"/>
                                                                    <a:gd name="connsiteY15" fmla="*/ 54768 h 245268"/>
                                                                    <a:gd name="connsiteX16" fmla="*/ 288877 w 405558"/>
                                                                    <a:gd name="connsiteY16" fmla="*/ 57150 h 245268"/>
                                                                    <a:gd name="connsiteX17" fmla="*/ 305545 w 405558"/>
                                                                    <a:gd name="connsiteY17" fmla="*/ 54768 h 245268"/>
                                                                    <a:gd name="connsiteX18" fmla="*/ 315070 w 405558"/>
                                                                    <a:gd name="connsiteY18" fmla="*/ 52387 h 245268"/>
                                                                    <a:gd name="connsiteX19" fmla="*/ 317452 w 405558"/>
                                                                    <a:gd name="connsiteY19" fmla="*/ 28575 h 245268"/>
                                                                    <a:gd name="connsiteX20" fmla="*/ 319833 w 405558"/>
                                                                    <a:gd name="connsiteY20" fmla="*/ 21431 h 245268"/>
                                                                    <a:gd name="connsiteX21" fmla="*/ 334120 w 405558"/>
                                                                    <a:gd name="connsiteY21" fmla="*/ 11906 h 245268"/>
                                                                    <a:gd name="connsiteX22" fmla="*/ 341264 w 405558"/>
                                                                    <a:gd name="connsiteY22" fmla="*/ 7143 h 245268"/>
                                                                    <a:gd name="connsiteX23" fmla="*/ 355552 w 405558"/>
                                                                    <a:gd name="connsiteY23" fmla="*/ 2381 h 245268"/>
                                                                    <a:gd name="connsiteX24" fmla="*/ 362695 w 405558"/>
                                                                    <a:gd name="connsiteY24" fmla="*/ 0 h 245268"/>
                                                                    <a:gd name="connsiteX25" fmla="*/ 369839 w 405558"/>
                                                                    <a:gd name="connsiteY25" fmla="*/ 23812 h 245268"/>
                                                                    <a:gd name="connsiteX26" fmla="*/ 372220 w 405558"/>
                                                                    <a:gd name="connsiteY26" fmla="*/ 40481 h 245268"/>
                                                                    <a:gd name="connsiteX27" fmla="*/ 376983 w 405558"/>
                                                                    <a:gd name="connsiteY27" fmla="*/ 61912 h 245268"/>
                                                                    <a:gd name="connsiteX28" fmla="*/ 381745 w 405558"/>
                                                                    <a:gd name="connsiteY28" fmla="*/ 69056 h 245268"/>
                                                                    <a:gd name="connsiteX29" fmla="*/ 388889 w 405558"/>
                                                                    <a:gd name="connsiteY29" fmla="*/ 71437 h 245268"/>
                                                                    <a:gd name="connsiteX30" fmla="*/ 405558 w 405558"/>
                                                                    <a:gd name="connsiteY30" fmla="*/ 88106 h 245268"/>
                                                                    <a:gd name="connsiteX31" fmla="*/ 398414 w 405558"/>
                                                                    <a:gd name="connsiteY31" fmla="*/ 90487 h 245268"/>
                                                                    <a:gd name="connsiteX32" fmla="*/ 391270 w 405558"/>
                                                                    <a:gd name="connsiteY32" fmla="*/ 95250 h 245268"/>
                                                                    <a:gd name="connsiteX33" fmla="*/ 367458 w 405558"/>
                                                                    <a:gd name="connsiteY33" fmla="*/ 97631 h 245268"/>
                                                                    <a:gd name="connsiteX34" fmla="*/ 360314 w 405558"/>
                                                                    <a:gd name="connsiteY34" fmla="*/ 100012 h 245268"/>
                                                                    <a:gd name="connsiteX35" fmla="*/ 353170 w 405558"/>
                                                                    <a:gd name="connsiteY35" fmla="*/ 126206 h 245268"/>
                                                                    <a:gd name="connsiteX36" fmla="*/ 343645 w 405558"/>
                                                                    <a:gd name="connsiteY36" fmla="*/ 147637 h 245268"/>
                                                                    <a:gd name="connsiteX37" fmla="*/ 341264 w 405558"/>
                                                                    <a:gd name="connsiteY37" fmla="*/ 154781 h 245268"/>
                                                                    <a:gd name="connsiteX38" fmla="*/ 317452 w 405558"/>
                                                                    <a:gd name="connsiteY38" fmla="*/ 166687 h 245268"/>
                                                                    <a:gd name="connsiteX39" fmla="*/ 310308 w 405558"/>
                                                                    <a:gd name="connsiteY39" fmla="*/ 169068 h 245268"/>
                                                                    <a:gd name="connsiteX40" fmla="*/ 298402 w 405558"/>
                                                                    <a:gd name="connsiteY40" fmla="*/ 180975 h 245268"/>
                                                                    <a:gd name="connsiteX41" fmla="*/ 284114 w 405558"/>
                                                                    <a:gd name="connsiteY41" fmla="*/ 185737 h 245268"/>
                                                                    <a:gd name="connsiteX42" fmla="*/ 265064 w 405558"/>
                                                                    <a:gd name="connsiteY42" fmla="*/ 183356 h 245268"/>
                                                                    <a:gd name="connsiteX43" fmla="*/ 243633 w 405558"/>
                                                                    <a:gd name="connsiteY43" fmla="*/ 176212 h 245268"/>
                                                                    <a:gd name="connsiteX44" fmla="*/ 226964 w 405558"/>
                                                                    <a:gd name="connsiteY44" fmla="*/ 171450 h 245268"/>
                                                                    <a:gd name="connsiteX45" fmla="*/ 219820 w 405558"/>
                                                                    <a:gd name="connsiteY45" fmla="*/ 176212 h 245268"/>
                                                                    <a:gd name="connsiteX46" fmla="*/ 215058 w 405558"/>
                                                                    <a:gd name="connsiteY46" fmla="*/ 183356 h 245268"/>
                                                                    <a:gd name="connsiteX47" fmla="*/ 207914 w 405558"/>
                                                                    <a:gd name="connsiteY47" fmla="*/ 190500 h 245268"/>
                                                                    <a:gd name="connsiteX48" fmla="*/ 196008 w 405558"/>
                                                                    <a:gd name="connsiteY48" fmla="*/ 202406 h 245268"/>
                                                                    <a:gd name="connsiteX49" fmla="*/ 186483 w 405558"/>
                                                                    <a:gd name="connsiteY49" fmla="*/ 211931 h 245268"/>
                                                                    <a:gd name="connsiteX50" fmla="*/ 160289 w 405558"/>
                                                                    <a:gd name="connsiteY50" fmla="*/ 204787 h 245268"/>
                                                                    <a:gd name="connsiteX51" fmla="*/ 126952 w 405558"/>
                                                                    <a:gd name="connsiteY51" fmla="*/ 202406 h 245268"/>
                                                                    <a:gd name="connsiteX52" fmla="*/ 81708 w 405558"/>
                                                                    <a:gd name="connsiteY52" fmla="*/ 204787 h 245268"/>
                                                                    <a:gd name="connsiteX53" fmla="*/ 67420 w 405558"/>
                                                                    <a:gd name="connsiteY53" fmla="*/ 214312 h 245268"/>
                                                                    <a:gd name="connsiteX54" fmla="*/ 55514 w 405558"/>
                                                                    <a:gd name="connsiteY54" fmla="*/ 226218 h 245268"/>
                                                                    <a:gd name="connsiteX55" fmla="*/ 50752 w 405558"/>
                                                                    <a:gd name="connsiteY55" fmla="*/ 233362 h 245268"/>
                                                                    <a:gd name="connsiteX56" fmla="*/ 36464 w 405558"/>
                                                                    <a:gd name="connsiteY56" fmla="*/ 238125 h 245268"/>
                                                                    <a:gd name="connsiteX57" fmla="*/ 22177 w 405558"/>
                                                                    <a:gd name="connsiteY57" fmla="*/ 242887 h 245268"/>
                                                                    <a:gd name="connsiteX58" fmla="*/ 15033 w 405558"/>
                                                                    <a:gd name="connsiteY58" fmla="*/ 245268 h 245268"/>
                                                                    <a:gd name="connsiteX59" fmla="*/ 745 w 405558"/>
                                                                    <a:gd name="connsiteY59" fmla="*/ 242887 h 245268"/>
                                                                    <a:gd name="connsiteX60" fmla="*/ 3127 w 405558"/>
                                                                    <a:gd name="connsiteY60" fmla="*/ 235743 h 245268"/>
                                                                    <a:gd name="connsiteX61" fmla="*/ 17414 w 405558"/>
                                                                    <a:gd name="connsiteY61" fmla="*/ 230981 h 245268"/>
                                                                    <a:gd name="connsiteX62" fmla="*/ 31702 w 405558"/>
                                                                    <a:gd name="connsiteY62" fmla="*/ 221456 h 245268"/>
                                                                    <a:gd name="connsiteX63" fmla="*/ 36464 w 405558"/>
                                                                    <a:gd name="connsiteY63" fmla="*/ 207168 h 245268"/>
                                                                    <a:gd name="connsiteX64" fmla="*/ 31702 w 405558"/>
                                                                    <a:gd name="connsiteY64" fmla="*/ 200025 h 245268"/>
                                                                    <a:gd name="connsiteX65" fmla="*/ 17414 w 405558"/>
                                                                    <a:gd name="connsiteY65" fmla="*/ 195262 h 245268"/>
                                                                    <a:gd name="connsiteX66" fmla="*/ 10270 w 405558"/>
                                                                    <a:gd name="connsiteY66" fmla="*/ 190500 h 245268"/>
                                                                    <a:gd name="connsiteX67" fmla="*/ 15033 w 405558"/>
                                                                    <a:gd name="connsiteY67" fmla="*/ 171450 h 245268"/>
                                                                    <a:gd name="connsiteX68" fmla="*/ 19795 w 405558"/>
                                                                    <a:gd name="connsiteY68" fmla="*/ 164306 h 245268"/>
                                                                    <a:gd name="connsiteX69" fmla="*/ 12652 w 405558"/>
                                                                    <a:gd name="connsiteY69" fmla="*/ 161925 h 245268"/>
                                                                    <a:gd name="connsiteX70" fmla="*/ 745 w 405558"/>
                                                                    <a:gd name="connsiteY70" fmla="*/ 147637 h 245268"/>
                                                                    <a:gd name="connsiteX71" fmla="*/ 15033 w 405558"/>
                                                                    <a:gd name="connsiteY71" fmla="*/ 138112 h 245268"/>
                                                                    <a:gd name="connsiteX72" fmla="*/ 22177 w 405558"/>
                                                                    <a:gd name="connsiteY72" fmla="*/ 133350 h 245268"/>
                                                                    <a:gd name="connsiteX73" fmla="*/ 29320 w 405558"/>
                                                                    <a:gd name="connsiteY73" fmla="*/ 126206 h 245268"/>
                                                                    <a:gd name="connsiteX74" fmla="*/ 26939 w 405558"/>
                                                                    <a:gd name="connsiteY74" fmla="*/ 116681 h 245268"/>
                                                                    <a:gd name="connsiteX75" fmla="*/ 12652 w 405558"/>
                                                                    <a:gd name="connsiteY75" fmla="*/ 111918 h 245268"/>
                                                                    <a:gd name="connsiteX76" fmla="*/ 5508 w 405558"/>
                                                                    <a:gd name="connsiteY76" fmla="*/ 107156 h 245268"/>
                                                                    <a:gd name="connsiteX77" fmla="*/ 745 w 405558"/>
                                                                    <a:gd name="connsiteY77" fmla="*/ 100012 h 245268"/>
                                                                    <a:gd name="connsiteX78" fmla="*/ 7889 w 405558"/>
                                                                    <a:gd name="connsiteY78" fmla="*/ 83343 h 245268"/>
                                                                    <a:gd name="connsiteX79" fmla="*/ 15033 w 405558"/>
                                                                    <a:gd name="connsiteY79" fmla="*/ 80962 h 245268"/>
                                                                    <a:gd name="connsiteX80" fmla="*/ 22177 w 405558"/>
                                                                    <a:gd name="connsiteY80" fmla="*/ 73818 h 245268"/>
                                                                    <a:gd name="connsiteX81" fmla="*/ 34083 w 405558"/>
                                                                    <a:gd name="connsiteY81" fmla="*/ 59531 h 245268"/>
                                                                    <a:gd name="connsiteX82" fmla="*/ 29320 w 405558"/>
                                                                    <a:gd name="connsiteY82" fmla="*/ 54768 h 24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5558" h="245268">
                                                                      <a:moveTo>
                                                                        <a:pt x="29320" y="54768"/>
                                                                      </a:moveTo>
                                                                      <a:lnTo>
                                                                        <a:pt x="29320" y="54768"/>
                                                                      </a:lnTo>
                                                                      <a:cubicBezTo>
                                                                        <a:pt x="36464" y="55562"/>
                                                                        <a:pt x="43662" y="55968"/>
                                                                        <a:pt x="50752" y="57150"/>
                                                                      </a:cubicBezTo>
                                                                      <a:cubicBezTo>
                                                                        <a:pt x="53228" y="57563"/>
                                                                        <a:pt x="55398" y="59281"/>
                                                                        <a:pt x="57895" y="59531"/>
                                                                      </a:cubicBezTo>
                                                                      <a:cubicBezTo>
                                                                        <a:pt x="71345" y="60876"/>
                                                                        <a:pt x="84883" y="61118"/>
                                                                        <a:pt x="98377" y="61912"/>
                                                                      </a:cubicBezTo>
                                                                      <a:cubicBezTo>
                                                                        <a:pt x="100758" y="62706"/>
                                                                        <a:pt x="103326" y="63074"/>
                                                                        <a:pt x="105520" y="64293"/>
                                                                      </a:cubicBezTo>
                                                                      <a:cubicBezTo>
                                                                        <a:pt x="110524" y="67073"/>
                                                                        <a:pt x="114378" y="72007"/>
                                                                        <a:pt x="119808" y="73818"/>
                                                                      </a:cubicBezTo>
                                                                      <a:lnTo>
                                                                        <a:pt x="126952" y="76200"/>
                                                                      </a:lnTo>
                                                                      <a:cubicBezTo>
                                                                        <a:pt x="133302" y="75406"/>
                                                                        <a:pt x="139828" y="75502"/>
                                                                        <a:pt x="146002" y="73818"/>
                                                                      </a:cubicBezTo>
                                                                      <a:cubicBezTo>
                                                                        <a:pt x="156840" y="70862"/>
                                                                        <a:pt x="150244" y="68043"/>
                                                                        <a:pt x="157908" y="61912"/>
                                                                      </a:cubicBezTo>
                                                                      <a:cubicBezTo>
                                                                        <a:pt x="159868" y="60344"/>
                                                                        <a:pt x="162671" y="60325"/>
                                                                        <a:pt x="165052" y="59531"/>
                                                                      </a:cubicBezTo>
                                                                      <a:cubicBezTo>
                                                                        <a:pt x="183516" y="47222"/>
                                                                        <a:pt x="173910" y="51816"/>
                                                                        <a:pt x="193627" y="45243"/>
                                                                      </a:cubicBezTo>
                                                                      <a:lnTo>
                                                                        <a:pt x="200770" y="42862"/>
                                                                      </a:lnTo>
                                                                      <a:cubicBezTo>
                                                                        <a:pt x="218726" y="48847"/>
                                                                        <a:pt x="196593" y="40774"/>
                                                                        <a:pt x="215058" y="50006"/>
                                                                      </a:cubicBezTo>
                                                                      <a:cubicBezTo>
                                                                        <a:pt x="217303" y="51129"/>
                                                                        <a:pt x="219821" y="51593"/>
                                                                        <a:pt x="222202" y="52387"/>
                                                                      </a:cubicBezTo>
                                                                      <a:cubicBezTo>
                                                                        <a:pt x="238474" y="63237"/>
                                                                        <a:pt x="222564" y="54768"/>
                                                                        <a:pt x="257920" y="54768"/>
                                                                      </a:cubicBezTo>
                                                                      <a:cubicBezTo>
                                                                        <a:pt x="268270" y="54768"/>
                                                                        <a:pt x="278558" y="56356"/>
                                                                        <a:pt x="288877" y="57150"/>
                                                                      </a:cubicBezTo>
                                                                      <a:cubicBezTo>
                                                                        <a:pt x="294433" y="56356"/>
                                                                        <a:pt x="300023" y="55772"/>
                                                                        <a:pt x="305545" y="54768"/>
                                                                      </a:cubicBezTo>
                                                                      <a:cubicBezTo>
                                                                        <a:pt x="308765" y="54182"/>
                                                                        <a:pt x="313716" y="55366"/>
                                                                        <a:pt x="315070" y="52387"/>
                                                                      </a:cubicBezTo>
                                                                      <a:cubicBezTo>
                                                                        <a:pt x="318371" y="45125"/>
                                                                        <a:pt x="316239" y="36459"/>
                                                                        <a:pt x="317452" y="28575"/>
                                                                      </a:cubicBezTo>
                                                                      <a:cubicBezTo>
                                                                        <a:pt x="317834" y="26094"/>
                                                                        <a:pt x="318058" y="23206"/>
                                                                        <a:pt x="319833" y="21431"/>
                                                                      </a:cubicBezTo>
                                                                      <a:cubicBezTo>
                                                                        <a:pt x="323880" y="17384"/>
                                                                        <a:pt x="329358" y="15081"/>
                                                                        <a:pt x="334120" y="11906"/>
                                                                      </a:cubicBezTo>
                                                                      <a:cubicBezTo>
                                                                        <a:pt x="336501" y="10318"/>
                                                                        <a:pt x="338549" y="8048"/>
                                                                        <a:pt x="341264" y="7143"/>
                                                                      </a:cubicBezTo>
                                                                      <a:lnTo>
                                                                        <a:pt x="355552" y="2381"/>
                                                                      </a:lnTo>
                                                                      <a:lnTo>
                                                                        <a:pt x="362695" y="0"/>
                                                                      </a:lnTo>
                                                                      <a:cubicBezTo>
                                                                        <a:pt x="365182" y="7461"/>
                                                                        <a:pt x="368399" y="15891"/>
                                                                        <a:pt x="369839" y="23812"/>
                                                                      </a:cubicBezTo>
                                                                      <a:cubicBezTo>
                                                                        <a:pt x="370843" y="29334"/>
                                                                        <a:pt x="371366" y="34934"/>
                                                                        <a:pt x="372220" y="40481"/>
                                                                      </a:cubicBezTo>
                                                                      <a:cubicBezTo>
                                                                        <a:pt x="373033" y="45762"/>
                                                                        <a:pt x="374106" y="56157"/>
                                                                        <a:pt x="376983" y="61912"/>
                                                                      </a:cubicBezTo>
                                                                      <a:cubicBezTo>
                                                                        <a:pt x="378263" y="64472"/>
                                                                        <a:pt x="379510" y="67268"/>
                                                                        <a:pt x="381745" y="69056"/>
                                                                      </a:cubicBezTo>
                                                                      <a:cubicBezTo>
                                                                        <a:pt x="383705" y="70624"/>
                                                                        <a:pt x="386508" y="70643"/>
                                                                        <a:pt x="388889" y="71437"/>
                                                                      </a:cubicBezTo>
                                                                      <a:cubicBezTo>
                                                                        <a:pt x="405266" y="82354"/>
                                                                        <a:pt x="401367" y="75532"/>
                                                                        <a:pt x="405558" y="88106"/>
                                                                      </a:cubicBezTo>
                                                                      <a:cubicBezTo>
                                                                        <a:pt x="403177" y="88900"/>
                                                                        <a:pt x="400659" y="89364"/>
                                                                        <a:pt x="398414" y="90487"/>
                                                                      </a:cubicBezTo>
                                                                      <a:cubicBezTo>
                                                                        <a:pt x="395854" y="91767"/>
                                                                        <a:pt x="394059" y="94606"/>
                                                                        <a:pt x="391270" y="95250"/>
                                                                      </a:cubicBezTo>
                                                                      <a:cubicBezTo>
                                                                        <a:pt x="383497" y="97044"/>
                                                                        <a:pt x="375395" y="96837"/>
                                                                        <a:pt x="367458" y="97631"/>
                                                                      </a:cubicBezTo>
                                                                      <a:cubicBezTo>
                                                                        <a:pt x="365077" y="98425"/>
                                                                        <a:pt x="361773" y="97969"/>
                                                                        <a:pt x="360314" y="100012"/>
                                                                      </a:cubicBezTo>
                                                                      <a:cubicBezTo>
                                                                        <a:pt x="356084" y="105934"/>
                                                                        <a:pt x="355076" y="119218"/>
                                                                        <a:pt x="353170" y="126206"/>
                                                                      </a:cubicBezTo>
                                                                      <a:cubicBezTo>
                                                                        <a:pt x="349246" y="140594"/>
                                                                        <a:pt x="350199" y="137807"/>
                                                                        <a:pt x="343645" y="147637"/>
                                                                      </a:cubicBezTo>
                                                                      <a:cubicBezTo>
                                                                        <a:pt x="342851" y="150018"/>
                                                                        <a:pt x="343039" y="153006"/>
                                                                        <a:pt x="341264" y="154781"/>
                                                                      </a:cubicBezTo>
                                                                      <a:cubicBezTo>
                                                                        <a:pt x="330874" y="165172"/>
                                                                        <a:pt x="328745" y="163461"/>
                                                                        <a:pt x="317452" y="166687"/>
                                                                      </a:cubicBezTo>
                                                                      <a:cubicBezTo>
                                                                        <a:pt x="315038" y="167377"/>
                                                                        <a:pt x="312689" y="168274"/>
                                                                        <a:pt x="310308" y="169068"/>
                                                                      </a:cubicBezTo>
                                                                      <a:cubicBezTo>
                                                                        <a:pt x="305964" y="175583"/>
                                                                        <a:pt x="305920" y="177634"/>
                                                                        <a:pt x="298402" y="180975"/>
                                                                      </a:cubicBezTo>
                                                                      <a:cubicBezTo>
                                                                        <a:pt x="293814" y="183014"/>
                                                                        <a:pt x="284114" y="185737"/>
                                                                        <a:pt x="284114" y="185737"/>
                                                                      </a:cubicBezTo>
                                                                      <a:cubicBezTo>
                                                                        <a:pt x="277764" y="184943"/>
                                                                        <a:pt x="271321" y="184697"/>
                                                                        <a:pt x="265064" y="183356"/>
                                                                      </a:cubicBezTo>
                                                                      <a:cubicBezTo>
                                                                        <a:pt x="248426" y="179791"/>
                                                                        <a:pt x="255524" y="179185"/>
                                                                        <a:pt x="243633" y="176212"/>
                                                                      </a:cubicBezTo>
                                                                      <a:cubicBezTo>
                                                                        <a:pt x="231673" y="173222"/>
                                                                        <a:pt x="237213" y="174866"/>
                                                                        <a:pt x="226964" y="171450"/>
                                                                      </a:cubicBezTo>
                                                                      <a:cubicBezTo>
                                                                        <a:pt x="224583" y="173037"/>
                                                                        <a:pt x="221844" y="174188"/>
                                                                        <a:pt x="219820" y="176212"/>
                                                                      </a:cubicBezTo>
                                                                      <a:cubicBezTo>
                                                                        <a:pt x="217796" y="178236"/>
                                                                        <a:pt x="216890" y="181157"/>
                                                                        <a:pt x="215058" y="183356"/>
                                                                      </a:cubicBezTo>
                                                                      <a:cubicBezTo>
                                                                        <a:pt x="212902" y="185943"/>
                                                                        <a:pt x="210070" y="187913"/>
                                                                        <a:pt x="207914" y="190500"/>
                                                                      </a:cubicBezTo>
                                                                      <a:cubicBezTo>
                                                                        <a:pt x="197992" y="202406"/>
                                                                        <a:pt x="209106" y="193674"/>
                                                                        <a:pt x="196008" y="202406"/>
                                                                      </a:cubicBezTo>
                                                                      <a:cubicBezTo>
                                                                        <a:pt x="193891" y="208757"/>
                                                                        <a:pt x="194950" y="211931"/>
                                                                        <a:pt x="186483" y="211931"/>
                                                                      </a:cubicBezTo>
                                                                      <a:cubicBezTo>
                                                                        <a:pt x="163180" y="211931"/>
                                                                        <a:pt x="186447" y="206655"/>
                                                                        <a:pt x="160289" y="204787"/>
                                                                      </a:cubicBezTo>
                                                                      <a:lnTo>
                                                                        <a:pt x="126952" y="202406"/>
                                                                      </a:lnTo>
                                                                      <a:cubicBezTo>
                                                                        <a:pt x="111871" y="203200"/>
                                                                        <a:pt x="96517" y="201825"/>
                                                                        <a:pt x="81708" y="204787"/>
                                                                      </a:cubicBezTo>
                                                                      <a:cubicBezTo>
                                                                        <a:pt x="76095" y="205910"/>
                                                                        <a:pt x="67420" y="214312"/>
                                                                        <a:pt x="67420" y="214312"/>
                                                                      </a:cubicBezTo>
                                                                      <a:cubicBezTo>
                                                                        <a:pt x="54721" y="233363"/>
                                                                        <a:pt x="71389" y="210343"/>
                                                                        <a:pt x="55514" y="226218"/>
                                                                      </a:cubicBezTo>
                                                                      <a:cubicBezTo>
                                                                        <a:pt x="53490" y="228242"/>
                                                                        <a:pt x="53179" y="231845"/>
                                                                        <a:pt x="50752" y="233362"/>
                                                                      </a:cubicBezTo>
                                                                      <a:cubicBezTo>
                                                                        <a:pt x="46495" y="236023"/>
                                                                        <a:pt x="41227" y="236537"/>
                                                                        <a:pt x="36464" y="238125"/>
                                                                      </a:cubicBezTo>
                                                                      <a:lnTo>
                                                                        <a:pt x="22177" y="242887"/>
                                                                      </a:lnTo>
                                                                      <a:lnTo>
                                                                        <a:pt x="15033" y="245268"/>
                                                                      </a:lnTo>
                                                                      <a:cubicBezTo>
                                                                        <a:pt x="10270" y="244474"/>
                                                                        <a:pt x="4515" y="245903"/>
                                                                        <a:pt x="745" y="242887"/>
                                                                      </a:cubicBezTo>
                                                                      <a:cubicBezTo>
                                                                        <a:pt x="-1215" y="241319"/>
                                                                        <a:pt x="1084" y="237202"/>
                                                                        <a:pt x="3127" y="235743"/>
                                                                      </a:cubicBezTo>
                                                                      <a:cubicBezTo>
                                                                        <a:pt x="7212" y="232825"/>
                                                                        <a:pt x="17414" y="230981"/>
                                                                        <a:pt x="17414" y="230981"/>
                                                                      </a:cubicBezTo>
                                                                      <a:cubicBezTo>
                                                                        <a:pt x="22177" y="227806"/>
                                                                        <a:pt x="29892" y="226886"/>
                                                                        <a:pt x="31702" y="221456"/>
                                                                      </a:cubicBezTo>
                                                                      <a:lnTo>
                                                                        <a:pt x="36464" y="207168"/>
                                                                      </a:lnTo>
                                                                      <a:cubicBezTo>
                                                                        <a:pt x="34877" y="204787"/>
                                                                        <a:pt x="34129" y="201542"/>
                                                                        <a:pt x="31702" y="200025"/>
                                                                      </a:cubicBezTo>
                                                                      <a:cubicBezTo>
                                                                        <a:pt x="27445" y="197364"/>
                                                                        <a:pt x="21591" y="198047"/>
                                                                        <a:pt x="17414" y="195262"/>
                                                                      </a:cubicBezTo>
                                                                      <a:lnTo>
                                                                        <a:pt x="10270" y="190500"/>
                                                                      </a:lnTo>
                                                                      <a:cubicBezTo>
                                                                        <a:pt x="11176" y="185973"/>
                                                                        <a:pt x="12593" y="176331"/>
                                                                        <a:pt x="15033" y="171450"/>
                                                                      </a:cubicBezTo>
                                                                      <a:cubicBezTo>
                                                                        <a:pt x="16313" y="168890"/>
                                                                        <a:pt x="18208" y="166687"/>
                                                                        <a:pt x="19795" y="164306"/>
                                                                      </a:cubicBezTo>
                                                                      <a:cubicBezTo>
                                                                        <a:pt x="17414" y="163512"/>
                                                                        <a:pt x="14740" y="163317"/>
                                                                        <a:pt x="12652" y="161925"/>
                                                                      </a:cubicBezTo>
                                                                      <a:cubicBezTo>
                                                                        <a:pt x="7152" y="158258"/>
                                                                        <a:pt x="4259" y="152908"/>
                                                                        <a:pt x="745" y="147637"/>
                                                                      </a:cubicBezTo>
                                                                      <a:lnTo>
                                                                        <a:pt x="15033" y="138112"/>
                                                                      </a:lnTo>
                                                                      <a:cubicBezTo>
                                                                        <a:pt x="17414" y="136525"/>
                                                                        <a:pt x="20153" y="135374"/>
                                                                        <a:pt x="22177" y="133350"/>
                                                                      </a:cubicBezTo>
                                                                      <a:lnTo>
                                                                        <a:pt x="29320" y="126206"/>
                                                                      </a:lnTo>
                                                                      <a:cubicBezTo>
                                                                        <a:pt x="28526" y="123031"/>
                                                                        <a:pt x="29424" y="118811"/>
                                                                        <a:pt x="26939" y="116681"/>
                                                                      </a:cubicBezTo>
                                                                      <a:cubicBezTo>
                                                                        <a:pt x="23128" y="113414"/>
                                                                        <a:pt x="16829" y="114702"/>
                                                                        <a:pt x="12652" y="111918"/>
                                                                      </a:cubicBezTo>
                                                                      <a:lnTo>
                                                                        <a:pt x="5508" y="107156"/>
                                                                      </a:lnTo>
                                                                      <a:cubicBezTo>
                                                                        <a:pt x="3920" y="104775"/>
                                                                        <a:pt x="1150" y="102845"/>
                                                                        <a:pt x="745" y="100012"/>
                                                                      </a:cubicBezTo>
                                                                      <a:cubicBezTo>
                                                                        <a:pt x="159" y="95907"/>
                                                                        <a:pt x="4515" y="86043"/>
                                                                        <a:pt x="7889" y="83343"/>
                                                                      </a:cubicBezTo>
                                                                      <a:cubicBezTo>
                                                                        <a:pt x="9849" y="81775"/>
                                                                        <a:pt x="12652" y="81756"/>
                                                                        <a:pt x="15033" y="80962"/>
                                                                      </a:cubicBezTo>
                                                                      <a:cubicBezTo>
                                                                        <a:pt x="17414" y="78581"/>
                                                                        <a:pt x="20021" y="76405"/>
                                                                        <a:pt x="22177" y="73818"/>
                                                                      </a:cubicBezTo>
                                                                      <a:cubicBezTo>
                                                                        <a:pt x="30692" y="63600"/>
                                                                        <a:pt x="22697" y="69019"/>
                                                                        <a:pt x="34083" y="59531"/>
                                                                      </a:cubicBezTo>
                                                                      <a:cubicBezTo>
                                                                        <a:pt x="40327" y="54328"/>
                                                                        <a:pt x="30114" y="55562"/>
                                                                        <a:pt x="29320" y="54768"/>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6" name="Freeform 255"/>
                                                              <p:cNvSpPr/>
                                                              <p:nvPr/>
                                                            </p:nvSpPr>
                                                            <p:spPr>
                                                              <a:xfrm>
                                                                <a:off x="4102894" y="4986338"/>
                                                                <a:ext cx="464344" cy="514349"/>
                                                              </a:xfrm>
                                                              <a:custGeom>
                                                                <a:avLst/>
                                                                <a:gdLst>
                                                                  <a:gd name="connsiteX0" fmla="*/ 145256 w 464344"/>
                                                                  <a:gd name="connsiteY0" fmla="*/ 383381 h 514349"/>
                                                                  <a:gd name="connsiteX1" fmla="*/ 145256 w 464344"/>
                                                                  <a:gd name="connsiteY1" fmla="*/ 383381 h 514349"/>
                                                                  <a:gd name="connsiteX2" fmla="*/ 157162 w 464344"/>
                                                                  <a:gd name="connsiteY2" fmla="*/ 366712 h 514349"/>
                                                                  <a:gd name="connsiteX3" fmla="*/ 159544 w 464344"/>
                                                                  <a:gd name="connsiteY3" fmla="*/ 359568 h 514349"/>
                                                                  <a:gd name="connsiteX4" fmla="*/ 157162 w 464344"/>
                                                                  <a:gd name="connsiteY4" fmla="*/ 340518 h 514349"/>
                                                                  <a:gd name="connsiteX5" fmla="*/ 154781 w 464344"/>
                                                                  <a:gd name="connsiteY5" fmla="*/ 333375 h 514349"/>
                                                                  <a:gd name="connsiteX6" fmla="*/ 126206 w 464344"/>
                                                                  <a:gd name="connsiteY6" fmla="*/ 319087 h 514349"/>
                                                                  <a:gd name="connsiteX7" fmla="*/ 119062 w 464344"/>
                                                                  <a:gd name="connsiteY7" fmla="*/ 314325 h 514349"/>
                                                                  <a:gd name="connsiteX8" fmla="*/ 114300 w 464344"/>
                                                                  <a:gd name="connsiteY8" fmla="*/ 307181 h 514349"/>
                                                                  <a:gd name="connsiteX9" fmla="*/ 107156 w 464344"/>
                                                                  <a:gd name="connsiteY9" fmla="*/ 302418 h 514349"/>
                                                                  <a:gd name="connsiteX10" fmla="*/ 102394 w 464344"/>
                                                                  <a:gd name="connsiteY10" fmla="*/ 288131 h 514349"/>
                                                                  <a:gd name="connsiteX11" fmla="*/ 100012 w 464344"/>
                                                                  <a:gd name="connsiteY11" fmla="*/ 280987 h 514349"/>
                                                                  <a:gd name="connsiteX12" fmla="*/ 97631 w 464344"/>
                                                                  <a:gd name="connsiteY12" fmla="*/ 273843 h 514349"/>
                                                                  <a:gd name="connsiteX13" fmla="*/ 78581 w 464344"/>
                                                                  <a:gd name="connsiteY13" fmla="*/ 245268 h 514349"/>
                                                                  <a:gd name="connsiteX14" fmla="*/ 73819 w 464344"/>
                                                                  <a:gd name="connsiteY14" fmla="*/ 238125 h 514349"/>
                                                                  <a:gd name="connsiteX15" fmla="*/ 69056 w 464344"/>
                                                                  <a:gd name="connsiteY15" fmla="*/ 221456 h 514349"/>
                                                                  <a:gd name="connsiteX16" fmla="*/ 66675 w 464344"/>
                                                                  <a:gd name="connsiteY16" fmla="*/ 214312 h 514349"/>
                                                                  <a:gd name="connsiteX17" fmla="*/ 59531 w 464344"/>
                                                                  <a:gd name="connsiteY17" fmla="*/ 209550 h 514349"/>
                                                                  <a:gd name="connsiteX18" fmla="*/ 54769 w 464344"/>
                                                                  <a:gd name="connsiteY18" fmla="*/ 195262 h 514349"/>
                                                                  <a:gd name="connsiteX19" fmla="*/ 52387 w 464344"/>
                                                                  <a:gd name="connsiteY19" fmla="*/ 188118 h 514349"/>
                                                                  <a:gd name="connsiteX20" fmla="*/ 42862 w 464344"/>
                                                                  <a:gd name="connsiteY20" fmla="*/ 173831 h 514349"/>
                                                                  <a:gd name="connsiteX21" fmla="*/ 38100 w 464344"/>
                                                                  <a:gd name="connsiteY21" fmla="*/ 159543 h 514349"/>
                                                                  <a:gd name="connsiteX22" fmla="*/ 30956 w 464344"/>
                                                                  <a:gd name="connsiteY22" fmla="*/ 152400 h 514349"/>
                                                                  <a:gd name="connsiteX23" fmla="*/ 21431 w 464344"/>
                                                                  <a:gd name="connsiteY23" fmla="*/ 138112 h 514349"/>
                                                                  <a:gd name="connsiteX24" fmla="*/ 11906 w 464344"/>
                                                                  <a:gd name="connsiteY24" fmla="*/ 123825 h 514349"/>
                                                                  <a:gd name="connsiteX25" fmla="*/ 2381 w 464344"/>
                                                                  <a:gd name="connsiteY25" fmla="*/ 102393 h 514349"/>
                                                                  <a:gd name="connsiteX26" fmla="*/ 0 w 464344"/>
                                                                  <a:gd name="connsiteY26" fmla="*/ 95250 h 514349"/>
                                                                  <a:gd name="connsiteX27" fmla="*/ 2381 w 464344"/>
                                                                  <a:gd name="connsiteY27" fmla="*/ 78581 h 514349"/>
                                                                  <a:gd name="connsiteX28" fmla="*/ 9525 w 464344"/>
                                                                  <a:gd name="connsiteY28" fmla="*/ 52387 h 514349"/>
                                                                  <a:gd name="connsiteX29" fmla="*/ 11906 w 464344"/>
                                                                  <a:gd name="connsiteY29" fmla="*/ 28575 h 514349"/>
                                                                  <a:gd name="connsiteX30" fmla="*/ 14287 w 464344"/>
                                                                  <a:gd name="connsiteY30" fmla="*/ 21431 h 514349"/>
                                                                  <a:gd name="connsiteX31" fmla="*/ 28575 w 464344"/>
                                                                  <a:gd name="connsiteY31" fmla="*/ 11906 h 514349"/>
                                                                  <a:gd name="connsiteX32" fmla="*/ 57150 w 464344"/>
                                                                  <a:gd name="connsiteY32" fmla="*/ 19050 h 514349"/>
                                                                  <a:gd name="connsiteX33" fmla="*/ 71437 w 464344"/>
                                                                  <a:gd name="connsiteY33" fmla="*/ 28575 h 514349"/>
                                                                  <a:gd name="connsiteX34" fmla="*/ 78581 w 464344"/>
                                                                  <a:gd name="connsiteY34" fmla="*/ 33337 h 514349"/>
                                                                  <a:gd name="connsiteX35" fmla="*/ 92869 w 464344"/>
                                                                  <a:gd name="connsiteY35" fmla="*/ 45243 h 514349"/>
                                                                  <a:gd name="connsiteX36" fmla="*/ 97631 w 464344"/>
                                                                  <a:gd name="connsiteY36" fmla="*/ 52387 h 514349"/>
                                                                  <a:gd name="connsiteX37" fmla="*/ 111919 w 464344"/>
                                                                  <a:gd name="connsiteY37" fmla="*/ 59531 h 514349"/>
                                                                  <a:gd name="connsiteX38" fmla="*/ 128587 w 464344"/>
                                                                  <a:gd name="connsiteY38" fmla="*/ 57150 h 514349"/>
                                                                  <a:gd name="connsiteX39" fmla="*/ 140494 w 464344"/>
                                                                  <a:gd name="connsiteY39" fmla="*/ 45243 h 514349"/>
                                                                  <a:gd name="connsiteX40" fmla="*/ 147637 w 464344"/>
                                                                  <a:gd name="connsiteY40" fmla="*/ 42862 h 514349"/>
                                                                  <a:gd name="connsiteX41" fmla="*/ 154781 w 464344"/>
                                                                  <a:gd name="connsiteY41" fmla="*/ 28575 h 514349"/>
                                                                  <a:gd name="connsiteX42" fmla="*/ 157162 w 464344"/>
                                                                  <a:gd name="connsiteY42" fmla="*/ 16668 h 514349"/>
                                                                  <a:gd name="connsiteX43" fmla="*/ 161925 w 464344"/>
                                                                  <a:gd name="connsiteY43" fmla="*/ 9525 h 514349"/>
                                                                  <a:gd name="connsiteX44" fmla="*/ 183356 w 464344"/>
                                                                  <a:gd name="connsiteY44" fmla="*/ 7143 h 514349"/>
                                                                  <a:gd name="connsiteX45" fmla="*/ 200025 w 464344"/>
                                                                  <a:gd name="connsiteY45" fmla="*/ 4762 h 514349"/>
                                                                  <a:gd name="connsiteX46" fmla="*/ 214312 w 464344"/>
                                                                  <a:gd name="connsiteY46" fmla="*/ 2381 h 514349"/>
                                                                  <a:gd name="connsiteX47" fmla="*/ 266700 w 464344"/>
                                                                  <a:gd name="connsiteY47" fmla="*/ 0 h 514349"/>
                                                                  <a:gd name="connsiteX48" fmla="*/ 300037 w 464344"/>
                                                                  <a:gd name="connsiteY48" fmla="*/ 2381 h 514349"/>
                                                                  <a:gd name="connsiteX49" fmla="*/ 314325 w 464344"/>
                                                                  <a:gd name="connsiteY49" fmla="*/ 7143 h 514349"/>
                                                                  <a:gd name="connsiteX50" fmla="*/ 338137 w 464344"/>
                                                                  <a:gd name="connsiteY50" fmla="*/ 19050 h 514349"/>
                                                                  <a:gd name="connsiteX51" fmla="*/ 352425 w 464344"/>
                                                                  <a:gd name="connsiteY51" fmla="*/ 23812 h 514349"/>
                                                                  <a:gd name="connsiteX52" fmla="*/ 359569 w 464344"/>
                                                                  <a:gd name="connsiteY52" fmla="*/ 26193 h 514349"/>
                                                                  <a:gd name="connsiteX53" fmla="*/ 366712 w 464344"/>
                                                                  <a:gd name="connsiteY53" fmla="*/ 30956 h 514349"/>
                                                                  <a:gd name="connsiteX54" fmla="*/ 373856 w 464344"/>
                                                                  <a:gd name="connsiteY54" fmla="*/ 33337 h 514349"/>
                                                                  <a:gd name="connsiteX55" fmla="*/ 376237 w 464344"/>
                                                                  <a:gd name="connsiteY55" fmla="*/ 40481 h 514349"/>
                                                                  <a:gd name="connsiteX56" fmla="*/ 383381 w 464344"/>
                                                                  <a:gd name="connsiteY56" fmla="*/ 45243 h 514349"/>
                                                                  <a:gd name="connsiteX57" fmla="*/ 388144 w 464344"/>
                                                                  <a:gd name="connsiteY57" fmla="*/ 52387 h 514349"/>
                                                                  <a:gd name="connsiteX58" fmla="*/ 404812 w 464344"/>
                                                                  <a:gd name="connsiteY58" fmla="*/ 57150 h 514349"/>
                                                                  <a:gd name="connsiteX59" fmla="*/ 409575 w 464344"/>
                                                                  <a:gd name="connsiteY59" fmla="*/ 64293 h 514349"/>
                                                                  <a:gd name="connsiteX60" fmla="*/ 414337 w 464344"/>
                                                                  <a:gd name="connsiteY60" fmla="*/ 78581 h 514349"/>
                                                                  <a:gd name="connsiteX61" fmla="*/ 416719 w 464344"/>
                                                                  <a:gd name="connsiteY61" fmla="*/ 123825 h 514349"/>
                                                                  <a:gd name="connsiteX62" fmla="*/ 428625 w 464344"/>
                                                                  <a:gd name="connsiteY62" fmla="*/ 145256 h 514349"/>
                                                                  <a:gd name="connsiteX63" fmla="*/ 438150 w 464344"/>
                                                                  <a:gd name="connsiteY63" fmla="*/ 159543 h 514349"/>
                                                                  <a:gd name="connsiteX64" fmla="*/ 447675 w 464344"/>
                                                                  <a:gd name="connsiteY64" fmla="*/ 173831 h 514349"/>
                                                                  <a:gd name="connsiteX65" fmla="*/ 452437 w 464344"/>
                                                                  <a:gd name="connsiteY65" fmla="*/ 180975 h 514349"/>
                                                                  <a:gd name="connsiteX66" fmla="*/ 454819 w 464344"/>
                                                                  <a:gd name="connsiteY66" fmla="*/ 188118 h 514349"/>
                                                                  <a:gd name="connsiteX67" fmla="*/ 464344 w 464344"/>
                                                                  <a:gd name="connsiteY67" fmla="*/ 202406 h 514349"/>
                                                                  <a:gd name="connsiteX68" fmla="*/ 461962 w 464344"/>
                                                                  <a:gd name="connsiteY68" fmla="*/ 238125 h 514349"/>
                                                                  <a:gd name="connsiteX69" fmla="*/ 457200 w 464344"/>
                                                                  <a:gd name="connsiteY69" fmla="*/ 252412 h 514349"/>
                                                                  <a:gd name="connsiteX70" fmla="*/ 454819 w 464344"/>
                                                                  <a:gd name="connsiteY70" fmla="*/ 259556 h 514349"/>
                                                                  <a:gd name="connsiteX71" fmla="*/ 450056 w 464344"/>
                                                                  <a:gd name="connsiteY71" fmla="*/ 288131 h 514349"/>
                                                                  <a:gd name="connsiteX72" fmla="*/ 447675 w 464344"/>
                                                                  <a:gd name="connsiteY72" fmla="*/ 295275 h 514349"/>
                                                                  <a:gd name="connsiteX73" fmla="*/ 442912 w 464344"/>
                                                                  <a:gd name="connsiteY73" fmla="*/ 302418 h 514349"/>
                                                                  <a:gd name="connsiteX74" fmla="*/ 435769 w 464344"/>
                                                                  <a:gd name="connsiteY74" fmla="*/ 304800 h 514349"/>
                                                                  <a:gd name="connsiteX75" fmla="*/ 428625 w 464344"/>
                                                                  <a:gd name="connsiteY75" fmla="*/ 309562 h 514349"/>
                                                                  <a:gd name="connsiteX76" fmla="*/ 419100 w 464344"/>
                                                                  <a:gd name="connsiteY76" fmla="*/ 319087 h 514349"/>
                                                                  <a:gd name="connsiteX77" fmla="*/ 411956 w 464344"/>
                                                                  <a:gd name="connsiteY77" fmla="*/ 326231 h 514349"/>
                                                                  <a:gd name="connsiteX78" fmla="*/ 397669 w 464344"/>
                                                                  <a:gd name="connsiteY78" fmla="*/ 330993 h 514349"/>
                                                                  <a:gd name="connsiteX79" fmla="*/ 390525 w 464344"/>
                                                                  <a:gd name="connsiteY79" fmla="*/ 333375 h 514349"/>
                                                                  <a:gd name="connsiteX80" fmla="*/ 383381 w 464344"/>
                                                                  <a:gd name="connsiteY80" fmla="*/ 335756 h 514349"/>
                                                                  <a:gd name="connsiteX81" fmla="*/ 373856 w 464344"/>
                                                                  <a:gd name="connsiteY81" fmla="*/ 340518 h 514349"/>
                                                                  <a:gd name="connsiteX82" fmla="*/ 359569 w 464344"/>
                                                                  <a:gd name="connsiteY82" fmla="*/ 345281 h 514349"/>
                                                                  <a:gd name="connsiteX83" fmla="*/ 347662 w 464344"/>
                                                                  <a:gd name="connsiteY83" fmla="*/ 357187 h 514349"/>
                                                                  <a:gd name="connsiteX84" fmla="*/ 333375 w 464344"/>
                                                                  <a:gd name="connsiteY84" fmla="*/ 369093 h 514349"/>
                                                                  <a:gd name="connsiteX85" fmla="*/ 328612 w 464344"/>
                                                                  <a:gd name="connsiteY85" fmla="*/ 376237 h 514349"/>
                                                                  <a:gd name="connsiteX86" fmla="*/ 321469 w 464344"/>
                                                                  <a:gd name="connsiteY86" fmla="*/ 381000 h 514349"/>
                                                                  <a:gd name="connsiteX87" fmla="*/ 319087 w 464344"/>
                                                                  <a:gd name="connsiteY87" fmla="*/ 388143 h 514349"/>
                                                                  <a:gd name="connsiteX88" fmla="*/ 314325 w 464344"/>
                                                                  <a:gd name="connsiteY88" fmla="*/ 395287 h 514349"/>
                                                                  <a:gd name="connsiteX89" fmla="*/ 319087 w 464344"/>
                                                                  <a:gd name="connsiteY89" fmla="*/ 442912 h 514349"/>
                                                                  <a:gd name="connsiteX90" fmla="*/ 323850 w 464344"/>
                                                                  <a:gd name="connsiteY90" fmla="*/ 457200 h 514349"/>
                                                                  <a:gd name="connsiteX91" fmla="*/ 326231 w 464344"/>
                                                                  <a:gd name="connsiteY91" fmla="*/ 464343 h 514349"/>
                                                                  <a:gd name="connsiteX92" fmla="*/ 333375 w 464344"/>
                                                                  <a:gd name="connsiteY92" fmla="*/ 485775 h 514349"/>
                                                                  <a:gd name="connsiteX93" fmla="*/ 335756 w 464344"/>
                                                                  <a:gd name="connsiteY93" fmla="*/ 492918 h 514349"/>
                                                                  <a:gd name="connsiteX94" fmla="*/ 338137 w 464344"/>
                                                                  <a:gd name="connsiteY94" fmla="*/ 500062 h 514349"/>
                                                                  <a:gd name="connsiteX95" fmla="*/ 335756 w 464344"/>
                                                                  <a:gd name="connsiteY95" fmla="*/ 511968 h 514349"/>
                                                                  <a:gd name="connsiteX96" fmla="*/ 314325 w 464344"/>
                                                                  <a:gd name="connsiteY96" fmla="*/ 511968 h 514349"/>
                                                                  <a:gd name="connsiteX97" fmla="*/ 309562 w 464344"/>
                                                                  <a:gd name="connsiteY97" fmla="*/ 504825 h 514349"/>
                                                                  <a:gd name="connsiteX98" fmla="*/ 307181 w 464344"/>
                                                                  <a:gd name="connsiteY98" fmla="*/ 490537 h 514349"/>
                                                                  <a:gd name="connsiteX99" fmla="*/ 297656 w 464344"/>
                                                                  <a:gd name="connsiteY99" fmla="*/ 469106 h 514349"/>
                                                                  <a:gd name="connsiteX100" fmla="*/ 290512 w 464344"/>
                                                                  <a:gd name="connsiteY100" fmla="*/ 464343 h 514349"/>
                                                                  <a:gd name="connsiteX101" fmla="*/ 278606 w 464344"/>
                                                                  <a:gd name="connsiteY101" fmla="*/ 452437 h 514349"/>
                                                                  <a:gd name="connsiteX102" fmla="*/ 264319 w 464344"/>
                                                                  <a:gd name="connsiteY102" fmla="*/ 438150 h 514349"/>
                                                                  <a:gd name="connsiteX103" fmla="*/ 257175 w 464344"/>
                                                                  <a:gd name="connsiteY103" fmla="*/ 431006 h 514349"/>
                                                                  <a:gd name="connsiteX104" fmla="*/ 247650 w 464344"/>
                                                                  <a:gd name="connsiteY104" fmla="*/ 416718 h 514349"/>
                                                                  <a:gd name="connsiteX105" fmla="*/ 242887 w 464344"/>
                                                                  <a:gd name="connsiteY105" fmla="*/ 409575 h 514349"/>
                                                                  <a:gd name="connsiteX106" fmla="*/ 235744 w 464344"/>
                                                                  <a:gd name="connsiteY106" fmla="*/ 407193 h 514349"/>
                                                                  <a:gd name="connsiteX107" fmla="*/ 204787 w 464344"/>
                                                                  <a:gd name="connsiteY107" fmla="*/ 402431 h 514349"/>
                                                                  <a:gd name="connsiteX108" fmla="*/ 197644 w 464344"/>
                                                                  <a:gd name="connsiteY108" fmla="*/ 400050 h 514349"/>
                                                                  <a:gd name="connsiteX109" fmla="*/ 173831 w 464344"/>
                                                                  <a:gd name="connsiteY109" fmla="*/ 397668 h 514349"/>
                                                                  <a:gd name="connsiteX110" fmla="*/ 169069 w 464344"/>
                                                                  <a:gd name="connsiteY110" fmla="*/ 390525 h 514349"/>
                                                                  <a:gd name="connsiteX111" fmla="*/ 161925 w 464344"/>
                                                                  <a:gd name="connsiteY111" fmla="*/ 383381 h 514349"/>
                                                                  <a:gd name="connsiteX112" fmla="*/ 145256 w 464344"/>
                                                                  <a:gd name="connsiteY112" fmla="*/ 383381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64344" h="514349">
                                                                    <a:moveTo>
                                                                      <a:pt x="145256" y="383381"/>
                                                                    </a:moveTo>
                                                                    <a:lnTo>
                                                                      <a:pt x="145256" y="383381"/>
                                                                    </a:lnTo>
                                                                    <a:cubicBezTo>
                                                                      <a:pt x="149225" y="377825"/>
                                                                      <a:pt x="153649" y="372567"/>
                                                                      <a:pt x="157162" y="366712"/>
                                                                    </a:cubicBezTo>
                                                                    <a:cubicBezTo>
                                                                      <a:pt x="158454" y="364560"/>
                                                                      <a:pt x="159544" y="362078"/>
                                                                      <a:pt x="159544" y="359568"/>
                                                                    </a:cubicBezTo>
                                                                    <a:cubicBezTo>
                                                                      <a:pt x="159544" y="353169"/>
                                                                      <a:pt x="158307" y="346814"/>
                                                                      <a:pt x="157162" y="340518"/>
                                                                    </a:cubicBezTo>
                                                                    <a:cubicBezTo>
                                                                      <a:pt x="156713" y="338049"/>
                                                                      <a:pt x="156556" y="335150"/>
                                                                      <a:pt x="154781" y="333375"/>
                                                                    </a:cubicBezTo>
                                                                    <a:cubicBezTo>
                                                                      <a:pt x="132308" y="310902"/>
                                                                      <a:pt x="149440" y="334574"/>
                                                                      <a:pt x="126206" y="319087"/>
                                                                    </a:cubicBezTo>
                                                                    <a:lnTo>
                                                                      <a:pt x="119062" y="314325"/>
                                                                    </a:lnTo>
                                                                    <a:cubicBezTo>
                                                                      <a:pt x="117475" y="311944"/>
                                                                      <a:pt x="116324" y="309205"/>
                                                                      <a:pt x="114300" y="307181"/>
                                                                    </a:cubicBezTo>
                                                                    <a:cubicBezTo>
                                                                      <a:pt x="112276" y="305157"/>
                                                                      <a:pt x="108673" y="304845"/>
                                                                      <a:pt x="107156" y="302418"/>
                                                                    </a:cubicBezTo>
                                                                    <a:cubicBezTo>
                                                                      <a:pt x="104495" y="298161"/>
                                                                      <a:pt x="103981" y="292893"/>
                                                                      <a:pt x="102394" y="288131"/>
                                                                    </a:cubicBezTo>
                                                                    <a:lnTo>
                                                                      <a:pt x="100012" y="280987"/>
                                                                    </a:lnTo>
                                                                    <a:cubicBezTo>
                                                                      <a:pt x="99218" y="278606"/>
                                                                      <a:pt x="99023" y="275932"/>
                                                                      <a:pt x="97631" y="273843"/>
                                                                    </a:cubicBezTo>
                                                                    <a:lnTo>
                                                                      <a:pt x="78581" y="245268"/>
                                                                    </a:lnTo>
                                                                    <a:cubicBezTo>
                                                                      <a:pt x="76994" y="242887"/>
                                                                      <a:pt x="74724" y="240840"/>
                                                                      <a:pt x="73819" y="238125"/>
                                                                    </a:cubicBezTo>
                                                                    <a:cubicBezTo>
                                                                      <a:pt x="68114" y="221016"/>
                                                                      <a:pt x="75028" y="242361"/>
                                                                      <a:pt x="69056" y="221456"/>
                                                                    </a:cubicBezTo>
                                                                    <a:cubicBezTo>
                                                                      <a:pt x="68366" y="219042"/>
                                                                      <a:pt x="68243" y="216272"/>
                                                                      <a:pt x="66675" y="214312"/>
                                                                    </a:cubicBezTo>
                                                                    <a:cubicBezTo>
                                                                      <a:pt x="64887" y="212077"/>
                                                                      <a:pt x="61912" y="211137"/>
                                                                      <a:pt x="59531" y="209550"/>
                                                                    </a:cubicBezTo>
                                                                    <a:lnTo>
                                                                      <a:pt x="54769" y="195262"/>
                                                                    </a:lnTo>
                                                                    <a:cubicBezTo>
                                                                      <a:pt x="53975" y="192881"/>
                                                                      <a:pt x="53779" y="190207"/>
                                                                      <a:pt x="52387" y="188118"/>
                                                                    </a:cubicBezTo>
                                                                    <a:lnTo>
                                                                      <a:pt x="42862" y="173831"/>
                                                                    </a:lnTo>
                                                                    <a:cubicBezTo>
                                                                      <a:pt x="41275" y="169068"/>
                                                                      <a:pt x="41650" y="163093"/>
                                                                      <a:pt x="38100" y="159543"/>
                                                                    </a:cubicBezTo>
                                                                    <a:cubicBezTo>
                                                                      <a:pt x="35719" y="157162"/>
                                                                      <a:pt x="33023" y="155058"/>
                                                                      <a:pt x="30956" y="152400"/>
                                                                    </a:cubicBezTo>
                                                                    <a:cubicBezTo>
                                                                      <a:pt x="27442" y="147882"/>
                                                                      <a:pt x="24606" y="142875"/>
                                                                      <a:pt x="21431" y="138112"/>
                                                                    </a:cubicBezTo>
                                                                    <a:lnTo>
                                                                      <a:pt x="11906" y="123825"/>
                                                                    </a:lnTo>
                                                                    <a:cubicBezTo>
                                                                      <a:pt x="4361" y="112508"/>
                                                                      <a:pt x="8046" y="119389"/>
                                                                      <a:pt x="2381" y="102393"/>
                                                                    </a:cubicBezTo>
                                                                    <a:lnTo>
                                                                      <a:pt x="0" y="95250"/>
                                                                    </a:lnTo>
                                                                    <a:cubicBezTo>
                                                                      <a:pt x="794" y="89694"/>
                                                                      <a:pt x="1280" y="84085"/>
                                                                      <a:pt x="2381" y="78581"/>
                                                                    </a:cubicBezTo>
                                                                    <a:cubicBezTo>
                                                                      <a:pt x="5065" y="65159"/>
                                                                      <a:pt x="6105" y="62648"/>
                                                                      <a:pt x="9525" y="52387"/>
                                                                    </a:cubicBezTo>
                                                                    <a:cubicBezTo>
                                                                      <a:pt x="10319" y="44450"/>
                                                                      <a:pt x="10693" y="36459"/>
                                                                      <a:pt x="11906" y="28575"/>
                                                                    </a:cubicBezTo>
                                                                    <a:cubicBezTo>
                                                                      <a:pt x="12288" y="26094"/>
                                                                      <a:pt x="12512" y="23206"/>
                                                                      <a:pt x="14287" y="21431"/>
                                                                    </a:cubicBezTo>
                                                                    <a:cubicBezTo>
                                                                      <a:pt x="18334" y="17384"/>
                                                                      <a:pt x="28575" y="11906"/>
                                                                      <a:pt x="28575" y="11906"/>
                                                                    </a:cubicBezTo>
                                                                    <a:cubicBezTo>
                                                                      <a:pt x="35718" y="13096"/>
                                                                      <a:pt x="50860" y="14856"/>
                                                                      <a:pt x="57150" y="19050"/>
                                                                    </a:cubicBezTo>
                                                                    <a:lnTo>
                                                                      <a:pt x="71437" y="28575"/>
                                                                    </a:lnTo>
                                                                    <a:cubicBezTo>
                                                                      <a:pt x="73818" y="30162"/>
                                                                      <a:pt x="76557" y="31313"/>
                                                                      <a:pt x="78581" y="33337"/>
                                                                    </a:cubicBezTo>
                                                                    <a:cubicBezTo>
                                                                      <a:pt x="87749" y="42505"/>
                                                                      <a:pt x="82923" y="38613"/>
                                                                      <a:pt x="92869" y="45243"/>
                                                                    </a:cubicBezTo>
                                                                    <a:cubicBezTo>
                                                                      <a:pt x="94456" y="47624"/>
                                                                      <a:pt x="95607" y="50363"/>
                                                                      <a:pt x="97631" y="52387"/>
                                                                    </a:cubicBezTo>
                                                                    <a:cubicBezTo>
                                                                      <a:pt x="102248" y="57004"/>
                                                                      <a:pt x="106108" y="57594"/>
                                                                      <a:pt x="111919" y="59531"/>
                                                                    </a:cubicBezTo>
                                                                    <a:cubicBezTo>
                                                                      <a:pt x="117475" y="58737"/>
                                                                      <a:pt x="123211" y="58763"/>
                                                                      <a:pt x="128587" y="57150"/>
                                                                    </a:cubicBezTo>
                                                                    <a:cubicBezTo>
                                                                      <a:pt x="140016" y="53721"/>
                                                                      <a:pt x="132240" y="51847"/>
                                                                      <a:pt x="140494" y="45243"/>
                                                                    </a:cubicBezTo>
                                                                    <a:cubicBezTo>
                                                                      <a:pt x="142454" y="43675"/>
                                                                      <a:pt x="145256" y="43656"/>
                                                                      <a:pt x="147637" y="42862"/>
                                                                    </a:cubicBezTo>
                                                                    <a:cubicBezTo>
                                                                      <a:pt x="152293" y="35878"/>
                                                                      <a:pt x="152810" y="36461"/>
                                                                      <a:pt x="154781" y="28575"/>
                                                                    </a:cubicBezTo>
                                                                    <a:cubicBezTo>
                                                                      <a:pt x="155763" y="24648"/>
                                                                      <a:pt x="155741" y="20458"/>
                                                                      <a:pt x="157162" y="16668"/>
                                                                    </a:cubicBezTo>
                                                                    <a:cubicBezTo>
                                                                      <a:pt x="158167" y="13988"/>
                                                                      <a:pt x="159236" y="10503"/>
                                                                      <a:pt x="161925" y="9525"/>
                                                                    </a:cubicBezTo>
                                                                    <a:cubicBezTo>
                                                                      <a:pt x="168680" y="7069"/>
                                                                      <a:pt x="176224" y="8035"/>
                                                                      <a:pt x="183356" y="7143"/>
                                                                    </a:cubicBezTo>
                                                                    <a:cubicBezTo>
                                                                      <a:pt x="188925" y="6447"/>
                                                                      <a:pt x="194478" y="5615"/>
                                                                      <a:pt x="200025" y="4762"/>
                                                                    </a:cubicBezTo>
                                                                    <a:cubicBezTo>
                                                                      <a:pt x="204797" y="4028"/>
                                                                      <a:pt x="209496" y="2725"/>
                                                                      <a:pt x="214312" y="2381"/>
                                                                    </a:cubicBezTo>
                                                                    <a:cubicBezTo>
                                                                      <a:pt x="231748" y="1136"/>
                                                                      <a:pt x="249237" y="794"/>
                                                                      <a:pt x="266700" y="0"/>
                                                                    </a:cubicBezTo>
                                                                    <a:cubicBezTo>
                                                                      <a:pt x="277812" y="794"/>
                                                                      <a:pt x="289020" y="729"/>
                                                                      <a:pt x="300037" y="2381"/>
                                                                    </a:cubicBezTo>
                                                                    <a:cubicBezTo>
                                                                      <a:pt x="305002" y="3126"/>
                                                                      <a:pt x="314325" y="7143"/>
                                                                      <a:pt x="314325" y="7143"/>
                                                                    </a:cubicBezTo>
                                                                    <a:cubicBezTo>
                                                                      <a:pt x="334925" y="20877"/>
                                                                      <a:pt x="321006" y="13911"/>
                                                                      <a:pt x="338137" y="19050"/>
                                                                    </a:cubicBezTo>
                                                                    <a:cubicBezTo>
                                                                      <a:pt x="342945" y="20493"/>
                                                                      <a:pt x="347662" y="22225"/>
                                                                      <a:pt x="352425" y="23812"/>
                                                                    </a:cubicBezTo>
                                                                    <a:lnTo>
                                                                      <a:pt x="359569" y="26193"/>
                                                                    </a:lnTo>
                                                                    <a:cubicBezTo>
                                                                      <a:pt x="361950" y="27781"/>
                                                                      <a:pt x="364152" y="29676"/>
                                                                      <a:pt x="366712" y="30956"/>
                                                                    </a:cubicBezTo>
                                                                    <a:cubicBezTo>
                                                                      <a:pt x="368957" y="32079"/>
                                                                      <a:pt x="372081" y="31562"/>
                                                                      <a:pt x="373856" y="33337"/>
                                                                    </a:cubicBezTo>
                                                                    <a:cubicBezTo>
                                                                      <a:pt x="375631" y="35112"/>
                                                                      <a:pt x="374669" y="38521"/>
                                                                      <a:pt x="376237" y="40481"/>
                                                                    </a:cubicBezTo>
                                                                    <a:cubicBezTo>
                                                                      <a:pt x="378025" y="42716"/>
                                                                      <a:pt x="381000" y="43656"/>
                                                                      <a:pt x="383381" y="45243"/>
                                                                    </a:cubicBezTo>
                                                                    <a:cubicBezTo>
                                                                      <a:pt x="384969" y="47624"/>
                                                                      <a:pt x="385909" y="50599"/>
                                                                      <a:pt x="388144" y="52387"/>
                                                                    </a:cubicBezTo>
                                                                    <a:cubicBezTo>
                                                                      <a:pt x="389695" y="53628"/>
                                                                      <a:pt x="404192" y="56995"/>
                                                                      <a:pt x="404812" y="57150"/>
                                                                    </a:cubicBezTo>
                                                                    <a:cubicBezTo>
                                                                      <a:pt x="406400" y="59531"/>
                                                                      <a:pt x="408413" y="61678"/>
                                                                      <a:pt x="409575" y="64293"/>
                                                                    </a:cubicBezTo>
                                                                    <a:cubicBezTo>
                                                                      <a:pt x="411614" y="68881"/>
                                                                      <a:pt x="414337" y="78581"/>
                                                                      <a:pt x="414337" y="78581"/>
                                                                    </a:cubicBezTo>
                                                                    <a:cubicBezTo>
                                                                      <a:pt x="415131" y="93662"/>
                                                                      <a:pt x="415352" y="108785"/>
                                                                      <a:pt x="416719" y="123825"/>
                                                                    </a:cubicBezTo>
                                                                    <a:cubicBezTo>
                                                                      <a:pt x="417381" y="131104"/>
                                                                      <a:pt x="425757" y="140953"/>
                                                                      <a:pt x="428625" y="145256"/>
                                                                    </a:cubicBezTo>
                                                                    <a:lnTo>
                                                                      <a:pt x="438150" y="159543"/>
                                                                    </a:lnTo>
                                                                    <a:lnTo>
                                                                      <a:pt x="447675" y="173831"/>
                                                                    </a:lnTo>
                                                                    <a:cubicBezTo>
                                                                      <a:pt x="449262" y="176212"/>
                                                                      <a:pt x="451532" y="178260"/>
                                                                      <a:pt x="452437" y="180975"/>
                                                                    </a:cubicBezTo>
                                                                    <a:cubicBezTo>
                                                                      <a:pt x="453231" y="183356"/>
                                                                      <a:pt x="453600" y="185924"/>
                                                                      <a:pt x="454819" y="188118"/>
                                                                    </a:cubicBezTo>
                                                                    <a:cubicBezTo>
                                                                      <a:pt x="457599" y="193122"/>
                                                                      <a:pt x="464344" y="202406"/>
                                                                      <a:pt x="464344" y="202406"/>
                                                                    </a:cubicBezTo>
                                                                    <a:cubicBezTo>
                                                                      <a:pt x="463550" y="214312"/>
                                                                      <a:pt x="463650" y="226312"/>
                                                                      <a:pt x="461962" y="238125"/>
                                                                    </a:cubicBezTo>
                                                                    <a:cubicBezTo>
                                                                      <a:pt x="461252" y="243094"/>
                                                                      <a:pt x="458787" y="247650"/>
                                                                      <a:pt x="457200" y="252412"/>
                                                                    </a:cubicBezTo>
                                                                    <a:lnTo>
                                                                      <a:pt x="454819" y="259556"/>
                                                                    </a:lnTo>
                                                                    <a:cubicBezTo>
                                                                      <a:pt x="452886" y="275015"/>
                                                                      <a:pt x="453552" y="275895"/>
                                                                      <a:pt x="450056" y="288131"/>
                                                                    </a:cubicBezTo>
                                                                    <a:cubicBezTo>
                                                                      <a:pt x="449366" y="290545"/>
                                                                      <a:pt x="448798" y="293030"/>
                                                                      <a:pt x="447675" y="295275"/>
                                                                    </a:cubicBezTo>
                                                                    <a:cubicBezTo>
                                                                      <a:pt x="446395" y="297835"/>
                                                                      <a:pt x="445147" y="300630"/>
                                                                      <a:pt x="442912" y="302418"/>
                                                                    </a:cubicBezTo>
                                                                    <a:cubicBezTo>
                                                                      <a:pt x="440952" y="303986"/>
                                                                      <a:pt x="438014" y="303677"/>
                                                                      <a:pt x="435769" y="304800"/>
                                                                    </a:cubicBezTo>
                                                                    <a:cubicBezTo>
                                                                      <a:pt x="433209" y="306080"/>
                                                                      <a:pt x="431006" y="307975"/>
                                                                      <a:pt x="428625" y="309562"/>
                                                                    </a:cubicBezTo>
                                                                    <a:cubicBezTo>
                                                                      <a:pt x="424090" y="323170"/>
                                                                      <a:pt x="429986" y="311830"/>
                                                                      <a:pt x="419100" y="319087"/>
                                                                    </a:cubicBezTo>
                                                                    <a:cubicBezTo>
                                                                      <a:pt x="416298" y="320955"/>
                                                                      <a:pt x="414900" y="324596"/>
                                                                      <a:pt x="411956" y="326231"/>
                                                                    </a:cubicBezTo>
                                                                    <a:cubicBezTo>
                                                                      <a:pt x="407568" y="328669"/>
                                                                      <a:pt x="402431" y="329406"/>
                                                                      <a:pt x="397669" y="330993"/>
                                                                    </a:cubicBezTo>
                                                                    <a:lnTo>
                                                                      <a:pt x="390525" y="333375"/>
                                                                    </a:lnTo>
                                                                    <a:cubicBezTo>
                                                                      <a:pt x="388144" y="334169"/>
                                                                      <a:pt x="385626" y="334634"/>
                                                                      <a:pt x="383381" y="335756"/>
                                                                    </a:cubicBezTo>
                                                                    <a:cubicBezTo>
                                                                      <a:pt x="380206" y="337343"/>
                                                                      <a:pt x="377152" y="339200"/>
                                                                      <a:pt x="373856" y="340518"/>
                                                                    </a:cubicBezTo>
                                                                    <a:cubicBezTo>
                                                                      <a:pt x="369195" y="342382"/>
                                                                      <a:pt x="359569" y="345281"/>
                                                                      <a:pt x="359569" y="345281"/>
                                                                    </a:cubicBezTo>
                                                                    <a:cubicBezTo>
                                                                      <a:pt x="346865" y="364336"/>
                                                                      <a:pt x="363541" y="341308"/>
                                                                      <a:pt x="347662" y="357187"/>
                                                                    </a:cubicBezTo>
                                                                    <a:cubicBezTo>
                                                                      <a:pt x="334687" y="370162"/>
                                                                      <a:pt x="347020" y="364545"/>
                                                                      <a:pt x="333375" y="369093"/>
                                                                    </a:cubicBezTo>
                                                                    <a:cubicBezTo>
                                                                      <a:pt x="331787" y="371474"/>
                                                                      <a:pt x="330636" y="374213"/>
                                                                      <a:pt x="328612" y="376237"/>
                                                                    </a:cubicBezTo>
                                                                    <a:cubicBezTo>
                                                                      <a:pt x="326588" y="378261"/>
                                                                      <a:pt x="323257" y="378765"/>
                                                                      <a:pt x="321469" y="381000"/>
                                                                    </a:cubicBezTo>
                                                                    <a:cubicBezTo>
                                                                      <a:pt x="319901" y="382960"/>
                                                                      <a:pt x="320210" y="385898"/>
                                                                      <a:pt x="319087" y="388143"/>
                                                                    </a:cubicBezTo>
                                                                    <a:cubicBezTo>
                                                                      <a:pt x="317807" y="390703"/>
                                                                      <a:pt x="315912" y="392906"/>
                                                                      <a:pt x="314325" y="395287"/>
                                                                    </a:cubicBezTo>
                                                                    <a:cubicBezTo>
                                                                      <a:pt x="315106" y="406217"/>
                                                                      <a:pt x="315717" y="429433"/>
                                                                      <a:pt x="319087" y="442912"/>
                                                                    </a:cubicBezTo>
                                                                    <a:cubicBezTo>
                                                                      <a:pt x="320305" y="447782"/>
                                                                      <a:pt x="322262" y="452437"/>
                                                                      <a:pt x="323850" y="457200"/>
                                                                    </a:cubicBezTo>
                                                                    <a:lnTo>
                                                                      <a:pt x="326231" y="464343"/>
                                                                    </a:lnTo>
                                                                    <a:lnTo>
                                                                      <a:pt x="333375" y="485775"/>
                                                                    </a:lnTo>
                                                                    <a:lnTo>
                                                                      <a:pt x="335756" y="492918"/>
                                                                    </a:lnTo>
                                                                    <a:lnTo>
                                                                      <a:pt x="338137" y="500062"/>
                                                                    </a:lnTo>
                                                                    <a:cubicBezTo>
                                                                      <a:pt x="337343" y="504031"/>
                                                                      <a:pt x="338001" y="508600"/>
                                                                      <a:pt x="335756" y="511968"/>
                                                                    </a:cubicBezTo>
                                                                    <a:cubicBezTo>
                                                                      <a:pt x="332238" y="517245"/>
                                                                      <a:pt x="315305" y="512131"/>
                                                                      <a:pt x="314325" y="511968"/>
                                                                    </a:cubicBezTo>
                                                                    <a:cubicBezTo>
                                                                      <a:pt x="312737" y="509587"/>
                                                                      <a:pt x="310467" y="507540"/>
                                                                      <a:pt x="309562" y="504825"/>
                                                                    </a:cubicBezTo>
                                                                    <a:cubicBezTo>
                                                                      <a:pt x="308035" y="500244"/>
                                                                      <a:pt x="308352" y="495221"/>
                                                                      <a:pt x="307181" y="490537"/>
                                                                    </a:cubicBezTo>
                                                                    <a:cubicBezTo>
                                                                      <a:pt x="305609" y="484247"/>
                                                                      <a:pt x="302869" y="474319"/>
                                                                      <a:pt x="297656" y="469106"/>
                                                                    </a:cubicBezTo>
                                                                    <a:cubicBezTo>
                                                                      <a:pt x="295632" y="467082"/>
                                                                      <a:pt x="292893" y="465931"/>
                                                                      <a:pt x="290512" y="464343"/>
                                                                    </a:cubicBezTo>
                                                                    <a:cubicBezTo>
                                                                      <a:pt x="280700" y="449625"/>
                                                                      <a:pt x="291594" y="463982"/>
                                                                      <a:pt x="278606" y="452437"/>
                                                                    </a:cubicBezTo>
                                                                    <a:cubicBezTo>
                                                                      <a:pt x="273572" y="447963"/>
                                                                      <a:pt x="269081" y="442912"/>
                                                                      <a:pt x="264319" y="438150"/>
                                                                    </a:cubicBezTo>
                                                                    <a:lnTo>
                                                                      <a:pt x="257175" y="431006"/>
                                                                    </a:lnTo>
                                                                    <a:cubicBezTo>
                                                                      <a:pt x="252991" y="418453"/>
                                                                      <a:pt x="257559" y="428608"/>
                                                                      <a:pt x="247650" y="416718"/>
                                                                    </a:cubicBezTo>
                                                                    <a:cubicBezTo>
                                                                      <a:pt x="245818" y="414520"/>
                                                                      <a:pt x="245122" y="411363"/>
                                                                      <a:pt x="242887" y="409575"/>
                                                                    </a:cubicBezTo>
                                                                    <a:cubicBezTo>
                                                                      <a:pt x="240927" y="408007"/>
                                                                      <a:pt x="238157" y="407883"/>
                                                                      <a:pt x="235744" y="407193"/>
                                                                    </a:cubicBezTo>
                                                                    <a:cubicBezTo>
                                                                      <a:pt x="222626" y="403444"/>
                                                                      <a:pt x="222048" y="404349"/>
                                                                      <a:pt x="204787" y="402431"/>
                                                                    </a:cubicBezTo>
                                                                    <a:cubicBezTo>
                                                                      <a:pt x="202406" y="401637"/>
                                                                      <a:pt x="200125" y="400432"/>
                                                                      <a:pt x="197644" y="400050"/>
                                                                    </a:cubicBezTo>
                                                                    <a:cubicBezTo>
                                                                      <a:pt x="189760" y="398837"/>
                                                                      <a:pt x="181399" y="400191"/>
                                                                      <a:pt x="173831" y="397668"/>
                                                                    </a:cubicBezTo>
                                                                    <a:cubicBezTo>
                                                                      <a:pt x="171116" y="396763"/>
                                                                      <a:pt x="170901" y="392723"/>
                                                                      <a:pt x="169069" y="390525"/>
                                                                    </a:cubicBezTo>
                                                                    <a:cubicBezTo>
                                                                      <a:pt x="166913" y="387938"/>
                                                                      <a:pt x="164081" y="385968"/>
                                                                      <a:pt x="161925" y="383381"/>
                                                                    </a:cubicBezTo>
                                                                    <a:cubicBezTo>
                                                                      <a:pt x="160093" y="381182"/>
                                                                      <a:pt x="148034" y="383381"/>
                                                                      <a:pt x="145256" y="38338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4" name="Freeform 253"/>
                                                            <p:cNvSpPr/>
                                                            <p:nvPr/>
                                                          </p:nvSpPr>
                                                          <p:spPr>
                                                            <a:xfrm>
                                                              <a:off x="4416769" y="4817149"/>
                                                              <a:ext cx="605545" cy="783551"/>
                                                            </a:xfrm>
                                                            <a:custGeom>
                                                              <a:avLst/>
                                                              <a:gdLst>
                                                                <a:gd name="connsiteX0" fmla="*/ 19500 w 605545"/>
                                                                <a:gd name="connsiteY0" fmla="*/ 678776 h 783551"/>
                                                                <a:gd name="connsiteX1" fmla="*/ 19500 w 605545"/>
                                                                <a:gd name="connsiteY1" fmla="*/ 678776 h 783551"/>
                                                                <a:gd name="connsiteX2" fmla="*/ 17119 w 605545"/>
                                                                <a:gd name="connsiteY2" fmla="*/ 654964 h 783551"/>
                                                                <a:gd name="connsiteX3" fmla="*/ 12356 w 605545"/>
                                                                <a:gd name="connsiteY3" fmla="*/ 640676 h 783551"/>
                                                                <a:gd name="connsiteX4" fmla="*/ 9975 w 605545"/>
                                                                <a:gd name="connsiteY4" fmla="*/ 633532 h 783551"/>
                                                                <a:gd name="connsiteX5" fmla="*/ 7594 w 605545"/>
                                                                <a:gd name="connsiteY5" fmla="*/ 626389 h 783551"/>
                                                                <a:gd name="connsiteX6" fmla="*/ 5212 w 605545"/>
                                                                <a:gd name="connsiteY6" fmla="*/ 612101 h 783551"/>
                                                                <a:gd name="connsiteX7" fmla="*/ 2831 w 605545"/>
                                                                <a:gd name="connsiteY7" fmla="*/ 604957 h 783551"/>
                                                                <a:gd name="connsiteX8" fmla="*/ 450 w 605545"/>
                                                                <a:gd name="connsiteY8" fmla="*/ 595432 h 783551"/>
                                                                <a:gd name="connsiteX9" fmla="*/ 7594 w 605545"/>
                                                                <a:gd name="connsiteY9" fmla="*/ 550189 h 783551"/>
                                                                <a:gd name="connsiteX10" fmla="*/ 14737 w 605545"/>
                                                                <a:gd name="connsiteY10" fmla="*/ 545426 h 783551"/>
                                                                <a:gd name="connsiteX11" fmla="*/ 21881 w 605545"/>
                                                                <a:gd name="connsiteY11" fmla="*/ 543045 h 783551"/>
                                                                <a:gd name="connsiteX12" fmla="*/ 26644 w 605545"/>
                                                                <a:gd name="connsiteY12" fmla="*/ 535901 h 783551"/>
                                                                <a:gd name="connsiteX13" fmla="*/ 48075 w 605545"/>
                                                                <a:gd name="connsiteY13" fmla="*/ 519232 h 783551"/>
                                                                <a:gd name="connsiteX14" fmla="*/ 55219 w 605545"/>
                                                                <a:gd name="connsiteY14" fmla="*/ 514470 h 783551"/>
                                                                <a:gd name="connsiteX15" fmla="*/ 69506 w 605545"/>
                                                                <a:gd name="connsiteY15" fmla="*/ 509707 h 783551"/>
                                                                <a:gd name="connsiteX16" fmla="*/ 76650 w 605545"/>
                                                                <a:gd name="connsiteY16" fmla="*/ 504945 h 783551"/>
                                                                <a:gd name="connsiteX17" fmla="*/ 90937 w 605545"/>
                                                                <a:gd name="connsiteY17" fmla="*/ 500182 h 783551"/>
                                                                <a:gd name="connsiteX18" fmla="*/ 105225 w 605545"/>
                                                                <a:gd name="connsiteY18" fmla="*/ 493039 h 783551"/>
                                                                <a:gd name="connsiteX19" fmla="*/ 109987 w 605545"/>
                                                                <a:gd name="connsiteY19" fmla="*/ 485895 h 783551"/>
                                                                <a:gd name="connsiteX20" fmla="*/ 117131 w 605545"/>
                                                                <a:gd name="connsiteY20" fmla="*/ 483514 h 783551"/>
                                                                <a:gd name="connsiteX21" fmla="*/ 124275 w 605545"/>
                                                                <a:gd name="connsiteY21" fmla="*/ 478751 h 783551"/>
                                                                <a:gd name="connsiteX22" fmla="*/ 129037 w 605545"/>
                                                                <a:gd name="connsiteY22" fmla="*/ 471607 h 783551"/>
                                                                <a:gd name="connsiteX23" fmla="*/ 138562 w 605545"/>
                                                                <a:gd name="connsiteY23" fmla="*/ 462082 h 783551"/>
                                                                <a:gd name="connsiteX24" fmla="*/ 143325 w 605545"/>
                                                                <a:gd name="connsiteY24" fmla="*/ 426364 h 783551"/>
                                                                <a:gd name="connsiteX25" fmla="*/ 145706 w 605545"/>
                                                                <a:gd name="connsiteY25" fmla="*/ 419220 h 783551"/>
                                                                <a:gd name="connsiteX26" fmla="*/ 148087 w 605545"/>
                                                                <a:gd name="connsiteY26" fmla="*/ 409695 h 783551"/>
                                                                <a:gd name="connsiteX27" fmla="*/ 145706 w 605545"/>
                                                                <a:gd name="connsiteY27" fmla="*/ 359689 h 783551"/>
                                                                <a:gd name="connsiteX28" fmla="*/ 140944 w 605545"/>
                                                                <a:gd name="connsiteY28" fmla="*/ 345401 h 783551"/>
                                                                <a:gd name="connsiteX29" fmla="*/ 124275 w 605545"/>
                                                                <a:gd name="connsiteY29" fmla="*/ 323970 h 783551"/>
                                                                <a:gd name="connsiteX30" fmla="*/ 119512 w 605545"/>
                                                                <a:gd name="connsiteY30" fmla="*/ 316826 h 783551"/>
                                                                <a:gd name="connsiteX31" fmla="*/ 117131 w 605545"/>
                                                                <a:gd name="connsiteY31" fmla="*/ 309682 h 783551"/>
                                                                <a:gd name="connsiteX32" fmla="*/ 112369 w 605545"/>
                                                                <a:gd name="connsiteY32" fmla="*/ 302539 h 783551"/>
                                                                <a:gd name="connsiteX33" fmla="*/ 107606 w 605545"/>
                                                                <a:gd name="connsiteY33" fmla="*/ 288251 h 783551"/>
                                                                <a:gd name="connsiteX34" fmla="*/ 105225 w 605545"/>
                                                                <a:gd name="connsiteY34" fmla="*/ 271582 h 783551"/>
                                                                <a:gd name="connsiteX35" fmla="*/ 102844 w 605545"/>
                                                                <a:gd name="connsiteY35" fmla="*/ 252532 h 783551"/>
                                                                <a:gd name="connsiteX36" fmla="*/ 98081 w 605545"/>
                                                                <a:gd name="connsiteY36" fmla="*/ 219195 h 783551"/>
                                                                <a:gd name="connsiteX37" fmla="*/ 93319 w 605545"/>
                                                                <a:gd name="connsiteY37" fmla="*/ 204907 h 783551"/>
                                                                <a:gd name="connsiteX38" fmla="*/ 102844 w 605545"/>
                                                                <a:gd name="connsiteY38" fmla="*/ 190620 h 783551"/>
                                                                <a:gd name="connsiteX39" fmla="*/ 109987 w 605545"/>
                                                                <a:gd name="connsiteY39" fmla="*/ 176332 h 783551"/>
                                                                <a:gd name="connsiteX40" fmla="*/ 98081 w 605545"/>
                                                                <a:gd name="connsiteY40" fmla="*/ 159664 h 783551"/>
                                                                <a:gd name="connsiteX41" fmla="*/ 86175 w 605545"/>
                                                                <a:gd name="connsiteY41" fmla="*/ 138232 h 783551"/>
                                                                <a:gd name="connsiteX42" fmla="*/ 83794 w 605545"/>
                                                                <a:gd name="connsiteY42" fmla="*/ 121564 h 783551"/>
                                                                <a:gd name="connsiteX43" fmla="*/ 76650 w 605545"/>
                                                                <a:gd name="connsiteY43" fmla="*/ 116801 h 783551"/>
                                                                <a:gd name="connsiteX44" fmla="*/ 71887 w 605545"/>
                                                                <a:gd name="connsiteY44" fmla="*/ 102514 h 783551"/>
                                                                <a:gd name="connsiteX45" fmla="*/ 69506 w 605545"/>
                                                                <a:gd name="connsiteY45" fmla="*/ 95370 h 783551"/>
                                                                <a:gd name="connsiteX46" fmla="*/ 59981 w 605545"/>
                                                                <a:gd name="connsiteY46" fmla="*/ 64414 h 783551"/>
                                                                <a:gd name="connsiteX47" fmla="*/ 52837 w 605545"/>
                                                                <a:gd name="connsiteY47" fmla="*/ 59651 h 783551"/>
                                                                <a:gd name="connsiteX48" fmla="*/ 52837 w 605545"/>
                                                                <a:gd name="connsiteY48" fmla="*/ 45364 h 783551"/>
                                                                <a:gd name="connsiteX49" fmla="*/ 59981 w 605545"/>
                                                                <a:gd name="connsiteY49" fmla="*/ 42982 h 783551"/>
                                                                <a:gd name="connsiteX50" fmla="*/ 71887 w 605545"/>
                                                                <a:gd name="connsiteY50" fmla="*/ 38220 h 783551"/>
                                                                <a:gd name="connsiteX51" fmla="*/ 93319 w 605545"/>
                                                                <a:gd name="connsiteY51" fmla="*/ 33457 h 783551"/>
                                                                <a:gd name="connsiteX52" fmla="*/ 102844 w 605545"/>
                                                                <a:gd name="connsiteY52" fmla="*/ 31076 h 783551"/>
                                                                <a:gd name="connsiteX53" fmla="*/ 107606 w 605545"/>
                                                                <a:gd name="connsiteY53" fmla="*/ 23932 h 783551"/>
                                                                <a:gd name="connsiteX54" fmla="*/ 109987 w 605545"/>
                                                                <a:gd name="connsiteY54" fmla="*/ 16789 h 783551"/>
                                                                <a:gd name="connsiteX55" fmla="*/ 117131 w 605545"/>
                                                                <a:gd name="connsiteY55" fmla="*/ 12026 h 783551"/>
                                                                <a:gd name="connsiteX56" fmla="*/ 140944 w 605545"/>
                                                                <a:gd name="connsiteY56" fmla="*/ 7264 h 783551"/>
                                                                <a:gd name="connsiteX57" fmla="*/ 148087 w 605545"/>
                                                                <a:gd name="connsiteY57" fmla="*/ 4882 h 783551"/>
                                                                <a:gd name="connsiteX58" fmla="*/ 155231 w 605545"/>
                                                                <a:gd name="connsiteY58" fmla="*/ 120 h 783551"/>
                                                                <a:gd name="connsiteX59" fmla="*/ 190950 w 605545"/>
                                                                <a:gd name="connsiteY59" fmla="*/ 2501 h 783551"/>
                                                                <a:gd name="connsiteX60" fmla="*/ 214762 w 605545"/>
                                                                <a:gd name="connsiteY60" fmla="*/ 9645 h 783551"/>
                                                                <a:gd name="connsiteX61" fmla="*/ 252862 w 605545"/>
                                                                <a:gd name="connsiteY61" fmla="*/ 12026 h 783551"/>
                                                                <a:gd name="connsiteX62" fmla="*/ 257625 w 605545"/>
                                                                <a:gd name="connsiteY62" fmla="*/ 19170 h 783551"/>
                                                                <a:gd name="connsiteX63" fmla="*/ 267150 w 605545"/>
                                                                <a:gd name="connsiteY63" fmla="*/ 40601 h 783551"/>
                                                                <a:gd name="connsiteX64" fmla="*/ 281437 w 605545"/>
                                                                <a:gd name="connsiteY64" fmla="*/ 45364 h 783551"/>
                                                                <a:gd name="connsiteX65" fmla="*/ 288581 w 605545"/>
                                                                <a:gd name="connsiteY65" fmla="*/ 52507 h 783551"/>
                                                                <a:gd name="connsiteX66" fmla="*/ 295725 w 605545"/>
                                                                <a:gd name="connsiteY66" fmla="*/ 57270 h 783551"/>
                                                                <a:gd name="connsiteX67" fmla="*/ 307631 w 605545"/>
                                                                <a:gd name="connsiteY67" fmla="*/ 76320 h 783551"/>
                                                                <a:gd name="connsiteX68" fmla="*/ 314775 w 605545"/>
                                                                <a:gd name="connsiteY68" fmla="*/ 100132 h 783551"/>
                                                                <a:gd name="connsiteX69" fmla="*/ 319537 w 605545"/>
                                                                <a:gd name="connsiteY69" fmla="*/ 128707 h 783551"/>
                                                                <a:gd name="connsiteX70" fmla="*/ 321919 w 605545"/>
                                                                <a:gd name="connsiteY70" fmla="*/ 135851 h 783551"/>
                                                                <a:gd name="connsiteX71" fmla="*/ 329062 w 605545"/>
                                                                <a:gd name="connsiteY71" fmla="*/ 142995 h 783551"/>
                                                                <a:gd name="connsiteX72" fmla="*/ 340969 w 605545"/>
                                                                <a:gd name="connsiteY72" fmla="*/ 152520 h 783551"/>
                                                                <a:gd name="connsiteX73" fmla="*/ 343350 w 605545"/>
                                                                <a:gd name="connsiteY73" fmla="*/ 159664 h 783551"/>
                                                                <a:gd name="connsiteX74" fmla="*/ 357637 w 605545"/>
                                                                <a:gd name="connsiteY74" fmla="*/ 169189 h 783551"/>
                                                                <a:gd name="connsiteX75" fmla="*/ 362400 w 605545"/>
                                                                <a:gd name="connsiteY75" fmla="*/ 176332 h 783551"/>
                                                                <a:gd name="connsiteX76" fmla="*/ 376687 w 605545"/>
                                                                <a:gd name="connsiteY76" fmla="*/ 181095 h 783551"/>
                                                                <a:gd name="connsiteX77" fmla="*/ 390975 w 605545"/>
                                                                <a:gd name="connsiteY77" fmla="*/ 188239 h 783551"/>
                                                                <a:gd name="connsiteX78" fmla="*/ 402881 w 605545"/>
                                                                <a:gd name="connsiteY78" fmla="*/ 202526 h 783551"/>
                                                                <a:gd name="connsiteX79" fmla="*/ 398119 w 605545"/>
                                                                <a:gd name="connsiteY79" fmla="*/ 219195 h 783551"/>
                                                                <a:gd name="connsiteX80" fmla="*/ 402881 w 605545"/>
                                                                <a:gd name="connsiteY80" fmla="*/ 235864 h 783551"/>
                                                                <a:gd name="connsiteX81" fmla="*/ 407644 w 605545"/>
                                                                <a:gd name="connsiteY81" fmla="*/ 243007 h 783551"/>
                                                                <a:gd name="connsiteX82" fmla="*/ 400500 w 605545"/>
                                                                <a:gd name="connsiteY82" fmla="*/ 247770 h 783551"/>
                                                                <a:gd name="connsiteX83" fmla="*/ 395737 w 605545"/>
                                                                <a:gd name="connsiteY83" fmla="*/ 254914 h 783551"/>
                                                                <a:gd name="connsiteX84" fmla="*/ 398119 w 605545"/>
                                                                <a:gd name="connsiteY84" fmla="*/ 269201 h 783551"/>
                                                                <a:gd name="connsiteX85" fmla="*/ 407644 w 605545"/>
                                                                <a:gd name="connsiteY85" fmla="*/ 273964 h 783551"/>
                                                                <a:gd name="connsiteX86" fmla="*/ 436219 w 605545"/>
                                                                <a:gd name="connsiteY86" fmla="*/ 278726 h 783551"/>
                                                                <a:gd name="connsiteX87" fmla="*/ 443362 w 605545"/>
                                                                <a:gd name="connsiteY87" fmla="*/ 281107 h 783551"/>
                                                                <a:gd name="connsiteX88" fmla="*/ 450506 w 605545"/>
                                                                <a:gd name="connsiteY88" fmla="*/ 285870 h 783551"/>
                                                                <a:gd name="connsiteX89" fmla="*/ 464794 w 605545"/>
                                                                <a:gd name="connsiteY89" fmla="*/ 290632 h 783551"/>
                                                                <a:gd name="connsiteX90" fmla="*/ 488606 w 605545"/>
                                                                <a:gd name="connsiteY90" fmla="*/ 288251 h 783551"/>
                                                                <a:gd name="connsiteX91" fmla="*/ 493369 w 605545"/>
                                                                <a:gd name="connsiteY91" fmla="*/ 295395 h 783551"/>
                                                                <a:gd name="connsiteX92" fmla="*/ 495750 w 605545"/>
                                                                <a:gd name="connsiteY92" fmla="*/ 304920 h 783551"/>
                                                                <a:gd name="connsiteX93" fmla="*/ 500512 w 605545"/>
                                                                <a:gd name="connsiteY93" fmla="*/ 295395 h 783551"/>
                                                                <a:gd name="connsiteX94" fmla="*/ 507656 w 605545"/>
                                                                <a:gd name="connsiteY94" fmla="*/ 276345 h 783551"/>
                                                                <a:gd name="connsiteX95" fmla="*/ 540994 w 605545"/>
                                                                <a:gd name="connsiteY95" fmla="*/ 281107 h 783551"/>
                                                                <a:gd name="connsiteX96" fmla="*/ 555281 w 605545"/>
                                                                <a:gd name="connsiteY96" fmla="*/ 290632 h 783551"/>
                                                                <a:gd name="connsiteX97" fmla="*/ 560044 w 605545"/>
                                                                <a:gd name="connsiteY97" fmla="*/ 297776 h 783551"/>
                                                                <a:gd name="connsiteX98" fmla="*/ 552900 w 605545"/>
                                                                <a:gd name="connsiteY98" fmla="*/ 300157 h 783551"/>
                                                                <a:gd name="connsiteX99" fmla="*/ 545756 w 605545"/>
                                                                <a:gd name="connsiteY99" fmla="*/ 304920 h 783551"/>
                                                                <a:gd name="connsiteX100" fmla="*/ 543375 w 605545"/>
                                                                <a:gd name="connsiteY100" fmla="*/ 326351 h 783551"/>
                                                                <a:gd name="connsiteX101" fmla="*/ 552900 w 605545"/>
                                                                <a:gd name="connsiteY101" fmla="*/ 333495 h 783551"/>
                                                                <a:gd name="connsiteX102" fmla="*/ 557662 w 605545"/>
                                                                <a:gd name="connsiteY102" fmla="*/ 340639 h 783551"/>
                                                                <a:gd name="connsiteX103" fmla="*/ 557662 w 605545"/>
                                                                <a:gd name="connsiteY103" fmla="*/ 364451 h 783551"/>
                                                                <a:gd name="connsiteX104" fmla="*/ 548137 w 605545"/>
                                                                <a:gd name="connsiteY104" fmla="*/ 378739 h 783551"/>
                                                                <a:gd name="connsiteX105" fmla="*/ 543375 w 605545"/>
                                                                <a:gd name="connsiteY105" fmla="*/ 385882 h 783551"/>
                                                                <a:gd name="connsiteX106" fmla="*/ 540994 w 605545"/>
                                                                <a:gd name="connsiteY106" fmla="*/ 393026 h 783551"/>
                                                                <a:gd name="connsiteX107" fmla="*/ 538612 w 605545"/>
                                                                <a:gd name="connsiteY107" fmla="*/ 407314 h 783551"/>
                                                                <a:gd name="connsiteX108" fmla="*/ 531469 w 605545"/>
                                                                <a:gd name="connsiteY108" fmla="*/ 412076 h 783551"/>
                                                                <a:gd name="connsiteX109" fmla="*/ 526706 w 605545"/>
                                                                <a:gd name="connsiteY109" fmla="*/ 419220 h 783551"/>
                                                                <a:gd name="connsiteX110" fmla="*/ 526706 w 605545"/>
                                                                <a:gd name="connsiteY110" fmla="*/ 445414 h 783551"/>
                                                                <a:gd name="connsiteX111" fmla="*/ 531469 w 605545"/>
                                                                <a:gd name="connsiteY111" fmla="*/ 452557 h 783551"/>
                                                                <a:gd name="connsiteX112" fmla="*/ 545756 w 605545"/>
                                                                <a:gd name="connsiteY112" fmla="*/ 459701 h 783551"/>
                                                                <a:gd name="connsiteX113" fmla="*/ 548137 w 605545"/>
                                                                <a:gd name="connsiteY113" fmla="*/ 466845 h 783551"/>
                                                                <a:gd name="connsiteX114" fmla="*/ 550519 w 605545"/>
                                                                <a:gd name="connsiteY114" fmla="*/ 500182 h 783551"/>
                                                                <a:gd name="connsiteX115" fmla="*/ 564806 w 605545"/>
                                                                <a:gd name="connsiteY115" fmla="*/ 509707 h 783551"/>
                                                                <a:gd name="connsiteX116" fmla="*/ 574331 w 605545"/>
                                                                <a:gd name="connsiteY116" fmla="*/ 526376 h 783551"/>
                                                                <a:gd name="connsiteX117" fmla="*/ 581475 w 605545"/>
                                                                <a:gd name="connsiteY117" fmla="*/ 533520 h 783551"/>
                                                                <a:gd name="connsiteX118" fmla="*/ 586237 w 605545"/>
                                                                <a:gd name="connsiteY118" fmla="*/ 540664 h 783551"/>
                                                                <a:gd name="connsiteX119" fmla="*/ 595762 w 605545"/>
                                                                <a:gd name="connsiteY119" fmla="*/ 545426 h 783551"/>
                                                                <a:gd name="connsiteX120" fmla="*/ 605287 w 605545"/>
                                                                <a:gd name="connsiteY120" fmla="*/ 559714 h 783551"/>
                                                                <a:gd name="connsiteX121" fmla="*/ 600525 w 605545"/>
                                                                <a:gd name="connsiteY121" fmla="*/ 574001 h 783551"/>
                                                                <a:gd name="connsiteX122" fmla="*/ 586237 w 605545"/>
                                                                <a:gd name="connsiteY122" fmla="*/ 583526 h 783551"/>
                                                                <a:gd name="connsiteX123" fmla="*/ 571950 w 605545"/>
                                                                <a:gd name="connsiteY123" fmla="*/ 595432 h 783551"/>
                                                                <a:gd name="connsiteX124" fmla="*/ 569569 w 605545"/>
                                                                <a:gd name="connsiteY124" fmla="*/ 604957 h 783551"/>
                                                                <a:gd name="connsiteX125" fmla="*/ 562425 w 605545"/>
                                                                <a:gd name="connsiteY125" fmla="*/ 607339 h 783551"/>
                                                                <a:gd name="connsiteX126" fmla="*/ 540994 w 605545"/>
                                                                <a:gd name="connsiteY126" fmla="*/ 609720 h 783551"/>
                                                                <a:gd name="connsiteX127" fmla="*/ 538612 w 605545"/>
                                                                <a:gd name="connsiteY127" fmla="*/ 645439 h 783551"/>
                                                                <a:gd name="connsiteX128" fmla="*/ 548137 w 605545"/>
                                                                <a:gd name="connsiteY128" fmla="*/ 669251 h 783551"/>
                                                                <a:gd name="connsiteX129" fmla="*/ 548137 w 605545"/>
                                                                <a:gd name="connsiteY129" fmla="*/ 690682 h 783551"/>
                                                                <a:gd name="connsiteX130" fmla="*/ 540994 w 605545"/>
                                                                <a:gd name="connsiteY130" fmla="*/ 697826 h 783551"/>
                                                                <a:gd name="connsiteX131" fmla="*/ 536231 w 605545"/>
                                                                <a:gd name="connsiteY131" fmla="*/ 704970 h 783551"/>
                                                                <a:gd name="connsiteX132" fmla="*/ 521944 w 605545"/>
                                                                <a:gd name="connsiteY132" fmla="*/ 712114 h 783551"/>
                                                                <a:gd name="connsiteX133" fmla="*/ 488606 w 605545"/>
                                                                <a:gd name="connsiteY133" fmla="*/ 709732 h 783551"/>
                                                                <a:gd name="connsiteX134" fmla="*/ 481462 w 605545"/>
                                                                <a:gd name="connsiteY134" fmla="*/ 702589 h 783551"/>
                                                                <a:gd name="connsiteX135" fmla="*/ 464794 w 605545"/>
                                                                <a:gd name="connsiteY135" fmla="*/ 697826 h 783551"/>
                                                                <a:gd name="connsiteX136" fmla="*/ 438600 w 605545"/>
                                                                <a:gd name="connsiteY136" fmla="*/ 693064 h 783551"/>
                                                                <a:gd name="connsiteX137" fmla="*/ 433837 w 605545"/>
                                                                <a:gd name="connsiteY137" fmla="*/ 685920 h 783551"/>
                                                                <a:gd name="connsiteX138" fmla="*/ 419550 w 605545"/>
                                                                <a:gd name="connsiteY138" fmla="*/ 681157 h 783551"/>
                                                                <a:gd name="connsiteX139" fmla="*/ 400500 w 605545"/>
                                                                <a:gd name="connsiteY139" fmla="*/ 688301 h 783551"/>
                                                                <a:gd name="connsiteX140" fmla="*/ 390975 w 605545"/>
                                                                <a:gd name="connsiteY140" fmla="*/ 700207 h 783551"/>
                                                                <a:gd name="connsiteX141" fmla="*/ 367162 w 605545"/>
                                                                <a:gd name="connsiteY141" fmla="*/ 704970 h 783551"/>
                                                                <a:gd name="connsiteX142" fmla="*/ 338587 w 605545"/>
                                                                <a:gd name="connsiteY142" fmla="*/ 707351 h 783551"/>
                                                                <a:gd name="connsiteX143" fmla="*/ 331444 w 605545"/>
                                                                <a:gd name="connsiteY143" fmla="*/ 712114 h 783551"/>
                                                                <a:gd name="connsiteX144" fmla="*/ 326681 w 605545"/>
                                                                <a:gd name="connsiteY144" fmla="*/ 719257 h 783551"/>
                                                                <a:gd name="connsiteX145" fmla="*/ 319537 w 605545"/>
                                                                <a:gd name="connsiteY145" fmla="*/ 721639 h 783551"/>
                                                                <a:gd name="connsiteX146" fmla="*/ 300487 w 605545"/>
                                                                <a:gd name="connsiteY146" fmla="*/ 750214 h 783551"/>
                                                                <a:gd name="connsiteX147" fmla="*/ 295725 w 605545"/>
                                                                <a:gd name="connsiteY147" fmla="*/ 757357 h 783551"/>
                                                                <a:gd name="connsiteX148" fmla="*/ 288581 w 605545"/>
                                                                <a:gd name="connsiteY148" fmla="*/ 762120 h 783551"/>
                                                                <a:gd name="connsiteX149" fmla="*/ 286200 w 605545"/>
                                                                <a:gd name="connsiteY149" fmla="*/ 754976 h 783551"/>
                                                                <a:gd name="connsiteX150" fmla="*/ 279056 w 605545"/>
                                                                <a:gd name="connsiteY150" fmla="*/ 735926 h 783551"/>
                                                                <a:gd name="connsiteX151" fmla="*/ 271912 w 605545"/>
                                                                <a:gd name="connsiteY151" fmla="*/ 731164 h 783551"/>
                                                                <a:gd name="connsiteX152" fmla="*/ 264769 w 605545"/>
                                                                <a:gd name="connsiteY152" fmla="*/ 724020 h 783551"/>
                                                                <a:gd name="connsiteX153" fmla="*/ 250481 w 605545"/>
                                                                <a:gd name="connsiteY153" fmla="*/ 719257 h 783551"/>
                                                                <a:gd name="connsiteX154" fmla="*/ 243337 w 605545"/>
                                                                <a:gd name="connsiteY154" fmla="*/ 685920 h 783551"/>
                                                                <a:gd name="connsiteX155" fmla="*/ 238575 w 605545"/>
                                                                <a:gd name="connsiteY155" fmla="*/ 671632 h 783551"/>
                                                                <a:gd name="connsiteX156" fmla="*/ 221906 w 605545"/>
                                                                <a:gd name="connsiteY156" fmla="*/ 666870 h 783551"/>
                                                                <a:gd name="connsiteX157" fmla="*/ 205237 w 605545"/>
                                                                <a:gd name="connsiteY157" fmla="*/ 671632 h 783551"/>
                                                                <a:gd name="connsiteX158" fmla="*/ 190950 w 605545"/>
                                                                <a:gd name="connsiteY158" fmla="*/ 678776 h 783551"/>
                                                                <a:gd name="connsiteX159" fmla="*/ 176662 w 605545"/>
                                                                <a:gd name="connsiteY159" fmla="*/ 671632 h 783551"/>
                                                                <a:gd name="connsiteX160" fmla="*/ 174281 w 605545"/>
                                                                <a:gd name="connsiteY160" fmla="*/ 664489 h 783551"/>
                                                                <a:gd name="connsiteX161" fmla="*/ 174281 w 605545"/>
                                                                <a:gd name="connsiteY161" fmla="*/ 650201 h 783551"/>
                                                                <a:gd name="connsiteX162" fmla="*/ 167137 w 605545"/>
                                                                <a:gd name="connsiteY162" fmla="*/ 652582 h 783551"/>
                                                                <a:gd name="connsiteX163" fmla="*/ 155231 w 605545"/>
                                                                <a:gd name="connsiteY163" fmla="*/ 664489 h 783551"/>
                                                                <a:gd name="connsiteX164" fmla="*/ 152850 w 605545"/>
                                                                <a:gd name="connsiteY164" fmla="*/ 671632 h 783551"/>
                                                                <a:gd name="connsiteX165" fmla="*/ 138562 w 605545"/>
                                                                <a:gd name="connsiteY165" fmla="*/ 681157 h 783551"/>
                                                                <a:gd name="connsiteX166" fmla="*/ 129037 w 605545"/>
                                                                <a:gd name="connsiteY166" fmla="*/ 693064 h 783551"/>
                                                                <a:gd name="connsiteX167" fmla="*/ 126656 w 605545"/>
                                                                <a:gd name="connsiteY167" fmla="*/ 700207 h 783551"/>
                                                                <a:gd name="connsiteX168" fmla="*/ 119512 w 605545"/>
                                                                <a:gd name="connsiteY168" fmla="*/ 716876 h 783551"/>
                                                                <a:gd name="connsiteX169" fmla="*/ 124275 w 605545"/>
                                                                <a:gd name="connsiteY169" fmla="*/ 735926 h 783551"/>
                                                                <a:gd name="connsiteX170" fmla="*/ 131419 w 605545"/>
                                                                <a:gd name="connsiteY170" fmla="*/ 750214 h 783551"/>
                                                                <a:gd name="connsiteX171" fmla="*/ 126656 w 605545"/>
                                                                <a:gd name="connsiteY171" fmla="*/ 776407 h 783551"/>
                                                                <a:gd name="connsiteX172" fmla="*/ 121894 w 605545"/>
                                                                <a:gd name="connsiteY172" fmla="*/ 783551 h 783551"/>
                                                                <a:gd name="connsiteX173" fmla="*/ 114750 w 605545"/>
                                                                <a:gd name="connsiteY173" fmla="*/ 781170 h 783551"/>
                                                                <a:gd name="connsiteX174" fmla="*/ 100462 w 605545"/>
                                                                <a:gd name="connsiteY174" fmla="*/ 752595 h 783551"/>
                                                                <a:gd name="connsiteX175" fmla="*/ 88556 w 605545"/>
                                                                <a:gd name="connsiteY175" fmla="*/ 740689 h 783551"/>
                                                                <a:gd name="connsiteX176" fmla="*/ 79031 w 605545"/>
                                                                <a:gd name="connsiteY176" fmla="*/ 731164 h 783551"/>
                                                                <a:gd name="connsiteX177" fmla="*/ 74269 w 605545"/>
                                                                <a:gd name="connsiteY177" fmla="*/ 724020 h 783551"/>
                                                                <a:gd name="connsiteX178" fmla="*/ 67125 w 605545"/>
                                                                <a:gd name="connsiteY178" fmla="*/ 719257 h 783551"/>
                                                                <a:gd name="connsiteX179" fmla="*/ 55219 w 605545"/>
                                                                <a:gd name="connsiteY179" fmla="*/ 709732 h 783551"/>
                                                                <a:gd name="connsiteX180" fmla="*/ 40931 w 605545"/>
                                                                <a:gd name="connsiteY180" fmla="*/ 700207 h 783551"/>
                                                                <a:gd name="connsiteX181" fmla="*/ 36169 w 605545"/>
                                                                <a:gd name="connsiteY181" fmla="*/ 693064 h 783551"/>
                                                                <a:gd name="connsiteX182" fmla="*/ 24262 w 605545"/>
                                                                <a:gd name="connsiteY182" fmla="*/ 683539 h 783551"/>
                                                                <a:gd name="connsiteX183" fmla="*/ 19500 w 605545"/>
                                                                <a:gd name="connsiteY183" fmla="*/ 678776 h 78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605545" h="783551">
                                                                  <a:moveTo>
                                                                    <a:pt x="19500" y="678776"/>
                                                                  </a:moveTo>
                                                                  <a:lnTo>
                                                                    <a:pt x="19500" y="678776"/>
                                                                  </a:lnTo>
                                                                  <a:cubicBezTo>
                                                                    <a:pt x="18706" y="670839"/>
                                                                    <a:pt x="18589" y="662804"/>
                                                                    <a:pt x="17119" y="654964"/>
                                                                  </a:cubicBezTo>
                                                                  <a:cubicBezTo>
                                                                    <a:pt x="16194" y="650030"/>
                                                                    <a:pt x="13944" y="645439"/>
                                                                    <a:pt x="12356" y="640676"/>
                                                                  </a:cubicBezTo>
                                                                  <a:lnTo>
                                                                    <a:pt x="9975" y="633532"/>
                                                                  </a:lnTo>
                                                                  <a:cubicBezTo>
                                                                    <a:pt x="9181" y="631151"/>
                                                                    <a:pt x="8007" y="628865"/>
                                                                    <a:pt x="7594" y="626389"/>
                                                                  </a:cubicBezTo>
                                                                  <a:cubicBezTo>
                                                                    <a:pt x="6800" y="621626"/>
                                                                    <a:pt x="6259" y="616814"/>
                                                                    <a:pt x="5212" y="612101"/>
                                                                  </a:cubicBezTo>
                                                                  <a:cubicBezTo>
                                                                    <a:pt x="4667" y="609651"/>
                                                                    <a:pt x="3521" y="607371"/>
                                                                    <a:pt x="2831" y="604957"/>
                                                                  </a:cubicBezTo>
                                                                  <a:cubicBezTo>
                                                                    <a:pt x="1932" y="601810"/>
                                                                    <a:pt x="1244" y="598607"/>
                                                                    <a:pt x="450" y="595432"/>
                                                                  </a:cubicBezTo>
                                                                  <a:cubicBezTo>
                                                                    <a:pt x="1259" y="582494"/>
                                                                    <a:pt x="-3835" y="561618"/>
                                                                    <a:pt x="7594" y="550189"/>
                                                                  </a:cubicBezTo>
                                                                  <a:cubicBezTo>
                                                                    <a:pt x="9618" y="548165"/>
                                                                    <a:pt x="12177" y="546706"/>
                                                                    <a:pt x="14737" y="545426"/>
                                                                  </a:cubicBezTo>
                                                                  <a:cubicBezTo>
                                                                    <a:pt x="16982" y="544303"/>
                                                                    <a:pt x="19500" y="543839"/>
                                                                    <a:pt x="21881" y="543045"/>
                                                                  </a:cubicBezTo>
                                                                  <a:cubicBezTo>
                                                                    <a:pt x="23469" y="540664"/>
                                                                    <a:pt x="24812" y="538100"/>
                                                                    <a:pt x="26644" y="535901"/>
                                                                  </a:cubicBezTo>
                                                                  <a:cubicBezTo>
                                                                    <a:pt x="33640" y="527506"/>
                                                                    <a:pt x="38114" y="525872"/>
                                                                    <a:pt x="48075" y="519232"/>
                                                                  </a:cubicBezTo>
                                                                  <a:cubicBezTo>
                                                                    <a:pt x="50456" y="517645"/>
                                                                    <a:pt x="52504" y="515375"/>
                                                                    <a:pt x="55219" y="514470"/>
                                                                  </a:cubicBezTo>
                                                                  <a:cubicBezTo>
                                                                    <a:pt x="59981" y="512882"/>
                                                                    <a:pt x="65329" y="512491"/>
                                                                    <a:pt x="69506" y="509707"/>
                                                                  </a:cubicBezTo>
                                                                  <a:cubicBezTo>
                                                                    <a:pt x="71887" y="508120"/>
                                                                    <a:pt x="74035" y="506107"/>
                                                                    <a:pt x="76650" y="504945"/>
                                                                  </a:cubicBezTo>
                                                                  <a:cubicBezTo>
                                                                    <a:pt x="81237" y="502906"/>
                                                                    <a:pt x="86760" y="502966"/>
                                                                    <a:pt x="90937" y="500182"/>
                                                                  </a:cubicBezTo>
                                                                  <a:cubicBezTo>
                                                                    <a:pt x="100170" y="494028"/>
                                                                    <a:pt x="95366" y="496325"/>
                                                                    <a:pt x="105225" y="493039"/>
                                                                  </a:cubicBezTo>
                                                                  <a:cubicBezTo>
                                                                    <a:pt x="106812" y="490658"/>
                                                                    <a:pt x="107752" y="487683"/>
                                                                    <a:pt x="109987" y="485895"/>
                                                                  </a:cubicBezTo>
                                                                  <a:cubicBezTo>
                                                                    <a:pt x="111947" y="484327"/>
                                                                    <a:pt x="114886" y="484637"/>
                                                                    <a:pt x="117131" y="483514"/>
                                                                  </a:cubicBezTo>
                                                                  <a:cubicBezTo>
                                                                    <a:pt x="119691" y="482234"/>
                                                                    <a:pt x="121894" y="480339"/>
                                                                    <a:pt x="124275" y="478751"/>
                                                                  </a:cubicBezTo>
                                                                  <a:cubicBezTo>
                                                                    <a:pt x="125862" y="476370"/>
                                                                    <a:pt x="126802" y="473395"/>
                                                                    <a:pt x="129037" y="471607"/>
                                                                  </a:cubicBezTo>
                                                                  <a:cubicBezTo>
                                                                    <a:pt x="140583" y="462370"/>
                                                                    <a:pt x="133367" y="477669"/>
                                                                    <a:pt x="138562" y="462082"/>
                                                                  </a:cubicBezTo>
                                                                  <a:cubicBezTo>
                                                                    <a:pt x="139708" y="451770"/>
                                                                    <a:pt x="140951" y="437049"/>
                                                                    <a:pt x="143325" y="426364"/>
                                                                  </a:cubicBezTo>
                                                                  <a:cubicBezTo>
                                                                    <a:pt x="143869" y="423914"/>
                                                                    <a:pt x="145016" y="421634"/>
                                                                    <a:pt x="145706" y="419220"/>
                                                                  </a:cubicBezTo>
                                                                  <a:cubicBezTo>
                                                                    <a:pt x="146605" y="416073"/>
                                                                    <a:pt x="147293" y="412870"/>
                                                                    <a:pt x="148087" y="409695"/>
                                                                  </a:cubicBezTo>
                                                                  <a:cubicBezTo>
                                                                    <a:pt x="147293" y="393026"/>
                                                                    <a:pt x="147549" y="376275"/>
                                                                    <a:pt x="145706" y="359689"/>
                                                                  </a:cubicBezTo>
                                                                  <a:cubicBezTo>
                                                                    <a:pt x="145152" y="354699"/>
                                                                    <a:pt x="144494" y="348951"/>
                                                                    <a:pt x="140944" y="345401"/>
                                                                  </a:cubicBezTo>
                                                                  <a:cubicBezTo>
                                                                    <a:pt x="129753" y="334210"/>
                                                                    <a:pt x="135669" y="341059"/>
                                                                    <a:pt x="124275" y="323970"/>
                                                                  </a:cubicBezTo>
                                                                  <a:lnTo>
                                                                    <a:pt x="119512" y="316826"/>
                                                                  </a:lnTo>
                                                                  <a:cubicBezTo>
                                                                    <a:pt x="118718" y="314445"/>
                                                                    <a:pt x="118253" y="311927"/>
                                                                    <a:pt x="117131" y="309682"/>
                                                                  </a:cubicBezTo>
                                                                  <a:cubicBezTo>
                                                                    <a:pt x="115851" y="307122"/>
                                                                    <a:pt x="113531" y="305154"/>
                                                                    <a:pt x="112369" y="302539"/>
                                                                  </a:cubicBezTo>
                                                                  <a:cubicBezTo>
                                                                    <a:pt x="110330" y="297951"/>
                                                                    <a:pt x="107606" y="288251"/>
                                                                    <a:pt x="107606" y="288251"/>
                                                                  </a:cubicBezTo>
                                                                  <a:cubicBezTo>
                                                                    <a:pt x="106812" y="282695"/>
                                                                    <a:pt x="105967" y="277146"/>
                                                                    <a:pt x="105225" y="271582"/>
                                                                  </a:cubicBezTo>
                                                                  <a:cubicBezTo>
                                                                    <a:pt x="104379" y="265239"/>
                                                                    <a:pt x="103709" y="258873"/>
                                                                    <a:pt x="102844" y="252532"/>
                                                                  </a:cubicBezTo>
                                                                  <a:cubicBezTo>
                                                                    <a:pt x="101327" y="241410"/>
                                                                    <a:pt x="101630" y="229844"/>
                                                                    <a:pt x="98081" y="219195"/>
                                                                  </a:cubicBezTo>
                                                                  <a:lnTo>
                                                                    <a:pt x="93319" y="204907"/>
                                                                  </a:lnTo>
                                                                  <a:cubicBezTo>
                                                                    <a:pt x="97504" y="192353"/>
                                                                    <a:pt x="92934" y="202513"/>
                                                                    <a:pt x="102844" y="190620"/>
                                                                  </a:cubicBezTo>
                                                                  <a:cubicBezTo>
                                                                    <a:pt x="107972" y="184466"/>
                                                                    <a:pt x="107601" y="183491"/>
                                                                    <a:pt x="109987" y="176332"/>
                                                                  </a:cubicBezTo>
                                                                  <a:cubicBezTo>
                                                                    <a:pt x="104431" y="159664"/>
                                                                    <a:pt x="109987" y="163632"/>
                                                                    <a:pt x="98081" y="159664"/>
                                                                  </a:cubicBezTo>
                                                                  <a:cubicBezTo>
                                                                    <a:pt x="87164" y="143287"/>
                                                                    <a:pt x="90366" y="150806"/>
                                                                    <a:pt x="86175" y="138232"/>
                                                                  </a:cubicBezTo>
                                                                  <a:cubicBezTo>
                                                                    <a:pt x="85381" y="132676"/>
                                                                    <a:pt x="86073" y="126693"/>
                                                                    <a:pt x="83794" y="121564"/>
                                                                  </a:cubicBezTo>
                                                                  <a:cubicBezTo>
                                                                    <a:pt x="82632" y="118949"/>
                                                                    <a:pt x="78167" y="119228"/>
                                                                    <a:pt x="76650" y="116801"/>
                                                                  </a:cubicBezTo>
                                                                  <a:cubicBezTo>
                                                                    <a:pt x="73989" y="112544"/>
                                                                    <a:pt x="73475" y="107276"/>
                                                                    <a:pt x="71887" y="102514"/>
                                                                  </a:cubicBezTo>
                                                                  <a:cubicBezTo>
                                                                    <a:pt x="71093" y="100133"/>
                                                                    <a:pt x="69998" y="97831"/>
                                                                    <a:pt x="69506" y="95370"/>
                                                                  </a:cubicBezTo>
                                                                  <a:cubicBezTo>
                                                                    <a:pt x="67453" y="85102"/>
                                                                    <a:pt x="68079" y="72511"/>
                                                                    <a:pt x="59981" y="64414"/>
                                                                  </a:cubicBezTo>
                                                                  <a:cubicBezTo>
                                                                    <a:pt x="57957" y="62390"/>
                                                                    <a:pt x="55218" y="61239"/>
                                                                    <a:pt x="52837" y="59651"/>
                                                                  </a:cubicBezTo>
                                                                  <a:cubicBezTo>
                                                                    <a:pt x="51250" y="54889"/>
                                                                    <a:pt x="48075" y="50126"/>
                                                                    <a:pt x="52837" y="45364"/>
                                                                  </a:cubicBezTo>
                                                                  <a:cubicBezTo>
                                                                    <a:pt x="54612" y="43589"/>
                                                                    <a:pt x="57631" y="43863"/>
                                                                    <a:pt x="59981" y="42982"/>
                                                                  </a:cubicBezTo>
                                                                  <a:cubicBezTo>
                                                                    <a:pt x="63983" y="41481"/>
                                                                    <a:pt x="67832" y="39572"/>
                                                                    <a:pt x="71887" y="38220"/>
                                                                  </a:cubicBezTo>
                                                                  <a:cubicBezTo>
                                                                    <a:pt x="77688" y="36287"/>
                                                                    <a:pt x="87665" y="34713"/>
                                                                    <a:pt x="93319" y="33457"/>
                                                                  </a:cubicBezTo>
                                                                  <a:cubicBezTo>
                                                                    <a:pt x="96514" y="32747"/>
                                                                    <a:pt x="99669" y="31870"/>
                                                                    <a:pt x="102844" y="31076"/>
                                                                  </a:cubicBezTo>
                                                                  <a:cubicBezTo>
                                                                    <a:pt x="104431" y="28695"/>
                                                                    <a:pt x="106326" y="26492"/>
                                                                    <a:pt x="107606" y="23932"/>
                                                                  </a:cubicBezTo>
                                                                  <a:cubicBezTo>
                                                                    <a:pt x="108728" y="21687"/>
                                                                    <a:pt x="108419" y="18749"/>
                                                                    <a:pt x="109987" y="16789"/>
                                                                  </a:cubicBezTo>
                                                                  <a:cubicBezTo>
                                                                    <a:pt x="111775" y="14554"/>
                                                                    <a:pt x="114571" y="13306"/>
                                                                    <a:pt x="117131" y="12026"/>
                                                                  </a:cubicBezTo>
                                                                  <a:cubicBezTo>
                                                                    <a:pt x="123780" y="8702"/>
                                                                    <a:pt x="134804" y="8141"/>
                                                                    <a:pt x="140944" y="7264"/>
                                                                  </a:cubicBezTo>
                                                                  <a:cubicBezTo>
                                                                    <a:pt x="143325" y="6470"/>
                                                                    <a:pt x="145842" y="6005"/>
                                                                    <a:pt x="148087" y="4882"/>
                                                                  </a:cubicBezTo>
                                                                  <a:cubicBezTo>
                                                                    <a:pt x="150647" y="3602"/>
                                                                    <a:pt x="152374" y="279"/>
                                                                    <a:pt x="155231" y="120"/>
                                                                  </a:cubicBezTo>
                                                                  <a:cubicBezTo>
                                                                    <a:pt x="167145" y="-542"/>
                                                                    <a:pt x="179044" y="1707"/>
                                                                    <a:pt x="190950" y="2501"/>
                                                                  </a:cubicBezTo>
                                                                  <a:cubicBezTo>
                                                                    <a:pt x="194152" y="3568"/>
                                                                    <a:pt x="209618" y="9131"/>
                                                                    <a:pt x="214762" y="9645"/>
                                                                  </a:cubicBezTo>
                                                                  <a:cubicBezTo>
                                                                    <a:pt x="227424" y="10911"/>
                                                                    <a:pt x="240162" y="11232"/>
                                                                    <a:pt x="252862" y="12026"/>
                                                                  </a:cubicBezTo>
                                                                  <a:cubicBezTo>
                                                                    <a:pt x="254450" y="14407"/>
                                                                    <a:pt x="256463" y="16555"/>
                                                                    <a:pt x="257625" y="19170"/>
                                                                  </a:cubicBezTo>
                                                                  <a:cubicBezTo>
                                                                    <a:pt x="258781" y="21771"/>
                                                                    <a:pt x="262174" y="37491"/>
                                                                    <a:pt x="267150" y="40601"/>
                                                                  </a:cubicBezTo>
                                                                  <a:cubicBezTo>
                                                                    <a:pt x="271407" y="43262"/>
                                                                    <a:pt x="281437" y="45364"/>
                                                                    <a:pt x="281437" y="45364"/>
                                                                  </a:cubicBezTo>
                                                                  <a:cubicBezTo>
                                                                    <a:pt x="283818" y="47745"/>
                                                                    <a:pt x="285994" y="50351"/>
                                                                    <a:pt x="288581" y="52507"/>
                                                                  </a:cubicBezTo>
                                                                  <a:cubicBezTo>
                                                                    <a:pt x="290780" y="54339"/>
                                                                    <a:pt x="294208" y="54843"/>
                                                                    <a:pt x="295725" y="57270"/>
                                                                  </a:cubicBezTo>
                                                                  <a:cubicBezTo>
                                                                    <a:pt x="309894" y="79940"/>
                                                                    <a:pt x="291463" y="65541"/>
                                                                    <a:pt x="307631" y="76320"/>
                                                                  </a:cubicBezTo>
                                                                  <a:cubicBezTo>
                                                                    <a:pt x="318971" y="93330"/>
                                                                    <a:pt x="318544" y="85054"/>
                                                                    <a:pt x="314775" y="100132"/>
                                                                  </a:cubicBezTo>
                                                                  <a:cubicBezTo>
                                                                    <a:pt x="316706" y="115584"/>
                                                                    <a:pt x="316042" y="116474"/>
                                                                    <a:pt x="319537" y="128707"/>
                                                                  </a:cubicBezTo>
                                                                  <a:cubicBezTo>
                                                                    <a:pt x="320227" y="131121"/>
                                                                    <a:pt x="320527" y="133762"/>
                                                                    <a:pt x="321919" y="135851"/>
                                                                  </a:cubicBezTo>
                                                                  <a:cubicBezTo>
                                                                    <a:pt x="323787" y="138653"/>
                                                                    <a:pt x="326906" y="140408"/>
                                                                    <a:pt x="329062" y="142995"/>
                                                                  </a:cubicBezTo>
                                                                  <a:cubicBezTo>
                                                                    <a:pt x="337347" y="152937"/>
                                                                    <a:pt x="329242" y="148612"/>
                                                                    <a:pt x="340969" y="152520"/>
                                                                  </a:cubicBezTo>
                                                                  <a:cubicBezTo>
                                                                    <a:pt x="341763" y="154901"/>
                                                                    <a:pt x="341575" y="157889"/>
                                                                    <a:pt x="343350" y="159664"/>
                                                                  </a:cubicBezTo>
                                                                  <a:cubicBezTo>
                                                                    <a:pt x="347397" y="163711"/>
                                                                    <a:pt x="357637" y="169189"/>
                                                                    <a:pt x="357637" y="169189"/>
                                                                  </a:cubicBezTo>
                                                                  <a:cubicBezTo>
                                                                    <a:pt x="359225" y="171570"/>
                                                                    <a:pt x="359973" y="174815"/>
                                                                    <a:pt x="362400" y="176332"/>
                                                                  </a:cubicBezTo>
                                                                  <a:cubicBezTo>
                                                                    <a:pt x="366657" y="178993"/>
                                                                    <a:pt x="372510" y="178311"/>
                                                                    <a:pt x="376687" y="181095"/>
                                                                  </a:cubicBezTo>
                                                                  <a:cubicBezTo>
                                                                    <a:pt x="385920" y="187249"/>
                                                                    <a:pt x="381116" y="184952"/>
                                                                    <a:pt x="390975" y="188239"/>
                                                                  </a:cubicBezTo>
                                                                  <a:cubicBezTo>
                                                                    <a:pt x="392992" y="190256"/>
                                                                    <a:pt x="402328" y="198656"/>
                                                                    <a:pt x="402881" y="202526"/>
                                                                  </a:cubicBezTo>
                                                                  <a:cubicBezTo>
                                                                    <a:pt x="403180" y="204619"/>
                                                                    <a:pt x="399012" y="216514"/>
                                                                    <a:pt x="398119" y="219195"/>
                                                                  </a:cubicBezTo>
                                                                  <a:cubicBezTo>
                                                                    <a:pt x="398881" y="222245"/>
                                                                    <a:pt x="401174" y="232449"/>
                                                                    <a:pt x="402881" y="235864"/>
                                                                  </a:cubicBezTo>
                                                                  <a:cubicBezTo>
                                                                    <a:pt x="404161" y="238424"/>
                                                                    <a:pt x="406056" y="240626"/>
                                                                    <a:pt x="407644" y="243007"/>
                                                                  </a:cubicBezTo>
                                                                  <a:cubicBezTo>
                                                                    <a:pt x="405263" y="244595"/>
                                                                    <a:pt x="402524" y="245746"/>
                                                                    <a:pt x="400500" y="247770"/>
                                                                  </a:cubicBezTo>
                                                                  <a:cubicBezTo>
                                                                    <a:pt x="398476" y="249794"/>
                                                                    <a:pt x="396053" y="252069"/>
                                                                    <a:pt x="395737" y="254914"/>
                                                                  </a:cubicBezTo>
                                                                  <a:cubicBezTo>
                                                                    <a:pt x="395204" y="259713"/>
                                                                    <a:pt x="395560" y="265107"/>
                                                                    <a:pt x="398119" y="269201"/>
                                                                  </a:cubicBezTo>
                                                                  <a:cubicBezTo>
                                                                    <a:pt x="400000" y="272211"/>
                                                                    <a:pt x="404276" y="272841"/>
                                                                    <a:pt x="407644" y="273964"/>
                                                                  </a:cubicBezTo>
                                                                  <a:cubicBezTo>
                                                                    <a:pt x="412866" y="275705"/>
                                                                    <a:pt x="432445" y="278187"/>
                                                                    <a:pt x="436219" y="278726"/>
                                                                  </a:cubicBezTo>
                                                                  <a:cubicBezTo>
                                                                    <a:pt x="438600" y="279520"/>
                                                                    <a:pt x="441117" y="279985"/>
                                                                    <a:pt x="443362" y="281107"/>
                                                                  </a:cubicBezTo>
                                                                  <a:cubicBezTo>
                                                                    <a:pt x="445922" y="282387"/>
                                                                    <a:pt x="447891" y="284708"/>
                                                                    <a:pt x="450506" y="285870"/>
                                                                  </a:cubicBezTo>
                                                                  <a:cubicBezTo>
                                                                    <a:pt x="455094" y="287909"/>
                                                                    <a:pt x="464794" y="290632"/>
                                                                    <a:pt x="464794" y="290632"/>
                                                                  </a:cubicBezTo>
                                                                  <a:cubicBezTo>
                                                                    <a:pt x="473908" y="284556"/>
                                                                    <a:pt x="474398" y="281936"/>
                                                                    <a:pt x="488606" y="288251"/>
                                                                  </a:cubicBezTo>
                                                                  <a:cubicBezTo>
                                                                    <a:pt x="491221" y="289413"/>
                                                                    <a:pt x="491781" y="293014"/>
                                                                    <a:pt x="493369" y="295395"/>
                                                                  </a:cubicBezTo>
                                                                  <a:cubicBezTo>
                                                                    <a:pt x="494163" y="298570"/>
                                                                    <a:pt x="492477" y="304920"/>
                                                                    <a:pt x="495750" y="304920"/>
                                                                  </a:cubicBezTo>
                                                                  <a:cubicBezTo>
                                                                    <a:pt x="499300" y="304920"/>
                                                                    <a:pt x="499389" y="298763"/>
                                                                    <a:pt x="500512" y="295395"/>
                                                                  </a:cubicBezTo>
                                                                  <a:cubicBezTo>
                                                                    <a:pt x="507378" y="274798"/>
                                                                    <a:pt x="497876" y="291018"/>
                                                                    <a:pt x="507656" y="276345"/>
                                                                  </a:cubicBezTo>
                                                                  <a:cubicBezTo>
                                                                    <a:pt x="510517" y="276605"/>
                                                                    <a:pt x="532928" y="276626"/>
                                                                    <a:pt x="540994" y="281107"/>
                                                                  </a:cubicBezTo>
                                                                  <a:cubicBezTo>
                                                                    <a:pt x="545997" y="283887"/>
                                                                    <a:pt x="555281" y="290632"/>
                                                                    <a:pt x="555281" y="290632"/>
                                                                  </a:cubicBezTo>
                                                                  <a:cubicBezTo>
                                                                    <a:pt x="556869" y="293013"/>
                                                                    <a:pt x="560738" y="294999"/>
                                                                    <a:pt x="560044" y="297776"/>
                                                                  </a:cubicBezTo>
                                                                  <a:cubicBezTo>
                                                                    <a:pt x="559435" y="300211"/>
                                                                    <a:pt x="555145" y="299034"/>
                                                                    <a:pt x="552900" y="300157"/>
                                                                  </a:cubicBezTo>
                                                                  <a:cubicBezTo>
                                                                    <a:pt x="550340" y="301437"/>
                                                                    <a:pt x="548137" y="303332"/>
                                                                    <a:pt x="545756" y="304920"/>
                                                                  </a:cubicBezTo>
                                                                  <a:cubicBezTo>
                                                                    <a:pt x="543602" y="311383"/>
                                                                    <a:pt x="537706" y="319548"/>
                                                                    <a:pt x="543375" y="326351"/>
                                                                  </a:cubicBezTo>
                                                                  <a:cubicBezTo>
                                                                    <a:pt x="545916" y="329400"/>
                                                                    <a:pt x="549725" y="331114"/>
                                                                    <a:pt x="552900" y="333495"/>
                                                                  </a:cubicBezTo>
                                                                  <a:cubicBezTo>
                                                                    <a:pt x="554487" y="335876"/>
                                                                    <a:pt x="556382" y="338079"/>
                                                                    <a:pt x="557662" y="340639"/>
                                                                  </a:cubicBezTo>
                                                                  <a:cubicBezTo>
                                                                    <a:pt x="561552" y="348419"/>
                                                                    <a:pt x="560997" y="355780"/>
                                                                    <a:pt x="557662" y="364451"/>
                                                                  </a:cubicBezTo>
                                                                  <a:cubicBezTo>
                                                                    <a:pt x="555607" y="369793"/>
                                                                    <a:pt x="551312" y="373976"/>
                                                                    <a:pt x="548137" y="378739"/>
                                                                  </a:cubicBezTo>
                                                                  <a:lnTo>
                                                                    <a:pt x="543375" y="385882"/>
                                                                  </a:lnTo>
                                                                  <a:cubicBezTo>
                                                                    <a:pt x="542581" y="388263"/>
                                                                    <a:pt x="541539" y="390576"/>
                                                                    <a:pt x="540994" y="393026"/>
                                                                  </a:cubicBezTo>
                                                                  <a:cubicBezTo>
                                                                    <a:pt x="539947" y="397739"/>
                                                                    <a:pt x="540771" y="402995"/>
                                                                    <a:pt x="538612" y="407314"/>
                                                                  </a:cubicBezTo>
                                                                  <a:cubicBezTo>
                                                                    <a:pt x="537332" y="409873"/>
                                                                    <a:pt x="533850" y="410489"/>
                                                                    <a:pt x="531469" y="412076"/>
                                                                  </a:cubicBezTo>
                                                                  <a:cubicBezTo>
                                                                    <a:pt x="529881" y="414457"/>
                                                                    <a:pt x="527986" y="416660"/>
                                                                    <a:pt x="526706" y="419220"/>
                                                                  </a:cubicBezTo>
                                                                  <a:cubicBezTo>
                                                                    <a:pt x="522332" y="427968"/>
                                                                    <a:pt x="523937" y="435261"/>
                                                                    <a:pt x="526706" y="445414"/>
                                                                  </a:cubicBezTo>
                                                                  <a:cubicBezTo>
                                                                    <a:pt x="527459" y="448175"/>
                                                                    <a:pt x="529445" y="450533"/>
                                                                    <a:pt x="531469" y="452557"/>
                                                                  </a:cubicBezTo>
                                                                  <a:cubicBezTo>
                                                                    <a:pt x="536087" y="457175"/>
                                                                    <a:pt x="539944" y="457764"/>
                                                                    <a:pt x="545756" y="459701"/>
                                                                  </a:cubicBezTo>
                                                                  <a:cubicBezTo>
                                                                    <a:pt x="546550" y="462082"/>
                                                                    <a:pt x="547844" y="464352"/>
                                                                    <a:pt x="548137" y="466845"/>
                                                                  </a:cubicBezTo>
                                                                  <a:cubicBezTo>
                                                                    <a:pt x="549439" y="477909"/>
                                                                    <a:pt x="546481" y="489799"/>
                                                                    <a:pt x="550519" y="500182"/>
                                                                  </a:cubicBezTo>
                                                                  <a:cubicBezTo>
                                                                    <a:pt x="552594" y="505516"/>
                                                                    <a:pt x="564806" y="509707"/>
                                                                    <a:pt x="564806" y="509707"/>
                                                                  </a:cubicBezTo>
                                                                  <a:cubicBezTo>
                                                                    <a:pt x="567716" y="515526"/>
                                                                    <a:pt x="570126" y="521330"/>
                                                                    <a:pt x="574331" y="526376"/>
                                                                  </a:cubicBezTo>
                                                                  <a:cubicBezTo>
                                                                    <a:pt x="576487" y="528963"/>
                                                                    <a:pt x="579319" y="530933"/>
                                                                    <a:pt x="581475" y="533520"/>
                                                                  </a:cubicBezTo>
                                                                  <a:cubicBezTo>
                                                                    <a:pt x="583307" y="535719"/>
                                                                    <a:pt x="584038" y="538832"/>
                                                                    <a:pt x="586237" y="540664"/>
                                                                  </a:cubicBezTo>
                                                                  <a:cubicBezTo>
                                                                    <a:pt x="588964" y="542936"/>
                                                                    <a:pt x="592587" y="543839"/>
                                                                    <a:pt x="595762" y="545426"/>
                                                                  </a:cubicBezTo>
                                                                  <a:cubicBezTo>
                                                                    <a:pt x="598937" y="550189"/>
                                                                    <a:pt x="607097" y="554284"/>
                                                                    <a:pt x="605287" y="559714"/>
                                                                  </a:cubicBezTo>
                                                                  <a:cubicBezTo>
                                                                    <a:pt x="603700" y="564476"/>
                                                                    <a:pt x="604702" y="571217"/>
                                                                    <a:pt x="600525" y="574001"/>
                                                                  </a:cubicBezTo>
                                                                  <a:cubicBezTo>
                                                                    <a:pt x="595762" y="577176"/>
                                                                    <a:pt x="590284" y="579478"/>
                                                                    <a:pt x="586237" y="583526"/>
                                                                  </a:cubicBezTo>
                                                                  <a:cubicBezTo>
                                                                    <a:pt x="577070" y="592694"/>
                                                                    <a:pt x="581896" y="588802"/>
                                                                    <a:pt x="571950" y="595432"/>
                                                                  </a:cubicBezTo>
                                                                  <a:cubicBezTo>
                                                                    <a:pt x="571156" y="598607"/>
                                                                    <a:pt x="571613" y="602401"/>
                                                                    <a:pt x="569569" y="604957"/>
                                                                  </a:cubicBezTo>
                                                                  <a:cubicBezTo>
                                                                    <a:pt x="568001" y="606917"/>
                                                                    <a:pt x="564901" y="606926"/>
                                                                    <a:pt x="562425" y="607339"/>
                                                                  </a:cubicBezTo>
                                                                  <a:cubicBezTo>
                                                                    <a:pt x="555335" y="608521"/>
                                                                    <a:pt x="548138" y="608926"/>
                                                                    <a:pt x="540994" y="609720"/>
                                                                  </a:cubicBezTo>
                                                                  <a:cubicBezTo>
                                                                    <a:pt x="531107" y="624549"/>
                                                                    <a:pt x="535398" y="614905"/>
                                                                    <a:pt x="538612" y="645439"/>
                                                                  </a:cubicBezTo>
                                                                  <a:cubicBezTo>
                                                                    <a:pt x="540629" y="664599"/>
                                                                    <a:pt x="537530" y="658643"/>
                                                                    <a:pt x="548137" y="669251"/>
                                                                  </a:cubicBezTo>
                                                                  <a:cubicBezTo>
                                                                    <a:pt x="551009" y="677864"/>
                                                                    <a:pt x="552927" y="679904"/>
                                                                    <a:pt x="548137" y="690682"/>
                                                                  </a:cubicBezTo>
                                                                  <a:cubicBezTo>
                                                                    <a:pt x="546769" y="693759"/>
                                                                    <a:pt x="543150" y="695239"/>
                                                                    <a:pt x="540994" y="697826"/>
                                                                  </a:cubicBezTo>
                                                                  <a:cubicBezTo>
                                                                    <a:pt x="539162" y="700025"/>
                                                                    <a:pt x="538255" y="702946"/>
                                                                    <a:pt x="536231" y="704970"/>
                                                                  </a:cubicBezTo>
                                                                  <a:cubicBezTo>
                                                                    <a:pt x="531616" y="709584"/>
                                                                    <a:pt x="527752" y="710177"/>
                                                                    <a:pt x="521944" y="712114"/>
                                                                  </a:cubicBezTo>
                                                                  <a:cubicBezTo>
                                                                    <a:pt x="510831" y="711320"/>
                                                                    <a:pt x="499451" y="712284"/>
                                                                    <a:pt x="488606" y="709732"/>
                                                                  </a:cubicBezTo>
                                                                  <a:cubicBezTo>
                                                                    <a:pt x="485328" y="708961"/>
                                                                    <a:pt x="484264" y="704457"/>
                                                                    <a:pt x="481462" y="702589"/>
                                                                  </a:cubicBezTo>
                                                                  <a:cubicBezTo>
                                                                    <a:pt x="479546" y="701312"/>
                                                                    <a:pt x="465890" y="698025"/>
                                                                    <a:pt x="464794" y="697826"/>
                                                                  </a:cubicBezTo>
                                                                  <a:cubicBezTo>
                                                                    <a:pt x="433509" y="692138"/>
                                                                    <a:pt x="460204" y="698464"/>
                                                                    <a:pt x="438600" y="693064"/>
                                                                  </a:cubicBezTo>
                                                                  <a:cubicBezTo>
                                                                    <a:pt x="437012" y="690683"/>
                                                                    <a:pt x="436264" y="687437"/>
                                                                    <a:pt x="433837" y="685920"/>
                                                                  </a:cubicBezTo>
                                                                  <a:cubicBezTo>
                                                                    <a:pt x="429580" y="683259"/>
                                                                    <a:pt x="419550" y="681157"/>
                                                                    <a:pt x="419550" y="681157"/>
                                                                  </a:cubicBezTo>
                                                                  <a:cubicBezTo>
                                                                    <a:pt x="413098" y="682448"/>
                                                                    <a:pt x="405171" y="682463"/>
                                                                    <a:pt x="400500" y="688301"/>
                                                                  </a:cubicBezTo>
                                                                  <a:cubicBezTo>
                                                                    <a:pt x="391343" y="699747"/>
                                                                    <a:pt x="406901" y="692244"/>
                                                                    <a:pt x="390975" y="700207"/>
                                                                  </a:cubicBezTo>
                                                                  <a:cubicBezTo>
                                                                    <a:pt x="384584" y="703403"/>
                                                                    <a:pt x="372728" y="704384"/>
                                                                    <a:pt x="367162" y="704970"/>
                                                                  </a:cubicBezTo>
                                                                  <a:cubicBezTo>
                                                                    <a:pt x="357656" y="705970"/>
                                                                    <a:pt x="348112" y="706557"/>
                                                                    <a:pt x="338587" y="707351"/>
                                                                  </a:cubicBezTo>
                                                                  <a:cubicBezTo>
                                                                    <a:pt x="336206" y="708939"/>
                                                                    <a:pt x="333468" y="710090"/>
                                                                    <a:pt x="331444" y="712114"/>
                                                                  </a:cubicBezTo>
                                                                  <a:cubicBezTo>
                                                                    <a:pt x="329420" y="714138"/>
                                                                    <a:pt x="328916" y="717469"/>
                                                                    <a:pt x="326681" y="719257"/>
                                                                  </a:cubicBezTo>
                                                                  <a:cubicBezTo>
                                                                    <a:pt x="324721" y="720825"/>
                                                                    <a:pt x="321918" y="720845"/>
                                                                    <a:pt x="319537" y="721639"/>
                                                                  </a:cubicBezTo>
                                                                  <a:lnTo>
                                                                    <a:pt x="300487" y="750214"/>
                                                                  </a:lnTo>
                                                                  <a:cubicBezTo>
                                                                    <a:pt x="298900" y="752595"/>
                                                                    <a:pt x="298106" y="755770"/>
                                                                    <a:pt x="295725" y="757357"/>
                                                                  </a:cubicBezTo>
                                                                  <a:lnTo>
                                                                    <a:pt x="288581" y="762120"/>
                                                                  </a:lnTo>
                                                                  <a:cubicBezTo>
                                                                    <a:pt x="287787" y="759739"/>
                                                                    <a:pt x="286809" y="757411"/>
                                                                    <a:pt x="286200" y="754976"/>
                                                                  </a:cubicBezTo>
                                                                  <a:cubicBezTo>
                                                                    <a:pt x="283929" y="745889"/>
                                                                    <a:pt x="285590" y="742459"/>
                                                                    <a:pt x="279056" y="735926"/>
                                                                  </a:cubicBezTo>
                                                                  <a:cubicBezTo>
                                                                    <a:pt x="277032" y="733902"/>
                                                                    <a:pt x="274111" y="732996"/>
                                                                    <a:pt x="271912" y="731164"/>
                                                                  </a:cubicBezTo>
                                                                  <a:cubicBezTo>
                                                                    <a:pt x="269325" y="729008"/>
                                                                    <a:pt x="267713" y="725655"/>
                                                                    <a:pt x="264769" y="724020"/>
                                                                  </a:cubicBezTo>
                                                                  <a:cubicBezTo>
                                                                    <a:pt x="260381" y="721582"/>
                                                                    <a:pt x="250481" y="719257"/>
                                                                    <a:pt x="250481" y="719257"/>
                                                                  </a:cubicBezTo>
                                                                  <a:cubicBezTo>
                                                                    <a:pt x="239753" y="703165"/>
                                                                    <a:pt x="249357" y="720032"/>
                                                                    <a:pt x="243337" y="685920"/>
                                                                  </a:cubicBezTo>
                                                                  <a:cubicBezTo>
                                                                    <a:pt x="242465" y="680976"/>
                                                                    <a:pt x="243445" y="672849"/>
                                                                    <a:pt x="238575" y="671632"/>
                                                                  </a:cubicBezTo>
                                                                  <a:cubicBezTo>
                                                                    <a:pt x="226615" y="668642"/>
                                                                    <a:pt x="232155" y="670286"/>
                                                                    <a:pt x="221906" y="666870"/>
                                                                  </a:cubicBezTo>
                                                                  <a:cubicBezTo>
                                                                    <a:pt x="218856" y="667632"/>
                                                                    <a:pt x="208652" y="669925"/>
                                                                    <a:pt x="205237" y="671632"/>
                                                                  </a:cubicBezTo>
                                                                  <a:cubicBezTo>
                                                                    <a:pt x="186773" y="680865"/>
                                                                    <a:pt x="208907" y="672791"/>
                                                                    <a:pt x="190950" y="678776"/>
                                                                  </a:cubicBezTo>
                                                                  <a:cubicBezTo>
                                                                    <a:pt x="186243" y="677207"/>
                                                                    <a:pt x="180020" y="675830"/>
                                                                    <a:pt x="176662" y="671632"/>
                                                                  </a:cubicBezTo>
                                                                  <a:cubicBezTo>
                                                                    <a:pt x="175094" y="669672"/>
                                                                    <a:pt x="175075" y="666870"/>
                                                                    <a:pt x="174281" y="664489"/>
                                                                  </a:cubicBezTo>
                                                                  <a:cubicBezTo>
                                                                    <a:pt x="175188" y="661768"/>
                                                                    <a:pt x="179723" y="652922"/>
                                                                    <a:pt x="174281" y="650201"/>
                                                                  </a:cubicBezTo>
                                                                  <a:cubicBezTo>
                                                                    <a:pt x="172036" y="649078"/>
                                                                    <a:pt x="169518" y="651788"/>
                                                                    <a:pt x="167137" y="652582"/>
                                                                  </a:cubicBezTo>
                                                                  <a:cubicBezTo>
                                                                    <a:pt x="159994" y="657345"/>
                                                                    <a:pt x="159200" y="656552"/>
                                                                    <a:pt x="155231" y="664489"/>
                                                                  </a:cubicBezTo>
                                                                  <a:cubicBezTo>
                                                                    <a:pt x="154109" y="666734"/>
                                                                    <a:pt x="154625" y="669857"/>
                                                                    <a:pt x="152850" y="671632"/>
                                                                  </a:cubicBezTo>
                                                                  <a:cubicBezTo>
                                                                    <a:pt x="148802" y="675679"/>
                                                                    <a:pt x="138562" y="681157"/>
                                                                    <a:pt x="138562" y="681157"/>
                                                                  </a:cubicBezTo>
                                                                  <a:cubicBezTo>
                                                                    <a:pt x="132578" y="699111"/>
                                                                    <a:pt x="141346" y="677678"/>
                                                                    <a:pt x="129037" y="693064"/>
                                                                  </a:cubicBezTo>
                                                                  <a:cubicBezTo>
                                                                    <a:pt x="127469" y="695024"/>
                                                                    <a:pt x="127645" y="697900"/>
                                                                    <a:pt x="126656" y="700207"/>
                                                                  </a:cubicBezTo>
                                                                  <a:cubicBezTo>
                                                                    <a:pt x="117826" y="720813"/>
                                                                    <a:pt x="125100" y="700116"/>
                                                                    <a:pt x="119512" y="716876"/>
                                                                  </a:cubicBezTo>
                                                                  <a:cubicBezTo>
                                                                    <a:pt x="120417" y="721401"/>
                                                                    <a:pt x="121835" y="731046"/>
                                                                    <a:pt x="124275" y="735926"/>
                                                                  </a:cubicBezTo>
                                                                  <a:cubicBezTo>
                                                                    <a:pt x="133510" y="754399"/>
                                                                    <a:pt x="125429" y="732250"/>
                                                                    <a:pt x="131419" y="750214"/>
                                                                  </a:cubicBezTo>
                                                                  <a:cubicBezTo>
                                                                    <a:pt x="130598" y="756780"/>
                                                                    <a:pt x="130326" y="769066"/>
                                                                    <a:pt x="126656" y="776407"/>
                                                                  </a:cubicBezTo>
                                                                  <a:cubicBezTo>
                                                                    <a:pt x="125376" y="778967"/>
                                                                    <a:pt x="123481" y="781170"/>
                                                                    <a:pt x="121894" y="783551"/>
                                                                  </a:cubicBezTo>
                                                                  <a:cubicBezTo>
                                                                    <a:pt x="119513" y="782757"/>
                                                                    <a:pt x="116525" y="782945"/>
                                                                    <a:pt x="114750" y="781170"/>
                                                                  </a:cubicBezTo>
                                                                  <a:cubicBezTo>
                                                                    <a:pt x="92280" y="758700"/>
                                                                    <a:pt x="115946" y="775825"/>
                                                                    <a:pt x="100462" y="752595"/>
                                                                  </a:cubicBezTo>
                                                                  <a:cubicBezTo>
                                                                    <a:pt x="94113" y="743070"/>
                                                                    <a:pt x="98081" y="747038"/>
                                                                    <a:pt x="88556" y="740689"/>
                                                                  </a:cubicBezTo>
                                                                  <a:cubicBezTo>
                                                                    <a:pt x="83361" y="725102"/>
                                                                    <a:pt x="90577" y="740401"/>
                                                                    <a:pt x="79031" y="731164"/>
                                                                  </a:cubicBezTo>
                                                                  <a:cubicBezTo>
                                                                    <a:pt x="76796" y="729376"/>
                                                                    <a:pt x="76293" y="726044"/>
                                                                    <a:pt x="74269" y="724020"/>
                                                                  </a:cubicBezTo>
                                                                  <a:cubicBezTo>
                                                                    <a:pt x="72245" y="721996"/>
                                                                    <a:pt x="69506" y="720845"/>
                                                                    <a:pt x="67125" y="719257"/>
                                                                  </a:cubicBezTo>
                                                                  <a:cubicBezTo>
                                                                    <a:pt x="58325" y="706060"/>
                                                                    <a:pt x="67396" y="716498"/>
                                                                    <a:pt x="55219" y="709732"/>
                                                                  </a:cubicBezTo>
                                                                  <a:cubicBezTo>
                                                                    <a:pt x="50215" y="706952"/>
                                                                    <a:pt x="40931" y="700207"/>
                                                                    <a:pt x="40931" y="700207"/>
                                                                  </a:cubicBezTo>
                                                                  <a:cubicBezTo>
                                                                    <a:pt x="39344" y="697826"/>
                                                                    <a:pt x="38404" y="694852"/>
                                                                    <a:pt x="36169" y="693064"/>
                                                                  </a:cubicBezTo>
                                                                  <a:cubicBezTo>
                                                                    <a:pt x="19736" y="679917"/>
                                                                    <a:pt x="37913" y="704011"/>
                                                                    <a:pt x="24262" y="683539"/>
                                                                  </a:cubicBezTo>
                                                                  <a:cubicBezTo>
                                                                    <a:pt x="21630" y="675642"/>
                                                                    <a:pt x="20294" y="679570"/>
                                                                    <a:pt x="19500" y="67877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2" name="Freeform 251"/>
                                                          <p:cNvSpPr/>
                                                          <p:nvPr/>
                                                        </p:nvSpPr>
                                                        <p:spPr>
                                                          <a:xfrm>
                                                            <a:off x="4536281" y="5469361"/>
                                                            <a:ext cx="226548" cy="533770"/>
                                                          </a:xfrm>
                                                          <a:custGeom>
                                                            <a:avLst/>
                                                            <a:gdLst>
                                                              <a:gd name="connsiteX0" fmla="*/ 4763 w 226548"/>
                                                              <a:gd name="connsiteY0" fmla="*/ 136102 h 533770"/>
                                                              <a:gd name="connsiteX1" fmla="*/ 4763 w 226548"/>
                                                              <a:gd name="connsiteY1" fmla="*/ 136102 h 533770"/>
                                                              <a:gd name="connsiteX2" fmla="*/ 9525 w 226548"/>
                                                              <a:gd name="connsiteY2" fmla="*/ 114670 h 533770"/>
                                                              <a:gd name="connsiteX3" fmla="*/ 7144 w 226548"/>
                                                              <a:gd name="connsiteY3" fmla="*/ 102764 h 533770"/>
                                                              <a:gd name="connsiteX4" fmla="*/ 2382 w 226548"/>
                                                              <a:gd name="connsiteY4" fmla="*/ 88477 h 533770"/>
                                                              <a:gd name="connsiteX5" fmla="*/ 0 w 226548"/>
                                                              <a:gd name="connsiteY5" fmla="*/ 78952 h 533770"/>
                                                              <a:gd name="connsiteX6" fmla="*/ 2382 w 226548"/>
                                                              <a:gd name="connsiteY6" fmla="*/ 52758 h 533770"/>
                                                              <a:gd name="connsiteX7" fmla="*/ 11907 w 226548"/>
                                                              <a:gd name="connsiteY7" fmla="*/ 38470 h 533770"/>
                                                              <a:gd name="connsiteX8" fmla="*/ 21432 w 226548"/>
                                                              <a:gd name="connsiteY8" fmla="*/ 24183 h 533770"/>
                                                              <a:gd name="connsiteX9" fmla="*/ 26194 w 226548"/>
                                                              <a:gd name="connsiteY9" fmla="*/ 17039 h 533770"/>
                                                              <a:gd name="connsiteX10" fmla="*/ 40482 w 226548"/>
                                                              <a:gd name="connsiteY10" fmla="*/ 7514 h 533770"/>
                                                              <a:gd name="connsiteX11" fmla="*/ 45244 w 226548"/>
                                                              <a:gd name="connsiteY11" fmla="*/ 370 h 533770"/>
                                                              <a:gd name="connsiteX12" fmla="*/ 57150 w 226548"/>
                                                              <a:gd name="connsiteY12" fmla="*/ 9895 h 533770"/>
                                                              <a:gd name="connsiteX13" fmla="*/ 59532 w 226548"/>
                                                              <a:gd name="connsiteY13" fmla="*/ 17039 h 533770"/>
                                                              <a:gd name="connsiteX14" fmla="*/ 73819 w 226548"/>
                                                              <a:gd name="connsiteY14" fmla="*/ 26564 h 533770"/>
                                                              <a:gd name="connsiteX15" fmla="*/ 88107 w 226548"/>
                                                              <a:gd name="connsiteY15" fmla="*/ 24183 h 533770"/>
                                                              <a:gd name="connsiteX16" fmla="*/ 95250 w 226548"/>
                                                              <a:gd name="connsiteY16" fmla="*/ 21802 h 533770"/>
                                                              <a:gd name="connsiteX17" fmla="*/ 116682 w 226548"/>
                                                              <a:gd name="connsiteY17" fmla="*/ 24183 h 533770"/>
                                                              <a:gd name="connsiteX18" fmla="*/ 123825 w 226548"/>
                                                              <a:gd name="connsiteY18" fmla="*/ 55139 h 533770"/>
                                                              <a:gd name="connsiteX19" fmla="*/ 126207 w 226548"/>
                                                              <a:gd name="connsiteY19" fmla="*/ 67045 h 533770"/>
                                                              <a:gd name="connsiteX20" fmla="*/ 140494 w 226548"/>
                                                              <a:gd name="connsiteY20" fmla="*/ 76570 h 533770"/>
                                                              <a:gd name="connsiteX21" fmla="*/ 150019 w 226548"/>
                                                              <a:gd name="connsiteY21" fmla="*/ 78952 h 533770"/>
                                                              <a:gd name="connsiteX22" fmla="*/ 159544 w 226548"/>
                                                              <a:gd name="connsiteY22" fmla="*/ 93239 h 533770"/>
                                                              <a:gd name="connsiteX23" fmla="*/ 161925 w 226548"/>
                                                              <a:gd name="connsiteY23" fmla="*/ 100383 h 533770"/>
                                                              <a:gd name="connsiteX24" fmla="*/ 176213 w 226548"/>
                                                              <a:gd name="connsiteY24" fmla="*/ 102764 h 533770"/>
                                                              <a:gd name="connsiteX25" fmla="*/ 169069 w 226548"/>
                                                              <a:gd name="connsiteY25" fmla="*/ 143245 h 533770"/>
                                                              <a:gd name="connsiteX26" fmla="*/ 164307 w 226548"/>
                                                              <a:gd name="connsiteY26" fmla="*/ 157533 h 533770"/>
                                                              <a:gd name="connsiteX27" fmla="*/ 157163 w 226548"/>
                                                              <a:gd name="connsiteY27" fmla="*/ 188489 h 533770"/>
                                                              <a:gd name="connsiteX28" fmla="*/ 150019 w 226548"/>
                                                              <a:gd name="connsiteY28" fmla="*/ 193252 h 533770"/>
                                                              <a:gd name="connsiteX29" fmla="*/ 154782 w 226548"/>
                                                              <a:gd name="connsiteY29" fmla="*/ 209920 h 533770"/>
                                                              <a:gd name="connsiteX30" fmla="*/ 164307 w 226548"/>
                                                              <a:gd name="connsiteY30" fmla="*/ 224208 h 533770"/>
                                                              <a:gd name="connsiteX31" fmla="*/ 161925 w 226548"/>
                                                              <a:gd name="connsiteY31" fmla="*/ 236114 h 533770"/>
                                                              <a:gd name="connsiteX32" fmla="*/ 154782 w 226548"/>
                                                              <a:gd name="connsiteY32" fmla="*/ 240877 h 533770"/>
                                                              <a:gd name="connsiteX33" fmla="*/ 152400 w 226548"/>
                                                              <a:gd name="connsiteY33" fmla="*/ 248020 h 533770"/>
                                                              <a:gd name="connsiteX34" fmla="*/ 157163 w 226548"/>
                                                              <a:gd name="connsiteY34" fmla="*/ 255164 h 533770"/>
                                                              <a:gd name="connsiteX35" fmla="*/ 171450 w 226548"/>
                                                              <a:gd name="connsiteY35" fmla="*/ 264689 h 533770"/>
                                                              <a:gd name="connsiteX36" fmla="*/ 176213 w 226548"/>
                                                              <a:gd name="connsiteY36" fmla="*/ 271833 h 533770"/>
                                                              <a:gd name="connsiteX37" fmla="*/ 185738 w 226548"/>
                                                              <a:gd name="connsiteY37" fmla="*/ 293264 h 533770"/>
                                                              <a:gd name="connsiteX38" fmla="*/ 192882 w 226548"/>
                                                              <a:gd name="connsiteY38" fmla="*/ 295645 h 533770"/>
                                                              <a:gd name="connsiteX39" fmla="*/ 207169 w 226548"/>
                                                              <a:gd name="connsiteY39" fmla="*/ 309933 h 533770"/>
                                                              <a:gd name="connsiteX40" fmla="*/ 214313 w 226548"/>
                                                              <a:gd name="connsiteY40" fmla="*/ 312314 h 533770"/>
                                                              <a:gd name="connsiteX41" fmla="*/ 226219 w 226548"/>
                                                              <a:gd name="connsiteY41" fmla="*/ 333745 h 533770"/>
                                                              <a:gd name="connsiteX42" fmla="*/ 219075 w 226548"/>
                                                              <a:gd name="connsiteY42" fmla="*/ 374227 h 533770"/>
                                                              <a:gd name="connsiteX43" fmla="*/ 211932 w 226548"/>
                                                              <a:gd name="connsiteY43" fmla="*/ 376608 h 533770"/>
                                                              <a:gd name="connsiteX44" fmla="*/ 204788 w 226548"/>
                                                              <a:gd name="connsiteY44" fmla="*/ 381370 h 533770"/>
                                                              <a:gd name="connsiteX45" fmla="*/ 190500 w 226548"/>
                                                              <a:gd name="connsiteY45" fmla="*/ 424233 h 533770"/>
                                                              <a:gd name="connsiteX46" fmla="*/ 188119 w 226548"/>
                                                              <a:gd name="connsiteY46" fmla="*/ 431377 h 533770"/>
                                                              <a:gd name="connsiteX47" fmla="*/ 180975 w 226548"/>
                                                              <a:gd name="connsiteY47" fmla="*/ 445664 h 533770"/>
                                                              <a:gd name="connsiteX48" fmla="*/ 173832 w 226548"/>
                                                              <a:gd name="connsiteY48" fmla="*/ 448045 h 533770"/>
                                                              <a:gd name="connsiteX49" fmla="*/ 166688 w 226548"/>
                                                              <a:gd name="connsiteY49" fmla="*/ 455189 h 533770"/>
                                                              <a:gd name="connsiteX50" fmla="*/ 159544 w 226548"/>
                                                              <a:gd name="connsiteY50" fmla="*/ 457570 h 533770"/>
                                                              <a:gd name="connsiteX51" fmla="*/ 145257 w 226548"/>
                                                              <a:gd name="connsiteY51" fmla="*/ 467095 h 533770"/>
                                                              <a:gd name="connsiteX52" fmla="*/ 138113 w 226548"/>
                                                              <a:gd name="connsiteY52" fmla="*/ 471858 h 533770"/>
                                                              <a:gd name="connsiteX53" fmla="*/ 130969 w 226548"/>
                                                              <a:gd name="connsiteY53" fmla="*/ 486145 h 533770"/>
                                                              <a:gd name="connsiteX54" fmla="*/ 133350 w 226548"/>
                                                              <a:gd name="connsiteY54" fmla="*/ 493289 h 533770"/>
                                                              <a:gd name="connsiteX55" fmla="*/ 126207 w 226548"/>
                                                              <a:gd name="connsiteY55" fmla="*/ 514720 h 533770"/>
                                                              <a:gd name="connsiteX56" fmla="*/ 119063 w 226548"/>
                                                              <a:gd name="connsiteY56" fmla="*/ 529008 h 533770"/>
                                                              <a:gd name="connsiteX57" fmla="*/ 104775 w 226548"/>
                                                              <a:gd name="connsiteY57" fmla="*/ 533770 h 533770"/>
                                                              <a:gd name="connsiteX58" fmla="*/ 92869 w 226548"/>
                                                              <a:gd name="connsiteY58" fmla="*/ 531389 h 533770"/>
                                                              <a:gd name="connsiteX59" fmla="*/ 90488 w 226548"/>
                                                              <a:gd name="connsiteY59" fmla="*/ 524245 h 533770"/>
                                                              <a:gd name="connsiteX60" fmla="*/ 88107 w 226548"/>
                                                              <a:gd name="connsiteY60" fmla="*/ 502814 h 533770"/>
                                                              <a:gd name="connsiteX61" fmla="*/ 85725 w 226548"/>
                                                              <a:gd name="connsiteY61" fmla="*/ 495670 h 533770"/>
                                                              <a:gd name="connsiteX62" fmla="*/ 83344 w 226548"/>
                                                              <a:gd name="connsiteY62" fmla="*/ 486145 h 533770"/>
                                                              <a:gd name="connsiteX63" fmla="*/ 64294 w 226548"/>
                                                              <a:gd name="connsiteY63" fmla="*/ 469477 h 533770"/>
                                                              <a:gd name="connsiteX64" fmla="*/ 57150 w 226548"/>
                                                              <a:gd name="connsiteY64" fmla="*/ 464714 h 533770"/>
                                                              <a:gd name="connsiteX65" fmla="*/ 50007 w 226548"/>
                                                              <a:gd name="connsiteY65" fmla="*/ 459952 h 533770"/>
                                                              <a:gd name="connsiteX66" fmla="*/ 45244 w 226548"/>
                                                              <a:gd name="connsiteY66" fmla="*/ 452808 h 533770"/>
                                                              <a:gd name="connsiteX67" fmla="*/ 30957 w 226548"/>
                                                              <a:gd name="connsiteY67" fmla="*/ 443283 h 533770"/>
                                                              <a:gd name="connsiteX68" fmla="*/ 14288 w 226548"/>
                                                              <a:gd name="connsiteY68" fmla="*/ 424233 h 533770"/>
                                                              <a:gd name="connsiteX69" fmla="*/ 9525 w 226548"/>
                                                              <a:gd name="connsiteY69" fmla="*/ 409945 h 533770"/>
                                                              <a:gd name="connsiteX70" fmla="*/ 7144 w 226548"/>
                                                              <a:gd name="connsiteY70" fmla="*/ 402802 h 533770"/>
                                                              <a:gd name="connsiteX71" fmla="*/ 9525 w 226548"/>
                                                              <a:gd name="connsiteY71" fmla="*/ 376608 h 533770"/>
                                                              <a:gd name="connsiteX72" fmla="*/ 11907 w 226548"/>
                                                              <a:gd name="connsiteY72" fmla="*/ 364702 h 533770"/>
                                                              <a:gd name="connsiteX73" fmla="*/ 7144 w 226548"/>
                                                              <a:gd name="connsiteY73" fmla="*/ 324220 h 533770"/>
                                                              <a:gd name="connsiteX74" fmla="*/ 9525 w 226548"/>
                                                              <a:gd name="connsiteY74" fmla="*/ 312314 h 533770"/>
                                                              <a:gd name="connsiteX75" fmla="*/ 11907 w 226548"/>
                                                              <a:gd name="connsiteY75" fmla="*/ 305170 h 533770"/>
                                                              <a:gd name="connsiteX76" fmla="*/ 14288 w 226548"/>
                                                              <a:gd name="connsiteY76" fmla="*/ 264689 h 533770"/>
                                                              <a:gd name="connsiteX77" fmla="*/ 19050 w 226548"/>
                                                              <a:gd name="connsiteY77" fmla="*/ 257545 h 533770"/>
                                                              <a:gd name="connsiteX78" fmla="*/ 21432 w 226548"/>
                                                              <a:gd name="connsiteY78" fmla="*/ 250402 h 533770"/>
                                                              <a:gd name="connsiteX79" fmla="*/ 19050 w 226548"/>
                                                              <a:gd name="connsiteY79" fmla="*/ 238495 h 533770"/>
                                                              <a:gd name="connsiteX80" fmla="*/ 14288 w 226548"/>
                                                              <a:gd name="connsiteY80" fmla="*/ 231352 h 533770"/>
                                                              <a:gd name="connsiteX81" fmla="*/ 11907 w 226548"/>
                                                              <a:gd name="connsiteY81" fmla="*/ 221827 h 533770"/>
                                                              <a:gd name="connsiteX82" fmla="*/ 16669 w 226548"/>
                                                              <a:gd name="connsiteY82" fmla="*/ 202777 h 533770"/>
                                                              <a:gd name="connsiteX83" fmla="*/ 21432 w 226548"/>
                                                              <a:gd name="connsiteY83" fmla="*/ 195633 h 533770"/>
                                                              <a:gd name="connsiteX84" fmla="*/ 28575 w 226548"/>
                                                              <a:gd name="connsiteY84" fmla="*/ 193252 h 533770"/>
                                                              <a:gd name="connsiteX85" fmla="*/ 30957 w 226548"/>
                                                              <a:gd name="connsiteY85" fmla="*/ 186108 h 533770"/>
                                                              <a:gd name="connsiteX86" fmla="*/ 35719 w 226548"/>
                                                              <a:gd name="connsiteY86" fmla="*/ 178964 h 533770"/>
                                                              <a:gd name="connsiteX87" fmla="*/ 38100 w 226548"/>
                                                              <a:gd name="connsiteY87" fmla="*/ 169439 h 533770"/>
                                                              <a:gd name="connsiteX88" fmla="*/ 26194 w 226548"/>
                                                              <a:gd name="connsiteY88" fmla="*/ 138483 h 533770"/>
                                                              <a:gd name="connsiteX89" fmla="*/ 11907 w 226548"/>
                                                              <a:gd name="connsiteY89" fmla="*/ 133720 h 533770"/>
                                                              <a:gd name="connsiteX90" fmla="*/ 4763 w 226548"/>
                                                              <a:gd name="connsiteY90" fmla="*/ 136102 h 53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26548" h="533770">
                                                                <a:moveTo>
                                                                  <a:pt x="4763" y="136102"/>
                                                                </a:moveTo>
                                                                <a:lnTo>
                                                                  <a:pt x="4763" y="136102"/>
                                                                </a:lnTo>
                                                                <a:cubicBezTo>
                                                                  <a:pt x="6350" y="128958"/>
                                                                  <a:pt x="9004" y="121970"/>
                                                                  <a:pt x="9525" y="114670"/>
                                                                </a:cubicBezTo>
                                                                <a:cubicBezTo>
                                                                  <a:pt x="9813" y="110633"/>
                                                                  <a:pt x="8209" y="106669"/>
                                                                  <a:pt x="7144" y="102764"/>
                                                                </a:cubicBezTo>
                                                                <a:cubicBezTo>
                                                                  <a:pt x="5823" y="97921"/>
                                                                  <a:pt x="3600" y="93347"/>
                                                                  <a:pt x="2382" y="88477"/>
                                                                </a:cubicBezTo>
                                                                <a:lnTo>
                                                                  <a:pt x="0" y="78952"/>
                                                                </a:lnTo>
                                                                <a:cubicBezTo>
                                                                  <a:pt x="794" y="70221"/>
                                                                  <a:pt x="-92" y="61169"/>
                                                                  <a:pt x="2382" y="52758"/>
                                                                </a:cubicBezTo>
                                                                <a:cubicBezTo>
                                                                  <a:pt x="3997" y="47267"/>
                                                                  <a:pt x="8732" y="43233"/>
                                                                  <a:pt x="11907" y="38470"/>
                                                                </a:cubicBezTo>
                                                                <a:lnTo>
                                                                  <a:pt x="21432" y="24183"/>
                                                                </a:lnTo>
                                                                <a:cubicBezTo>
                                                                  <a:pt x="23019" y="21802"/>
                                                                  <a:pt x="23813" y="18626"/>
                                                                  <a:pt x="26194" y="17039"/>
                                                                </a:cubicBezTo>
                                                                <a:lnTo>
                                                                  <a:pt x="40482" y="7514"/>
                                                                </a:lnTo>
                                                                <a:cubicBezTo>
                                                                  <a:pt x="42069" y="5133"/>
                                                                  <a:pt x="42587" y="1433"/>
                                                                  <a:pt x="45244" y="370"/>
                                                                </a:cubicBezTo>
                                                                <a:cubicBezTo>
                                                                  <a:pt x="50965" y="-1918"/>
                                                                  <a:pt x="55712" y="7019"/>
                                                                  <a:pt x="57150" y="9895"/>
                                                                </a:cubicBezTo>
                                                                <a:cubicBezTo>
                                                                  <a:pt x="58273" y="12140"/>
                                                                  <a:pt x="57757" y="15264"/>
                                                                  <a:pt x="59532" y="17039"/>
                                                                </a:cubicBezTo>
                                                                <a:cubicBezTo>
                                                                  <a:pt x="63579" y="21086"/>
                                                                  <a:pt x="73819" y="26564"/>
                                                                  <a:pt x="73819" y="26564"/>
                                                                </a:cubicBezTo>
                                                                <a:cubicBezTo>
                                                                  <a:pt x="78582" y="25770"/>
                                                                  <a:pt x="83394" y="25230"/>
                                                                  <a:pt x="88107" y="24183"/>
                                                                </a:cubicBezTo>
                                                                <a:cubicBezTo>
                                                                  <a:pt x="90557" y="23639"/>
                                                                  <a:pt x="92740" y="21802"/>
                                                                  <a:pt x="95250" y="21802"/>
                                                                </a:cubicBezTo>
                                                                <a:cubicBezTo>
                                                                  <a:pt x="102438" y="21802"/>
                                                                  <a:pt x="109538" y="23389"/>
                                                                  <a:pt x="116682" y="24183"/>
                                                                </a:cubicBezTo>
                                                                <a:cubicBezTo>
                                                                  <a:pt x="129320" y="43140"/>
                                                                  <a:pt x="127017" y="32804"/>
                                                                  <a:pt x="123825" y="55139"/>
                                                                </a:cubicBezTo>
                                                                <a:cubicBezTo>
                                                                  <a:pt x="124619" y="59108"/>
                                                                  <a:pt x="124397" y="63425"/>
                                                                  <a:pt x="126207" y="67045"/>
                                                                </a:cubicBezTo>
                                                                <a:cubicBezTo>
                                                                  <a:pt x="129539" y="73708"/>
                                                                  <a:pt x="134319" y="74806"/>
                                                                  <a:pt x="140494" y="76570"/>
                                                                </a:cubicBezTo>
                                                                <a:cubicBezTo>
                                                                  <a:pt x="143641" y="77469"/>
                                                                  <a:pt x="146844" y="78158"/>
                                                                  <a:pt x="150019" y="78952"/>
                                                                </a:cubicBezTo>
                                                                <a:cubicBezTo>
                                                                  <a:pt x="153194" y="83714"/>
                                                                  <a:pt x="157734" y="87809"/>
                                                                  <a:pt x="159544" y="93239"/>
                                                                </a:cubicBezTo>
                                                                <a:cubicBezTo>
                                                                  <a:pt x="160338" y="95620"/>
                                                                  <a:pt x="159746" y="99138"/>
                                                                  <a:pt x="161925" y="100383"/>
                                                                </a:cubicBezTo>
                                                                <a:cubicBezTo>
                                                                  <a:pt x="166117" y="102779"/>
                                                                  <a:pt x="171450" y="101970"/>
                                                                  <a:pt x="176213" y="102764"/>
                                                                </a:cubicBezTo>
                                                                <a:cubicBezTo>
                                                                  <a:pt x="165431" y="135108"/>
                                                                  <a:pt x="177574" y="95045"/>
                                                                  <a:pt x="169069" y="143245"/>
                                                                </a:cubicBezTo>
                                                                <a:cubicBezTo>
                                                                  <a:pt x="168197" y="148189"/>
                                                                  <a:pt x="164307" y="157533"/>
                                                                  <a:pt x="164307" y="157533"/>
                                                                </a:cubicBezTo>
                                                                <a:cubicBezTo>
                                                                  <a:pt x="163064" y="169963"/>
                                                                  <a:pt x="165839" y="179813"/>
                                                                  <a:pt x="157163" y="188489"/>
                                                                </a:cubicBezTo>
                                                                <a:cubicBezTo>
                                                                  <a:pt x="155139" y="190513"/>
                                                                  <a:pt x="152400" y="191664"/>
                                                                  <a:pt x="150019" y="193252"/>
                                                                </a:cubicBezTo>
                                                                <a:cubicBezTo>
                                                                  <a:pt x="150581" y="195501"/>
                                                                  <a:pt x="153226" y="207120"/>
                                                                  <a:pt x="154782" y="209920"/>
                                                                </a:cubicBezTo>
                                                                <a:cubicBezTo>
                                                                  <a:pt x="157562" y="214924"/>
                                                                  <a:pt x="164307" y="224208"/>
                                                                  <a:pt x="164307" y="224208"/>
                                                                </a:cubicBezTo>
                                                                <a:cubicBezTo>
                                                                  <a:pt x="163513" y="228177"/>
                                                                  <a:pt x="163933" y="232600"/>
                                                                  <a:pt x="161925" y="236114"/>
                                                                </a:cubicBezTo>
                                                                <a:cubicBezTo>
                                                                  <a:pt x="160505" y="238599"/>
                                                                  <a:pt x="156570" y="238642"/>
                                                                  <a:pt x="154782" y="240877"/>
                                                                </a:cubicBezTo>
                                                                <a:cubicBezTo>
                                                                  <a:pt x="153214" y="242837"/>
                                                                  <a:pt x="153194" y="245639"/>
                                                                  <a:pt x="152400" y="248020"/>
                                                                </a:cubicBezTo>
                                                                <a:cubicBezTo>
                                                                  <a:pt x="153988" y="250401"/>
                                                                  <a:pt x="155009" y="253279"/>
                                                                  <a:pt x="157163" y="255164"/>
                                                                </a:cubicBezTo>
                                                                <a:cubicBezTo>
                                                                  <a:pt x="161470" y="258933"/>
                                                                  <a:pt x="171450" y="264689"/>
                                                                  <a:pt x="171450" y="264689"/>
                                                                </a:cubicBezTo>
                                                                <a:cubicBezTo>
                                                                  <a:pt x="173038" y="267070"/>
                                                                  <a:pt x="175051" y="269218"/>
                                                                  <a:pt x="176213" y="271833"/>
                                                                </a:cubicBezTo>
                                                                <a:cubicBezTo>
                                                                  <a:pt x="178422" y="276803"/>
                                                                  <a:pt x="180162" y="288803"/>
                                                                  <a:pt x="185738" y="293264"/>
                                                                </a:cubicBezTo>
                                                                <a:cubicBezTo>
                                                                  <a:pt x="187698" y="294832"/>
                                                                  <a:pt x="190501" y="294851"/>
                                                                  <a:pt x="192882" y="295645"/>
                                                                </a:cubicBezTo>
                                                                <a:cubicBezTo>
                                                                  <a:pt x="196525" y="321149"/>
                                                                  <a:pt x="189262" y="309933"/>
                                                                  <a:pt x="207169" y="309933"/>
                                                                </a:cubicBezTo>
                                                                <a:cubicBezTo>
                                                                  <a:pt x="209679" y="309933"/>
                                                                  <a:pt x="211932" y="311520"/>
                                                                  <a:pt x="214313" y="312314"/>
                                                                </a:cubicBezTo>
                                                                <a:cubicBezTo>
                                                                  <a:pt x="225230" y="328690"/>
                                                                  <a:pt x="222028" y="321172"/>
                                                                  <a:pt x="226219" y="333745"/>
                                                                </a:cubicBezTo>
                                                                <a:cubicBezTo>
                                                                  <a:pt x="225892" y="338318"/>
                                                                  <a:pt x="229438" y="365936"/>
                                                                  <a:pt x="219075" y="374227"/>
                                                                </a:cubicBezTo>
                                                                <a:cubicBezTo>
                                                                  <a:pt x="217115" y="375795"/>
                                                                  <a:pt x="214177" y="375486"/>
                                                                  <a:pt x="211932" y="376608"/>
                                                                </a:cubicBezTo>
                                                                <a:cubicBezTo>
                                                                  <a:pt x="209372" y="377888"/>
                                                                  <a:pt x="207169" y="379783"/>
                                                                  <a:pt x="204788" y="381370"/>
                                                                </a:cubicBezTo>
                                                                <a:lnTo>
                                                                  <a:pt x="190500" y="424233"/>
                                                                </a:lnTo>
                                                                <a:lnTo>
                                                                  <a:pt x="188119" y="431377"/>
                                                                </a:lnTo>
                                                                <a:cubicBezTo>
                                                                  <a:pt x="186550" y="436084"/>
                                                                  <a:pt x="185172" y="442306"/>
                                                                  <a:pt x="180975" y="445664"/>
                                                                </a:cubicBezTo>
                                                                <a:cubicBezTo>
                                                                  <a:pt x="179015" y="447232"/>
                                                                  <a:pt x="176213" y="447251"/>
                                                                  <a:pt x="173832" y="448045"/>
                                                                </a:cubicBezTo>
                                                                <a:cubicBezTo>
                                                                  <a:pt x="171451" y="450426"/>
                                                                  <a:pt x="169490" y="453321"/>
                                                                  <a:pt x="166688" y="455189"/>
                                                                </a:cubicBezTo>
                                                                <a:cubicBezTo>
                                                                  <a:pt x="164599" y="456581"/>
                                                                  <a:pt x="161738" y="456351"/>
                                                                  <a:pt x="159544" y="457570"/>
                                                                </a:cubicBezTo>
                                                                <a:cubicBezTo>
                                                                  <a:pt x="154541" y="460350"/>
                                                                  <a:pt x="150019" y="463920"/>
                                                                  <a:pt x="145257" y="467095"/>
                                                                </a:cubicBezTo>
                                                                <a:lnTo>
                                                                  <a:pt x="138113" y="471858"/>
                                                                </a:lnTo>
                                                                <a:cubicBezTo>
                                                                  <a:pt x="135705" y="475470"/>
                                                                  <a:pt x="130969" y="481216"/>
                                                                  <a:pt x="130969" y="486145"/>
                                                                </a:cubicBezTo>
                                                                <a:cubicBezTo>
                                                                  <a:pt x="130969" y="488655"/>
                                                                  <a:pt x="132556" y="490908"/>
                                                                  <a:pt x="133350" y="493289"/>
                                                                </a:cubicBezTo>
                                                                <a:cubicBezTo>
                                                                  <a:pt x="128930" y="519811"/>
                                                                  <a:pt x="134577" y="497982"/>
                                                                  <a:pt x="126207" y="514720"/>
                                                                </a:cubicBezTo>
                                                                <a:cubicBezTo>
                                                                  <a:pt x="123967" y="519200"/>
                                                                  <a:pt x="124024" y="525908"/>
                                                                  <a:pt x="119063" y="529008"/>
                                                                </a:cubicBezTo>
                                                                <a:cubicBezTo>
                                                                  <a:pt x="114806" y="531669"/>
                                                                  <a:pt x="104775" y="533770"/>
                                                                  <a:pt x="104775" y="533770"/>
                                                                </a:cubicBezTo>
                                                                <a:cubicBezTo>
                                                                  <a:pt x="100806" y="532976"/>
                                                                  <a:pt x="96236" y="533634"/>
                                                                  <a:pt x="92869" y="531389"/>
                                                                </a:cubicBezTo>
                                                                <a:cubicBezTo>
                                                                  <a:pt x="90780" y="529997"/>
                                                                  <a:pt x="90901" y="526721"/>
                                                                  <a:pt x="90488" y="524245"/>
                                                                </a:cubicBezTo>
                                                                <a:cubicBezTo>
                                                                  <a:pt x="89306" y="517155"/>
                                                                  <a:pt x="89289" y="509904"/>
                                                                  <a:pt x="88107" y="502814"/>
                                                                </a:cubicBezTo>
                                                                <a:cubicBezTo>
                                                                  <a:pt x="87694" y="500338"/>
                                                                  <a:pt x="86415" y="498084"/>
                                                                  <a:pt x="85725" y="495670"/>
                                                                </a:cubicBezTo>
                                                                <a:cubicBezTo>
                                                                  <a:pt x="84826" y="492523"/>
                                                                  <a:pt x="84633" y="489153"/>
                                                                  <a:pt x="83344" y="486145"/>
                                                                </a:cubicBezTo>
                                                                <a:cubicBezTo>
                                                                  <a:pt x="79376" y="476885"/>
                                                                  <a:pt x="73024" y="475297"/>
                                                                  <a:pt x="64294" y="469477"/>
                                                                </a:cubicBezTo>
                                                                <a:lnTo>
                                                                  <a:pt x="57150" y="464714"/>
                                                                </a:lnTo>
                                                                <a:lnTo>
                                                                  <a:pt x="50007" y="459952"/>
                                                                </a:lnTo>
                                                                <a:cubicBezTo>
                                                                  <a:pt x="48419" y="457571"/>
                                                                  <a:pt x="47398" y="454693"/>
                                                                  <a:pt x="45244" y="452808"/>
                                                                </a:cubicBezTo>
                                                                <a:cubicBezTo>
                                                                  <a:pt x="40937" y="449039"/>
                                                                  <a:pt x="30957" y="443283"/>
                                                                  <a:pt x="30957" y="443283"/>
                                                                </a:cubicBezTo>
                                                                <a:cubicBezTo>
                                                                  <a:pt x="19845" y="426614"/>
                                                                  <a:pt x="26195" y="432170"/>
                                                                  <a:pt x="14288" y="424233"/>
                                                                </a:cubicBezTo>
                                                                <a:lnTo>
                                                                  <a:pt x="9525" y="409945"/>
                                                                </a:lnTo>
                                                                <a:lnTo>
                                                                  <a:pt x="7144" y="402802"/>
                                                                </a:lnTo>
                                                                <a:cubicBezTo>
                                                                  <a:pt x="7938" y="394071"/>
                                                                  <a:pt x="8437" y="385308"/>
                                                                  <a:pt x="9525" y="376608"/>
                                                                </a:cubicBezTo>
                                                                <a:cubicBezTo>
                                                                  <a:pt x="10027" y="372592"/>
                                                                  <a:pt x="11907" y="368749"/>
                                                                  <a:pt x="11907" y="364702"/>
                                                                </a:cubicBezTo>
                                                                <a:cubicBezTo>
                                                                  <a:pt x="11907" y="336544"/>
                                                                  <a:pt x="12471" y="340202"/>
                                                                  <a:pt x="7144" y="324220"/>
                                                                </a:cubicBezTo>
                                                                <a:cubicBezTo>
                                                                  <a:pt x="7938" y="320251"/>
                                                                  <a:pt x="8543" y="316240"/>
                                                                  <a:pt x="9525" y="312314"/>
                                                                </a:cubicBezTo>
                                                                <a:cubicBezTo>
                                                                  <a:pt x="10134" y="309879"/>
                                                                  <a:pt x="11657" y="307668"/>
                                                                  <a:pt x="11907" y="305170"/>
                                                                </a:cubicBezTo>
                                                                <a:cubicBezTo>
                                                                  <a:pt x="13252" y="291720"/>
                                                                  <a:pt x="12283" y="278056"/>
                                                                  <a:pt x="14288" y="264689"/>
                                                                </a:cubicBezTo>
                                                                <a:cubicBezTo>
                                                                  <a:pt x="14712" y="261859"/>
                                                                  <a:pt x="17770" y="260105"/>
                                                                  <a:pt x="19050" y="257545"/>
                                                                </a:cubicBezTo>
                                                                <a:cubicBezTo>
                                                                  <a:pt x="20173" y="255300"/>
                                                                  <a:pt x="20638" y="252783"/>
                                                                  <a:pt x="21432" y="250402"/>
                                                                </a:cubicBezTo>
                                                                <a:cubicBezTo>
                                                                  <a:pt x="20638" y="246433"/>
                                                                  <a:pt x="20471" y="242285"/>
                                                                  <a:pt x="19050" y="238495"/>
                                                                </a:cubicBezTo>
                                                                <a:cubicBezTo>
                                                                  <a:pt x="18045" y="235816"/>
                                                                  <a:pt x="15415" y="233982"/>
                                                                  <a:pt x="14288" y="231352"/>
                                                                </a:cubicBezTo>
                                                                <a:cubicBezTo>
                                                                  <a:pt x="12999" y="228344"/>
                                                                  <a:pt x="12701" y="225002"/>
                                                                  <a:pt x="11907" y="221827"/>
                                                                </a:cubicBezTo>
                                                                <a:cubicBezTo>
                                                                  <a:pt x="12812" y="217299"/>
                                                                  <a:pt x="14228" y="207658"/>
                                                                  <a:pt x="16669" y="202777"/>
                                                                </a:cubicBezTo>
                                                                <a:cubicBezTo>
                                                                  <a:pt x="17949" y="200217"/>
                                                                  <a:pt x="19197" y="197421"/>
                                                                  <a:pt x="21432" y="195633"/>
                                                                </a:cubicBezTo>
                                                                <a:cubicBezTo>
                                                                  <a:pt x="23392" y="194065"/>
                                                                  <a:pt x="26194" y="194046"/>
                                                                  <a:pt x="28575" y="193252"/>
                                                                </a:cubicBezTo>
                                                                <a:cubicBezTo>
                                                                  <a:pt x="29369" y="190871"/>
                                                                  <a:pt x="29834" y="188353"/>
                                                                  <a:pt x="30957" y="186108"/>
                                                                </a:cubicBezTo>
                                                                <a:cubicBezTo>
                                                                  <a:pt x="32237" y="183548"/>
                                                                  <a:pt x="34592" y="181595"/>
                                                                  <a:pt x="35719" y="178964"/>
                                                                </a:cubicBezTo>
                                                                <a:cubicBezTo>
                                                                  <a:pt x="37008" y="175956"/>
                                                                  <a:pt x="37306" y="172614"/>
                                                                  <a:pt x="38100" y="169439"/>
                                                                </a:cubicBezTo>
                                                                <a:cubicBezTo>
                                                                  <a:pt x="37078" y="162285"/>
                                                                  <a:pt x="36621" y="141959"/>
                                                                  <a:pt x="26194" y="138483"/>
                                                                </a:cubicBezTo>
                                                                <a:lnTo>
                                                                  <a:pt x="11907" y="133720"/>
                                                                </a:lnTo>
                                                                <a:cubicBezTo>
                                                                  <a:pt x="8963" y="124893"/>
                                                                  <a:pt x="5954" y="135705"/>
                                                                  <a:pt x="4763" y="136102"/>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0" name="Freeform 249"/>
                                                        <p:cNvSpPr/>
                                                        <p:nvPr/>
                                                      </p:nvSpPr>
                                                      <p:spPr>
                                                        <a:xfrm>
                                                          <a:off x="4686300" y="5503069"/>
                                                          <a:ext cx="347663" cy="285750"/>
                                                        </a:xfrm>
                                                        <a:custGeom>
                                                          <a:avLst/>
                                                          <a:gdLst>
                                                            <a:gd name="connsiteX0" fmla="*/ 71438 w 347663"/>
                                                            <a:gd name="connsiteY0" fmla="*/ 283369 h 285750"/>
                                                            <a:gd name="connsiteX1" fmla="*/ 71438 w 347663"/>
                                                            <a:gd name="connsiteY1" fmla="*/ 283369 h 285750"/>
                                                            <a:gd name="connsiteX2" fmla="*/ 50006 w 347663"/>
                                                            <a:gd name="connsiteY2" fmla="*/ 278606 h 285750"/>
                                                            <a:gd name="connsiteX3" fmla="*/ 42863 w 347663"/>
                                                            <a:gd name="connsiteY3" fmla="*/ 276225 h 285750"/>
                                                            <a:gd name="connsiteX4" fmla="*/ 40481 w 347663"/>
                                                            <a:gd name="connsiteY4" fmla="*/ 269081 h 285750"/>
                                                            <a:gd name="connsiteX5" fmla="*/ 38100 w 347663"/>
                                                            <a:gd name="connsiteY5" fmla="*/ 257175 h 285750"/>
                                                            <a:gd name="connsiteX6" fmla="*/ 35719 w 347663"/>
                                                            <a:gd name="connsiteY6" fmla="*/ 250031 h 285750"/>
                                                            <a:gd name="connsiteX7" fmla="*/ 21431 w 347663"/>
                                                            <a:gd name="connsiteY7" fmla="*/ 240506 h 285750"/>
                                                            <a:gd name="connsiteX8" fmla="*/ 14288 w 347663"/>
                                                            <a:gd name="connsiteY8" fmla="*/ 223837 h 285750"/>
                                                            <a:gd name="connsiteX9" fmla="*/ 7144 w 347663"/>
                                                            <a:gd name="connsiteY9" fmla="*/ 221456 h 285750"/>
                                                            <a:gd name="connsiteX10" fmla="*/ 4763 w 347663"/>
                                                            <a:gd name="connsiteY10" fmla="*/ 214312 h 285750"/>
                                                            <a:gd name="connsiteX11" fmla="*/ 11906 w 347663"/>
                                                            <a:gd name="connsiteY11" fmla="*/ 190500 h 285750"/>
                                                            <a:gd name="connsiteX12" fmla="*/ 9525 w 347663"/>
                                                            <a:gd name="connsiteY12" fmla="*/ 173831 h 285750"/>
                                                            <a:gd name="connsiteX13" fmla="*/ 0 w 347663"/>
                                                            <a:gd name="connsiteY13" fmla="*/ 159544 h 285750"/>
                                                            <a:gd name="connsiteX14" fmla="*/ 2381 w 347663"/>
                                                            <a:gd name="connsiteY14" fmla="*/ 147637 h 285750"/>
                                                            <a:gd name="connsiteX15" fmla="*/ 9525 w 347663"/>
                                                            <a:gd name="connsiteY15" fmla="*/ 142875 h 285750"/>
                                                            <a:gd name="connsiteX16" fmla="*/ 11906 w 347663"/>
                                                            <a:gd name="connsiteY16" fmla="*/ 133350 h 285750"/>
                                                            <a:gd name="connsiteX17" fmla="*/ 14288 w 347663"/>
                                                            <a:gd name="connsiteY17" fmla="*/ 126206 h 285750"/>
                                                            <a:gd name="connsiteX18" fmla="*/ 16669 w 347663"/>
                                                            <a:gd name="connsiteY18" fmla="*/ 90487 h 285750"/>
                                                            <a:gd name="connsiteX19" fmla="*/ 19050 w 347663"/>
                                                            <a:gd name="connsiteY19" fmla="*/ 83344 h 285750"/>
                                                            <a:gd name="connsiteX20" fmla="*/ 21431 w 347663"/>
                                                            <a:gd name="connsiteY20" fmla="*/ 71437 h 285750"/>
                                                            <a:gd name="connsiteX21" fmla="*/ 26194 w 347663"/>
                                                            <a:gd name="connsiteY21" fmla="*/ 57150 h 285750"/>
                                                            <a:gd name="connsiteX22" fmla="*/ 45244 w 347663"/>
                                                            <a:gd name="connsiteY22" fmla="*/ 40481 h 285750"/>
                                                            <a:gd name="connsiteX23" fmla="*/ 52388 w 347663"/>
                                                            <a:gd name="connsiteY23" fmla="*/ 33337 h 285750"/>
                                                            <a:gd name="connsiteX24" fmla="*/ 66675 w 347663"/>
                                                            <a:gd name="connsiteY24" fmla="*/ 23812 h 285750"/>
                                                            <a:gd name="connsiteX25" fmla="*/ 104775 w 347663"/>
                                                            <a:gd name="connsiteY25" fmla="*/ 16669 h 285750"/>
                                                            <a:gd name="connsiteX26" fmla="*/ 119063 w 347663"/>
                                                            <a:gd name="connsiteY26" fmla="*/ 11906 h 285750"/>
                                                            <a:gd name="connsiteX27" fmla="*/ 126206 w 347663"/>
                                                            <a:gd name="connsiteY27" fmla="*/ 7144 h 285750"/>
                                                            <a:gd name="connsiteX28" fmla="*/ 140494 w 347663"/>
                                                            <a:gd name="connsiteY28" fmla="*/ 2381 h 285750"/>
                                                            <a:gd name="connsiteX29" fmla="*/ 147638 w 347663"/>
                                                            <a:gd name="connsiteY29" fmla="*/ 0 h 285750"/>
                                                            <a:gd name="connsiteX30" fmla="*/ 178594 w 347663"/>
                                                            <a:gd name="connsiteY30" fmla="*/ 4762 h 285750"/>
                                                            <a:gd name="connsiteX31" fmla="*/ 192881 w 347663"/>
                                                            <a:gd name="connsiteY31" fmla="*/ 9525 h 285750"/>
                                                            <a:gd name="connsiteX32" fmla="*/ 207169 w 347663"/>
                                                            <a:gd name="connsiteY32" fmla="*/ 14287 h 285750"/>
                                                            <a:gd name="connsiteX33" fmla="*/ 214313 w 347663"/>
                                                            <a:gd name="connsiteY33" fmla="*/ 16669 h 285750"/>
                                                            <a:gd name="connsiteX34" fmla="*/ 230981 w 347663"/>
                                                            <a:gd name="connsiteY34" fmla="*/ 19050 h 285750"/>
                                                            <a:gd name="connsiteX35" fmla="*/ 254794 w 347663"/>
                                                            <a:gd name="connsiteY35" fmla="*/ 26194 h 285750"/>
                                                            <a:gd name="connsiteX36" fmla="*/ 261938 w 347663"/>
                                                            <a:gd name="connsiteY36" fmla="*/ 28575 h 285750"/>
                                                            <a:gd name="connsiteX37" fmla="*/ 278606 w 347663"/>
                                                            <a:gd name="connsiteY37" fmla="*/ 30956 h 285750"/>
                                                            <a:gd name="connsiteX38" fmla="*/ 283369 w 347663"/>
                                                            <a:gd name="connsiteY38" fmla="*/ 38100 h 285750"/>
                                                            <a:gd name="connsiteX39" fmla="*/ 290513 w 347663"/>
                                                            <a:gd name="connsiteY39" fmla="*/ 52387 h 285750"/>
                                                            <a:gd name="connsiteX40" fmla="*/ 297656 w 347663"/>
                                                            <a:gd name="connsiteY40" fmla="*/ 54769 h 285750"/>
                                                            <a:gd name="connsiteX41" fmla="*/ 304800 w 347663"/>
                                                            <a:gd name="connsiteY41" fmla="*/ 59531 h 285750"/>
                                                            <a:gd name="connsiteX42" fmla="*/ 323850 w 347663"/>
                                                            <a:gd name="connsiteY42" fmla="*/ 64294 h 285750"/>
                                                            <a:gd name="connsiteX43" fmla="*/ 338138 w 347663"/>
                                                            <a:gd name="connsiteY43" fmla="*/ 71437 h 285750"/>
                                                            <a:gd name="connsiteX44" fmla="*/ 340519 w 347663"/>
                                                            <a:gd name="connsiteY44" fmla="*/ 100012 h 285750"/>
                                                            <a:gd name="connsiteX45" fmla="*/ 345281 w 347663"/>
                                                            <a:gd name="connsiteY45" fmla="*/ 107156 h 285750"/>
                                                            <a:gd name="connsiteX46" fmla="*/ 347663 w 347663"/>
                                                            <a:gd name="connsiteY46" fmla="*/ 114300 h 285750"/>
                                                            <a:gd name="connsiteX47" fmla="*/ 345281 w 347663"/>
                                                            <a:gd name="connsiteY47" fmla="*/ 128587 h 285750"/>
                                                            <a:gd name="connsiteX48" fmla="*/ 340519 w 347663"/>
                                                            <a:gd name="connsiteY48" fmla="*/ 135731 h 285750"/>
                                                            <a:gd name="connsiteX49" fmla="*/ 345281 w 347663"/>
                                                            <a:gd name="connsiteY49" fmla="*/ 159544 h 285750"/>
                                                            <a:gd name="connsiteX50" fmla="*/ 342900 w 347663"/>
                                                            <a:gd name="connsiteY50" fmla="*/ 183356 h 285750"/>
                                                            <a:gd name="connsiteX51" fmla="*/ 340519 w 347663"/>
                                                            <a:gd name="connsiteY51" fmla="*/ 190500 h 285750"/>
                                                            <a:gd name="connsiteX52" fmla="*/ 333375 w 347663"/>
                                                            <a:gd name="connsiteY52" fmla="*/ 192881 h 285750"/>
                                                            <a:gd name="connsiteX53" fmla="*/ 321469 w 347663"/>
                                                            <a:gd name="connsiteY53" fmla="*/ 195262 h 285750"/>
                                                            <a:gd name="connsiteX54" fmla="*/ 311944 w 347663"/>
                                                            <a:gd name="connsiteY54" fmla="*/ 219075 h 285750"/>
                                                            <a:gd name="connsiteX55" fmla="*/ 300038 w 347663"/>
                                                            <a:gd name="connsiteY55" fmla="*/ 228600 h 285750"/>
                                                            <a:gd name="connsiteX56" fmla="*/ 247650 w 347663"/>
                                                            <a:gd name="connsiteY56" fmla="*/ 230981 h 285750"/>
                                                            <a:gd name="connsiteX57" fmla="*/ 195263 w 347663"/>
                                                            <a:gd name="connsiteY57" fmla="*/ 238125 h 285750"/>
                                                            <a:gd name="connsiteX58" fmla="*/ 188119 w 347663"/>
                                                            <a:gd name="connsiteY58" fmla="*/ 252412 h 285750"/>
                                                            <a:gd name="connsiteX59" fmla="*/ 180975 w 347663"/>
                                                            <a:gd name="connsiteY59" fmla="*/ 257175 h 285750"/>
                                                            <a:gd name="connsiteX60" fmla="*/ 178594 w 347663"/>
                                                            <a:gd name="connsiteY60" fmla="*/ 264319 h 285750"/>
                                                            <a:gd name="connsiteX61" fmla="*/ 164306 w 347663"/>
                                                            <a:gd name="connsiteY61" fmla="*/ 271462 h 285750"/>
                                                            <a:gd name="connsiteX62" fmla="*/ 121444 w 347663"/>
                                                            <a:gd name="connsiteY62" fmla="*/ 278606 h 285750"/>
                                                            <a:gd name="connsiteX63" fmla="*/ 107156 w 347663"/>
                                                            <a:gd name="connsiteY63" fmla="*/ 283369 h 285750"/>
                                                            <a:gd name="connsiteX64" fmla="*/ 100013 w 347663"/>
                                                            <a:gd name="connsiteY64" fmla="*/ 285750 h 285750"/>
                                                            <a:gd name="connsiteX65" fmla="*/ 80963 w 347663"/>
                                                            <a:gd name="connsiteY65" fmla="*/ 283369 h 285750"/>
                                                            <a:gd name="connsiteX66" fmla="*/ 71438 w 347663"/>
                                                            <a:gd name="connsiteY66" fmla="*/ 283369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47663" h="285750">
                                                              <a:moveTo>
                                                                <a:pt x="71438" y="283369"/>
                                                              </a:moveTo>
                                                              <a:lnTo>
                                                                <a:pt x="71438" y="283369"/>
                                                              </a:lnTo>
                                                              <a:cubicBezTo>
                                                                <a:pt x="64294" y="281781"/>
                                                                <a:pt x="57106" y="280381"/>
                                                                <a:pt x="50006" y="278606"/>
                                                              </a:cubicBezTo>
                                                              <a:cubicBezTo>
                                                                <a:pt x="47571" y="277997"/>
                                                                <a:pt x="44638" y="278000"/>
                                                                <a:pt x="42863" y="276225"/>
                                                              </a:cubicBezTo>
                                                              <a:cubicBezTo>
                                                                <a:pt x="41088" y="274450"/>
                                                                <a:pt x="41090" y="271516"/>
                                                                <a:pt x="40481" y="269081"/>
                                                              </a:cubicBezTo>
                                                              <a:cubicBezTo>
                                                                <a:pt x="39499" y="265155"/>
                                                                <a:pt x="39082" y="261101"/>
                                                                <a:pt x="38100" y="257175"/>
                                                              </a:cubicBezTo>
                                                              <a:cubicBezTo>
                                                                <a:pt x="37491" y="254740"/>
                                                                <a:pt x="37494" y="251806"/>
                                                                <a:pt x="35719" y="250031"/>
                                                              </a:cubicBezTo>
                                                              <a:cubicBezTo>
                                                                <a:pt x="31672" y="245984"/>
                                                                <a:pt x="21431" y="240506"/>
                                                                <a:pt x="21431" y="240506"/>
                                                              </a:cubicBezTo>
                                                              <a:cubicBezTo>
                                                                <a:pt x="20001" y="234787"/>
                                                                <a:pt x="19426" y="227948"/>
                                                                <a:pt x="14288" y="223837"/>
                                                              </a:cubicBezTo>
                                                              <a:cubicBezTo>
                                                                <a:pt x="12328" y="222269"/>
                                                                <a:pt x="9525" y="222250"/>
                                                                <a:pt x="7144" y="221456"/>
                                                              </a:cubicBezTo>
                                                              <a:cubicBezTo>
                                                                <a:pt x="6350" y="219075"/>
                                                                <a:pt x="4763" y="216822"/>
                                                                <a:pt x="4763" y="214312"/>
                                                              </a:cubicBezTo>
                                                              <a:cubicBezTo>
                                                                <a:pt x="4763" y="198990"/>
                                                                <a:pt x="5452" y="200183"/>
                                                                <a:pt x="11906" y="190500"/>
                                                              </a:cubicBezTo>
                                                              <a:cubicBezTo>
                                                                <a:pt x="11112" y="184944"/>
                                                                <a:pt x="11540" y="179070"/>
                                                                <a:pt x="9525" y="173831"/>
                                                              </a:cubicBezTo>
                                                              <a:cubicBezTo>
                                                                <a:pt x="7470" y="168489"/>
                                                                <a:pt x="0" y="159544"/>
                                                                <a:pt x="0" y="159544"/>
                                                              </a:cubicBezTo>
                                                              <a:cubicBezTo>
                                                                <a:pt x="794" y="155575"/>
                                                                <a:pt x="373" y="151151"/>
                                                                <a:pt x="2381" y="147637"/>
                                                              </a:cubicBezTo>
                                                              <a:cubicBezTo>
                                                                <a:pt x="3801" y="145152"/>
                                                                <a:pt x="7937" y="145256"/>
                                                                <a:pt x="9525" y="142875"/>
                                                              </a:cubicBezTo>
                                                              <a:cubicBezTo>
                                                                <a:pt x="11340" y="140152"/>
                                                                <a:pt x="11007" y="136497"/>
                                                                <a:pt x="11906" y="133350"/>
                                                              </a:cubicBezTo>
                                                              <a:cubicBezTo>
                                                                <a:pt x="12596" y="130936"/>
                                                                <a:pt x="13494" y="128587"/>
                                                                <a:pt x="14288" y="126206"/>
                                                              </a:cubicBezTo>
                                                              <a:cubicBezTo>
                                                                <a:pt x="15082" y="114300"/>
                                                                <a:pt x="15351" y="102347"/>
                                                                <a:pt x="16669" y="90487"/>
                                                              </a:cubicBezTo>
                                                              <a:cubicBezTo>
                                                                <a:pt x="16946" y="87993"/>
                                                                <a:pt x="18441" y="85779"/>
                                                                <a:pt x="19050" y="83344"/>
                                                              </a:cubicBezTo>
                                                              <a:cubicBezTo>
                                                                <a:pt x="20032" y="79417"/>
                                                                <a:pt x="20366" y="75342"/>
                                                                <a:pt x="21431" y="71437"/>
                                                              </a:cubicBezTo>
                                                              <a:cubicBezTo>
                                                                <a:pt x="22752" y="66594"/>
                                                                <a:pt x="23410" y="61327"/>
                                                                <a:pt x="26194" y="57150"/>
                                                              </a:cubicBezTo>
                                                              <a:cubicBezTo>
                                                                <a:pt x="39685" y="36911"/>
                                                                <a:pt x="17466" y="68259"/>
                                                                <a:pt x="45244" y="40481"/>
                                                              </a:cubicBezTo>
                                                              <a:cubicBezTo>
                                                                <a:pt x="47625" y="38100"/>
                                                                <a:pt x="49730" y="35405"/>
                                                                <a:pt x="52388" y="33337"/>
                                                              </a:cubicBezTo>
                                                              <a:cubicBezTo>
                                                                <a:pt x="56906" y="29823"/>
                                                                <a:pt x="61245" y="25622"/>
                                                                <a:pt x="66675" y="23812"/>
                                                              </a:cubicBezTo>
                                                              <a:cubicBezTo>
                                                                <a:pt x="88531" y="16528"/>
                                                                <a:pt x="75968" y="19549"/>
                                                                <a:pt x="104775" y="16669"/>
                                                              </a:cubicBezTo>
                                                              <a:cubicBezTo>
                                                                <a:pt x="109538" y="15081"/>
                                                                <a:pt x="114886" y="14691"/>
                                                                <a:pt x="119063" y="11906"/>
                                                              </a:cubicBezTo>
                                                              <a:cubicBezTo>
                                                                <a:pt x="121444" y="10319"/>
                                                                <a:pt x="123591" y="8306"/>
                                                                <a:pt x="126206" y="7144"/>
                                                              </a:cubicBezTo>
                                                              <a:cubicBezTo>
                                                                <a:pt x="130794" y="5105"/>
                                                                <a:pt x="135731" y="3969"/>
                                                                <a:pt x="140494" y="2381"/>
                                                              </a:cubicBezTo>
                                                              <a:lnTo>
                                                                <a:pt x="147638" y="0"/>
                                                              </a:lnTo>
                                                              <a:cubicBezTo>
                                                                <a:pt x="162724" y="1676"/>
                                                                <a:pt x="166466" y="1123"/>
                                                                <a:pt x="178594" y="4762"/>
                                                              </a:cubicBezTo>
                                                              <a:cubicBezTo>
                                                                <a:pt x="183402" y="6205"/>
                                                                <a:pt x="188119" y="7937"/>
                                                                <a:pt x="192881" y="9525"/>
                                                              </a:cubicBezTo>
                                                              <a:lnTo>
                                                                <a:pt x="207169" y="14287"/>
                                                              </a:lnTo>
                                                              <a:cubicBezTo>
                                                                <a:pt x="209550" y="15081"/>
                                                                <a:pt x="211828" y="16314"/>
                                                                <a:pt x="214313" y="16669"/>
                                                              </a:cubicBezTo>
                                                              <a:cubicBezTo>
                                                                <a:pt x="219869" y="17463"/>
                                                                <a:pt x="225459" y="18046"/>
                                                                <a:pt x="230981" y="19050"/>
                                                              </a:cubicBezTo>
                                                              <a:cubicBezTo>
                                                                <a:pt x="238902" y="20490"/>
                                                                <a:pt x="247333" y="23707"/>
                                                                <a:pt x="254794" y="26194"/>
                                                              </a:cubicBezTo>
                                                              <a:cubicBezTo>
                                                                <a:pt x="257175" y="26988"/>
                                                                <a:pt x="259453" y="28220"/>
                                                                <a:pt x="261938" y="28575"/>
                                                              </a:cubicBezTo>
                                                              <a:lnTo>
                                                                <a:pt x="278606" y="30956"/>
                                                              </a:lnTo>
                                                              <a:cubicBezTo>
                                                                <a:pt x="280194" y="33337"/>
                                                                <a:pt x="282089" y="35540"/>
                                                                <a:pt x="283369" y="38100"/>
                                                              </a:cubicBezTo>
                                                              <a:cubicBezTo>
                                                                <a:pt x="286246" y="43854"/>
                                                                <a:pt x="284823" y="47835"/>
                                                                <a:pt x="290513" y="52387"/>
                                                              </a:cubicBezTo>
                                                              <a:cubicBezTo>
                                                                <a:pt x="292473" y="53955"/>
                                                                <a:pt x="295411" y="53646"/>
                                                                <a:pt x="297656" y="54769"/>
                                                              </a:cubicBezTo>
                                                              <a:cubicBezTo>
                                                                <a:pt x="300216" y="56049"/>
                                                                <a:pt x="302240" y="58251"/>
                                                                <a:pt x="304800" y="59531"/>
                                                              </a:cubicBezTo>
                                                              <a:cubicBezTo>
                                                                <a:pt x="310241" y="62251"/>
                                                                <a:pt x="318420" y="62936"/>
                                                                <a:pt x="323850" y="64294"/>
                                                              </a:cubicBezTo>
                                                              <a:cubicBezTo>
                                                                <a:pt x="331738" y="66266"/>
                                                                <a:pt x="331152" y="66780"/>
                                                                <a:pt x="338138" y="71437"/>
                                                              </a:cubicBezTo>
                                                              <a:cubicBezTo>
                                                                <a:pt x="338932" y="80962"/>
                                                                <a:pt x="338645" y="90640"/>
                                                                <a:pt x="340519" y="100012"/>
                                                              </a:cubicBezTo>
                                                              <a:cubicBezTo>
                                                                <a:pt x="341080" y="102818"/>
                                                                <a:pt x="344001" y="104596"/>
                                                                <a:pt x="345281" y="107156"/>
                                                              </a:cubicBezTo>
                                                              <a:cubicBezTo>
                                                                <a:pt x="346404" y="109401"/>
                                                                <a:pt x="346869" y="111919"/>
                                                                <a:pt x="347663" y="114300"/>
                                                              </a:cubicBezTo>
                                                              <a:cubicBezTo>
                                                                <a:pt x="346869" y="119062"/>
                                                                <a:pt x="346808" y="124007"/>
                                                                <a:pt x="345281" y="128587"/>
                                                              </a:cubicBezTo>
                                                              <a:cubicBezTo>
                                                                <a:pt x="344376" y="131302"/>
                                                                <a:pt x="340519" y="132869"/>
                                                                <a:pt x="340519" y="135731"/>
                                                              </a:cubicBezTo>
                                                              <a:cubicBezTo>
                                                                <a:pt x="340519" y="143826"/>
                                                                <a:pt x="345281" y="159544"/>
                                                                <a:pt x="345281" y="159544"/>
                                                              </a:cubicBezTo>
                                                              <a:cubicBezTo>
                                                                <a:pt x="344487" y="167481"/>
                                                                <a:pt x="344113" y="175472"/>
                                                                <a:pt x="342900" y="183356"/>
                                                              </a:cubicBezTo>
                                                              <a:cubicBezTo>
                                                                <a:pt x="342518" y="185837"/>
                                                                <a:pt x="342294" y="188725"/>
                                                                <a:pt x="340519" y="190500"/>
                                                              </a:cubicBezTo>
                                                              <a:cubicBezTo>
                                                                <a:pt x="338744" y="192275"/>
                                                                <a:pt x="335810" y="192272"/>
                                                                <a:pt x="333375" y="192881"/>
                                                              </a:cubicBezTo>
                                                              <a:cubicBezTo>
                                                                <a:pt x="329449" y="193863"/>
                                                                <a:pt x="325438" y="194468"/>
                                                                <a:pt x="321469" y="195262"/>
                                                              </a:cubicBezTo>
                                                              <a:cubicBezTo>
                                                                <a:pt x="307661" y="209070"/>
                                                                <a:pt x="319292" y="194581"/>
                                                                <a:pt x="311944" y="219075"/>
                                                              </a:cubicBezTo>
                                                              <a:cubicBezTo>
                                                                <a:pt x="310133" y="225112"/>
                                                                <a:pt x="306087" y="228116"/>
                                                                <a:pt x="300038" y="228600"/>
                                                              </a:cubicBezTo>
                                                              <a:cubicBezTo>
                                                                <a:pt x="282613" y="229994"/>
                                                                <a:pt x="265113" y="230187"/>
                                                                <a:pt x="247650" y="230981"/>
                                                              </a:cubicBezTo>
                                                              <a:cubicBezTo>
                                                                <a:pt x="199910" y="236007"/>
                                                                <a:pt x="216792" y="230949"/>
                                                                <a:pt x="195263" y="238125"/>
                                                              </a:cubicBezTo>
                                                              <a:cubicBezTo>
                                                                <a:pt x="193326" y="243934"/>
                                                                <a:pt x="192734" y="247797"/>
                                                                <a:pt x="188119" y="252412"/>
                                                              </a:cubicBezTo>
                                                              <a:cubicBezTo>
                                                                <a:pt x="186095" y="254436"/>
                                                                <a:pt x="183356" y="255587"/>
                                                                <a:pt x="180975" y="257175"/>
                                                              </a:cubicBezTo>
                                                              <a:cubicBezTo>
                                                                <a:pt x="180181" y="259556"/>
                                                                <a:pt x="180162" y="262359"/>
                                                                <a:pt x="178594" y="264319"/>
                                                              </a:cubicBezTo>
                                                              <a:cubicBezTo>
                                                                <a:pt x="175237" y="268515"/>
                                                                <a:pt x="169011" y="269894"/>
                                                                <a:pt x="164306" y="271462"/>
                                                              </a:cubicBezTo>
                                                              <a:cubicBezTo>
                                                                <a:pt x="145890" y="283742"/>
                                                                <a:pt x="165629" y="272294"/>
                                                                <a:pt x="121444" y="278606"/>
                                                              </a:cubicBezTo>
                                                              <a:cubicBezTo>
                                                                <a:pt x="116474" y="279316"/>
                                                                <a:pt x="111919" y="281781"/>
                                                                <a:pt x="107156" y="283369"/>
                                                              </a:cubicBezTo>
                                                              <a:lnTo>
                                                                <a:pt x="100013" y="285750"/>
                                                              </a:lnTo>
                                                              <a:cubicBezTo>
                                                                <a:pt x="93663" y="284956"/>
                                                                <a:pt x="87288" y="284342"/>
                                                                <a:pt x="80963" y="283369"/>
                                                              </a:cubicBezTo>
                                                              <a:cubicBezTo>
                                                                <a:pt x="63457" y="280676"/>
                                                                <a:pt x="73025" y="283369"/>
                                                                <a:pt x="71438" y="283369"/>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42" name="Group 241"/>
                                                      <p:cNvGrpSpPr/>
                                                      <p:nvPr/>
                                                    </p:nvGrpSpPr>
                                                    <p:grpSpPr>
                                                      <a:xfrm>
                                                        <a:off x="2916503" y="4597244"/>
                                                        <a:ext cx="1495617" cy="1924167"/>
                                                        <a:chOff x="2916503" y="4597244"/>
                                                        <a:chExt cx="1495617" cy="1924167"/>
                                                      </a:xfrm>
                                                      <a:grpFill/>
                                                    </p:grpSpPr>
                                                    <p:grpSp>
                                                      <p:nvGrpSpPr>
                                                        <p:cNvPr id="243" name="Group 242"/>
                                                        <p:cNvGrpSpPr/>
                                                        <p:nvPr/>
                                                      </p:nvGrpSpPr>
                                                      <p:grpSpPr>
                                                        <a:xfrm>
                                                          <a:off x="2916503" y="4597244"/>
                                                          <a:ext cx="1495617" cy="1924167"/>
                                                          <a:chOff x="2916503" y="4597244"/>
                                                          <a:chExt cx="1495617" cy="1924167"/>
                                                        </a:xfrm>
                                                        <a:grpFill/>
                                                      </p:grpSpPr>
                                                      <p:grpSp>
                                                        <p:nvGrpSpPr>
                                                          <p:cNvPr id="245" name="Group 244"/>
                                                          <p:cNvGrpSpPr/>
                                                          <p:nvPr/>
                                                        </p:nvGrpSpPr>
                                                        <p:grpSpPr>
                                                          <a:xfrm>
                                                            <a:off x="2916503" y="4597244"/>
                                                            <a:ext cx="1495617" cy="1705384"/>
                                                            <a:chOff x="2916503" y="4597244"/>
                                                            <a:chExt cx="1495617" cy="1705384"/>
                                                          </a:xfrm>
                                                          <a:grpFill/>
                                                        </p:grpSpPr>
                                                        <p:sp>
                                                          <p:nvSpPr>
                                                            <p:cNvPr id="247" name="Freeform 246"/>
                                                            <p:cNvSpPr/>
                                                            <p:nvPr/>
                                                          </p:nvSpPr>
                                                          <p:spPr>
                                                            <a:xfrm>
                                                              <a:off x="2916503" y="4597244"/>
                                                              <a:ext cx="1495617" cy="1705384"/>
                                                            </a:xfrm>
                                                            <a:custGeom>
                                                              <a:avLst/>
                                                              <a:gdLst>
                                                                <a:gd name="connsiteX0" fmla="*/ 115603 w 1495617"/>
                                                                <a:gd name="connsiteY0" fmla="*/ 524518 h 1705384"/>
                                                                <a:gd name="connsiteX1" fmla="*/ 115603 w 1495617"/>
                                                                <a:gd name="connsiteY1" fmla="*/ 524518 h 1705384"/>
                                                                <a:gd name="connsiteX2" fmla="*/ 90358 w 1495617"/>
                                                                <a:gd name="connsiteY2" fmla="*/ 530128 h 1705384"/>
                                                                <a:gd name="connsiteX3" fmla="*/ 84749 w 1495617"/>
                                                                <a:gd name="connsiteY3" fmla="*/ 538543 h 1705384"/>
                                                                <a:gd name="connsiteX4" fmla="*/ 76334 w 1495617"/>
                                                                <a:gd name="connsiteY4" fmla="*/ 541347 h 1705384"/>
                                                                <a:gd name="connsiteX5" fmla="*/ 70724 w 1495617"/>
                                                                <a:gd name="connsiteY5" fmla="*/ 532933 h 1705384"/>
                                                                <a:gd name="connsiteX6" fmla="*/ 76334 w 1495617"/>
                                                                <a:gd name="connsiteY6" fmla="*/ 504884 h 1705384"/>
                                                                <a:gd name="connsiteX7" fmla="*/ 84749 w 1495617"/>
                                                                <a:gd name="connsiteY7" fmla="*/ 488054 h 1705384"/>
                                                                <a:gd name="connsiteX8" fmla="*/ 81944 w 1495617"/>
                                                                <a:gd name="connsiteY8" fmla="*/ 479639 h 1705384"/>
                                                                <a:gd name="connsiteX9" fmla="*/ 65114 w 1495617"/>
                                                                <a:gd name="connsiteY9" fmla="*/ 474030 h 1705384"/>
                                                                <a:gd name="connsiteX10" fmla="*/ 56699 w 1495617"/>
                                                                <a:gd name="connsiteY10" fmla="*/ 468420 h 1705384"/>
                                                                <a:gd name="connsiteX11" fmla="*/ 48285 w 1495617"/>
                                                                <a:gd name="connsiteY11" fmla="*/ 460005 h 1705384"/>
                                                                <a:gd name="connsiteX12" fmla="*/ 31455 w 1495617"/>
                                                                <a:gd name="connsiteY12" fmla="*/ 448785 h 1705384"/>
                                                                <a:gd name="connsiteX13" fmla="*/ 23041 w 1495617"/>
                                                                <a:gd name="connsiteY13" fmla="*/ 409517 h 1705384"/>
                                                                <a:gd name="connsiteX14" fmla="*/ 14626 w 1495617"/>
                                                                <a:gd name="connsiteY14" fmla="*/ 384273 h 1705384"/>
                                                                <a:gd name="connsiteX15" fmla="*/ 11821 w 1495617"/>
                                                                <a:gd name="connsiteY15" fmla="*/ 375858 h 1705384"/>
                                                                <a:gd name="connsiteX16" fmla="*/ 3406 w 1495617"/>
                                                                <a:gd name="connsiteY16" fmla="*/ 367443 h 1705384"/>
                                                                <a:gd name="connsiteX17" fmla="*/ 601 w 1495617"/>
                                                                <a:gd name="connsiteY17" fmla="*/ 359028 h 1705384"/>
                                                                <a:gd name="connsiteX18" fmla="*/ 17431 w 1495617"/>
                                                                <a:gd name="connsiteY18" fmla="*/ 353419 h 1705384"/>
                                                                <a:gd name="connsiteX19" fmla="*/ 25845 w 1495617"/>
                                                                <a:gd name="connsiteY19" fmla="*/ 347809 h 1705384"/>
                                                                <a:gd name="connsiteX20" fmla="*/ 34260 w 1495617"/>
                                                                <a:gd name="connsiteY20" fmla="*/ 345004 h 1705384"/>
                                                                <a:gd name="connsiteX21" fmla="*/ 39870 w 1495617"/>
                                                                <a:gd name="connsiteY21" fmla="*/ 328174 h 1705384"/>
                                                                <a:gd name="connsiteX22" fmla="*/ 42675 w 1495617"/>
                                                                <a:gd name="connsiteY22" fmla="*/ 319760 h 1705384"/>
                                                                <a:gd name="connsiteX23" fmla="*/ 39870 w 1495617"/>
                                                                <a:gd name="connsiteY23" fmla="*/ 305735 h 1705384"/>
                                                                <a:gd name="connsiteX24" fmla="*/ 23041 w 1495617"/>
                                                                <a:gd name="connsiteY24" fmla="*/ 297320 h 1705384"/>
                                                                <a:gd name="connsiteX25" fmla="*/ 17431 w 1495617"/>
                                                                <a:gd name="connsiteY25" fmla="*/ 274881 h 1705384"/>
                                                                <a:gd name="connsiteX26" fmla="*/ 23041 w 1495617"/>
                                                                <a:gd name="connsiteY26" fmla="*/ 258052 h 1705384"/>
                                                                <a:gd name="connsiteX27" fmla="*/ 53895 w 1495617"/>
                                                                <a:gd name="connsiteY27" fmla="*/ 244027 h 1705384"/>
                                                                <a:gd name="connsiteX28" fmla="*/ 62309 w 1495617"/>
                                                                <a:gd name="connsiteY28" fmla="*/ 227198 h 1705384"/>
                                                                <a:gd name="connsiteX29" fmla="*/ 70724 w 1495617"/>
                                                                <a:gd name="connsiteY29" fmla="*/ 221588 h 1705384"/>
                                                                <a:gd name="connsiteX30" fmla="*/ 62309 w 1495617"/>
                                                                <a:gd name="connsiteY30" fmla="*/ 193539 h 1705384"/>
                                                                <a:gd name="connsiteX31" fmla="*/ 56699 w 1495617"/>
                                                                <a:gd name="connsiteY31" fmla="*/ 185124 h 1705384"/>
                                                                <a:gd name="connsiteX32" fmla="*/ 48285 w 1495617"/>
                                                                <a:gd name="connsiteY32" fmla="*/ 179514 h 1705384"/>
                                                                <a:gd name="connsiteX33" fmla="*/ 45480 w 1495617"/>
                                                                <a:gd name="connsiteY33" fmla="*/ 145855 h 1705384"/>
                                                                <a:gd name="connsiteX34" fmla="*/ 51090 w 1495617"/>
                                                                <a:gd name="connsiteY34" fmla="*/ 137441 h 1705384"/>
                                                                <a:gd name="connsiteX35" fmla="*/ 59504 w 1495617"/>
                                                                <a:gd name="connsiteY35" fmla="*/ 131831 h 1705384"/>
                                                                <a:gd name="connsiteX36" fmla="*/ 67919 w 1495617"/>
                                                                <a:gd name="connsiteY36" fmla="*/ 134636 h 1705384"/>
                                                                <a:gd name="connsiteX37" fmla="*/ 73529 w 1495617"/>
                                                                <a:gd name="connsiteY37" fmla="*/ 143050 h 1705384"/>
                                                                <a:gd name="connsiteX38" fmla="*/ 90358 w 1495617"/>
                                                                <a:gd name="connsiteY38" fmla="*/ 148660 h 1705384"/>
                                                                <a:gd name="connsiteX39" fmla="*/ 107188 w 1495617"/>
                                                                <a:gd name="connsiteY39" fmla="*/ 145855 h 1705384"/>
                                                                <a:gd name="connsiteX40" fmla="*/ 121212 w 1495617"/>
                                                                <a:gd name="connsiteY40" fmla="*/ 131831 h 1705384"/>
                                                                <a:gd name="connsiteX41" fmla="*/ 129627 w 1495617"/>
                                                                <a:gd name="connsiteY41" fmla="*/ 129026 h 1705384"/>
                                                                <a:gd name="connsiteX42" fmla="*/ 163286 w 1495617"/>
                                                                <a:gd name="connsiteY42" fmla="*/ 137441 h 1705384"/>
                                                                <a:gd name="connsiteX43" fmla="*/ 171701 w 1495617"/>
                                                                <a:gd name="connsiteY43" fmla="*/ 143050 h 1705384"/>
                                                                <a:gd name="connsiteX44" fmla="*/ 196945 w 1495617"/>
                                                                <a:gd name="connsiteY44" fmla="*/ 129026 h 1705384"/>
                                                                <a:gd name="connsiteX45" fmla="*/ 205360 w 1495617"/>
                                                                <a:gd name="connsiteY45" fmla="*/ 123416 h 1705384"/>
                                                                <a:gd name="connsiteX46" fmla="*/ 222189 w 1495617"/>
                                                                <a:gd name="connsiteY46" fmla="*/ 117806 h 1705384"/>
                                                                <a:gd name="connsiteX47" fmla="*/ 230604 w 1495617"/>
                                                                <a:gd name="connsiteY47" fmla="*/ 100977 h 1705384"/>
                                                                <a:gd name="connsiteX48" fmla="*/ 244628 w 1495617"/>
                                                                <a:gd name="connsiteY48" fmla="*/ 84147 h 1705384"/>
                                                                <a:gd name="connsiteX49" fmla="*/ 267068 w 1495617"/>
                                                                <a:gd name="connsiteY49" fmla="*/ 70123 h 1705384"/>
                                                                <a:gd name="connsiteX50" fmla="*/ 272677 w 1495617"/>
                                                                <a:gd name="connsiteY50" fmla="*/ 78538 h 1705384"/>
                                                                <a:gd name="connsiteX51" fmla="*/ 275482 w 1495617"/>
                                                                <a:gd name="connsiteY51" fmla="*/ 95367 h 1705384"/>
                                                                <a:gd name="connsiteX52" fmla="*/ 283897 w 1495617"/>
                                                                <a:gd name="connsiteY52" fmla="*/ 100977 h 1705384"/>
                                                                <a:gd name="connsiteX53" fmla="*/ 289507 w 1495617"/>
                                                                <a:gd name="connsiteY53" fmla="*/ 117806 h 1705384"/>
                                                                <a:gd name="connsiteX54" fmla="*/ 295117 w 1495617"/>
                                                                <a:gd name="connsiteY54" fmla="*/ 126221 h 1705384"/>
                                                                <a:gd name="connsiteX55" fmla="*/ 297922 w 1495617"/>
                                                                <a:gd name="connsiteY55" fmla="*/ 134636 h 1705384"/>
                                                                <a:gd name="connsiteX56" fmla="*/ 303531 w 1495617"/>
                                                                <a:gd name="connsiteY56" fmla="*/ 143050 h 1705384"/>
                                                                <a:gd name="connsiteX57" fmla="*/ 317556 w 1495617"/>
                                                                <a:gd name="connsiteY57" fmla="*/ 165490 h 1705384"/>
                                                                <a:gd name="connsiteX58" fmla="*/ 323166 w 1495617"/>
                                                                <a:gd name="connsiteY58" fmla="*/ 173904 h 1705384"/>
                                                                <a:gd name="connsiteX59" fmla="*/ 325971 w 1495617"/>
                                                                <a:gd name="connsiteY59" fmla="*/ 165490 h 1705384"/>
                                                                <a:gd name="connsiteX60" fmla="*/ 328776 w 1495617"/>
                                                                <a:gd name="connsiteY60" fmla="*/ 137441 h 1705384"/>
                                                                <a:gd name="connsiteX61" fmla="*/ 337190 w 1495617"/>
                                                                <a:gd name="connsiteY61" fmla="*/ 134636 h 1705384"/>
                                                                <a:gd name="connsiteX62" fmla="*/ 354020 w 1495617"/>
                                                                <a:gd name="connsiteY62" fmla="*/ 126221 h 1705384"/>
                                                                <a:gd name="connsiteX63" fmla="*/ 370849 w 1495617"/>
                                                                <a:gd name="connsiteY63" fmla="*/ 92562 h 1705384"/>
                                                                <a:gd name="connsiteX64" fmla="*/ 373654 w 1495617"/>
                                                                <a:gd name="connsiteY64" fmla="*/ 84147 h 1705384"/>
                                                                <a:gd name="connsiteX65" fmla="*/ 382069 w 1495617"/>
                                                                <a:gd name="connsiteY65" fmla="*/ 86952 h 1705384"/>
                                                                <a:gd name="connsiteX66" fmla="*/ 396093 w 1495617"/>
                                                                <a:gd name="connsiteY66" fmla="*/ 106587 h 1705384"/>
                                                                <a:gd name="connsiteX67" fmla="*/ 446582 w 1495617"/>
                                                                <a:gd name="connsiteY67" fmla="*/ 109392 h 1705384"/>
                                                                <a:gd name="connsiteX68" fmla="*/ 454996 w 1495617"/>
                                                                <a:gd name="connsiteY68" fmla="*/ 112196 h 1705384"/>
                                                                <a:gd name="connsiteX69" fmla="*/ 463411 w 1495617"/>
                                                                <a:gd name="connsiteY69" fmla="*/ 129026 h 1705384"/>
                                                                <a:gd name="connsiteX70" fmla="*/ 469021 w 1495617"/>
                                                                <a:gd name="connsiteY70" fmla="*/ 81343 h 1705384"/>
                                                                <a:gd name="connsiteX71" fmla="*/ 471826 w 1495617"/>
                                                                <a:gd name="connsiteY71" fmla="*/ 72928 h 1705384"/>
                                                                <a:gd name="connsiteX72" fmla="*/ 494265 w 1495617"/>
                                                                <a:gd name="connsiteY72" fmla="*/ 78538 h 1705384"/>
                                                                <a:gd name="connsiteX73" fmla="*/ 502680 w 1495617"/>
                                                                <a:gd name="connsiteY73" fmla="*/ 84147 h 1705384"/>
                                                                <a:gd name="connsiteX74" fmla="*/ 508290 w 1495617"/>
                                                                <a:gd name="connsiteY74" fmla="*/ 53293 h 1705384"/>
                                                                <a:gd name="connsiteX75" fmla="*/ 513899 w 1495617"/>
                                                                <a:gd name="connsiteY75" fmla="*/ 36464 h 1705384"/>
                                                                <a:gd name="connsiteX76" fmla="*/ 522314 w 1495617"/>
                                                                <a:gd name="connsiteY76" fmla="*/ 30854 h 1705384"/>
                                                                <a:gd name="connsiteX77" fmla="*/ 525119 w 1495617"/>
                                                                <a:gd name="connsiteY77" fmla="*/ 22439 h 1705384"/>
                                                                <a:gd name="connsiteX78" fmla="*/ 547558 w 1495617"/>
                                                                <a:gd name="connsiteY78" fmla="*/ 22439 h 1705384"/>
                                                                <a:gd name="connsiteX79" fmla="*/ 555973 w 1495617"/>
                                                                <a:gd name="connsiteY79" fmla="*/ 28049 h 1705384"/>
                                                                <a:gd name="connsiteX80" fmla="*/ 569998 w 1495617"/>
                                                                <a:gd name="connsiteY80" fmla="*/ 30854 h 1705384"/>
                                                                <a:gd name="connsiteX81" fmla="*/ 578412 w 1495617"/>
                                                                <a:gd name="connsiteY81" fmla="*/ 33659 h 1705384"/>
                                                                <a:gd name="connsiteX82" fmla="*/ 586827 w 1495617"/>
                                                                <a:gd name="connsiteY82" fmla="*/ 30854 h 1705384"/>
                                                                <a:gd name="connsiteX83" fmla="*/ 603657 w 1495617"/>
                                                                <a:gd name="connsiteY83" fmla="*/ 19635 h 1705384"/>
                                                                <a:gd name="connsiteX84" fmla="*/ 606461 w 1495617"/>
                                                                <a:gd name="connsiteY84" fmla="*/ 11220 h 1705384"/>
                                                                <a:gd name="connsiteX85" fmla="*/ 620486 w 1495617"/>
                                                                <a:gd name="connsiteY85" fmla="*/ 8415 h 1705384"/>
                                                                <a:gd name="connsiteX86" fmla="*/ 656950 w 1495617"/>
                                                                <a:gd name="connsiteY86" fmla="*/ 11220 h 1705384"/>
                                                                <a:gd name="connsiteX87" fmla="*/ 679389 w 1495617"/>
                                                                <a:gd name="connsiteY87" fmla="*/ 22439 h 1705384"/>
                                                                <a:gd name="connsiteX88" fmla="*/ 693414 w 1495617"/>
                                                                <a:gd name="connsiteY88" fmla="*/ 19635 h 1705384"/>
                                                                <a:gd name="connsiteX89" fmla="*/ 710243 w 1495617"/>
                                                                <a:gd name="connsiteY89" fmla="*/ 8415 h 1705384"/>
                                                                <a:gd name="connsiteX90" fmla="*/ 718658 w 1495617"/>
                                                                <a:gd name="connsiteY90" fmla="*/ 2805 h 1705384"/>
                                                                <a:gd name="connsiteX91" fmla="*/ 727072 w 1495617"/>
                                                                <a:gd name="connsiteY91" fmla="*/ 0 h 1705384"/>
                                                                <a:gd name="connsiteX92" fmla="*/ 743902 w 1495617"/>
                                                                <a:gd name="connsiteY92" fmla="*/ 2805 h 1705384"/>
                                                                <a:gd name="connsiteX93" fmla="*/ 746707 w 1495617"/>
                                                                <a:gd name="connsiteY93" fmla="*/ 44879 h 1705384"/>
                                                                <a:gd name="connsiteX94" fmla="*/ 752317 w 1495617"/>
                                                                <a:gd name="connsiteY94" fmla="*/ 53293 h 1705384"/>
                                                                <a:gd name="connsiteX95" fmla="*/ 755122 w 1495617"/>
                                                                <a:gd name="connsiteY95" fmla="*/ 61708 h 1705384"/>
                                                                <a:gd name="connsiteX96" fmla="*/ 763536 w 1495617"/>
                                                                <a:gd name="connsiteY96" fmla="*/ 70123 h 1705384"/>
                                                                <a:gd name="connsiteX97" fmla="*/ 797195 w 1495617"/>
                                                                <a:gd name="connsiteY97" fmla="*/ 86952 h 1705384"/>
                                                                <a:gd name="connsiteX98" fmla="*/ 805610 w 1495617"/>
                                                                <a:gd name="connsiteY98" fmla="*/ 89757 h 1705384"/>
                                                                <a:gd name="connsiteX99" fmla="*/ 814025 w 1495617"/>
                                                                <a:gd name="connsiteY99" fmla="*/ 95367 h 1705384"/>
                                                                <a:gd name="connsiteX100" fmla="*/ 839269 w 1495617"/>
                                                                <a:gd name="connsiteY100" fmla="*/ 100977 h 1705384"/>
                                                                <a:gd name="connsiteX101" fmla="*/ 858903 w 1495617"/>
                                                                <a:gd name="connsiteY101" fmla="*/ 106587 h 1705384"/>
                                                                <a:gd name="connsiteX102" fmla="*/ 886952 w 1495617"/>
                                                                <a:gd name="connsiteY102" fmla="*/ 112196 h 1705384"/>
                                                                <a:gd name="connsiteX103" fmla="*/ 895367 w 1495617"/>
                                                                <a:gd name="connsiteY103" fmla="*/ 115001 h 1705384"/>
                                                                <a:gd name="connsiteX104" fmla="*/ 917806 w 1495617"/>
                                                                <a:gd name="connsiteY104" fmla="*/ 120611 h 1705384"/>
                                                                <a:gd name="connsiteX105" fmla="*/ 903782 w 1495617"/>
                                                                <a:gd name="connsiteY105" fmla="*/ 143050 h 1705384"/>
                                                                <a:gd name="connsiteX106" fmla="*/ 900977 w 1495617"/>
                                                                <a:gd name="connsiteY106" fmla="*/ 151465 h 1705384"/>
                                                                <a:gd name="connsiteX107" fmla="*/ 895367 w 1495617"/>
                                                                <a:gd name="connsiteY107" fmla="*/ 159880 h 1705384"/>
                                                                <a:gd name="connsiteX108" fmla="*/ 900977 w 1495617"/>
                                                                <a:gd name="connsiteY108" fmla="*/ 182319 h 1705384"/>
                                                                <a:gd name="connsiteX109" fmla="*/ 909391 w 1495617"/>
                                                                <a:gd name="connsiteY109" fmla="*/ 187929 h 1705384"/>
                                                                <a:gd name="connsiteX110" fmla="*/ 906587 w 1495617"/>
                                                                <a:gd name="connsiteY110" fmla="*/ 196344 h 1705384"/>
                                                                <a:gd name="connsiteX111" fmla="*/ 895367 w 1495617"/>
                                                                <a:gd name="connsiteY111" fmla="*/ 213173 h 1705384"/>
                                                                <a:gd name="connsiteX112" fmla="*/ 898172 w 1495617"/>
                                                                <a:gd name="connsiteY112" fmla="*/ 230003 h 1705384"/>
                                                                <a:gd name="connsiteX113" fmla="*/ 903782 w 1495617"/>
                                                                <a:gd name="connsiteY113" fmla="*/ 238417 h 1705384"/>
                                                                <a:gd name="connsiteX114" fmla="*/ 892562 w 1495617"/>
                                                                <a:gd name="connsiteY114" fmla="*/ 269271 h 1705384"/>
                                                                <a:gd name="connsiteX115" fmla="*/ 861708 w 1495617"/>
                                                                <a:gd name="connsiteY115" fmla="*/ 260857 h 1705384"/>
                                                                <a:gd name="connsiteX116" fmla="*/ 844879 w 1495617"/>
                                                                <a:gd name="connsiteY116" fmla="*/ 255247 h 1705384"/>
                                                                <a:gd name="connsiteX117" fmla="*/ 833659 w 1495617"/>
                                                                <a:gd name="connsiteY117" fmla="*/ 266466 h 1705384"/>
                                                                <a:gd name="connsiteX118" fmla="*/ 794390 w 1495617"/>
                                                                <a:gd name="connsiteY118" fmla="*/ 280491 h 1705384"/>
                                                                <a:gd name="connsiteX119" fmla="*/ 785976 w 1495617"/>
                                                                <a:gd name="connsiteY119" fmla="*/ 283296 h 1705384"/>
                                                                <a:gd name="connsiteX120" fmla="*/ 777561 w 1495617"/>
                                                                <a:gd name="connsiteY120" fmla="*/ 288906 h 1705384"/>
                                                                <a:gd name="connsiteX121" fmla="*/ 760731 w 1495617"/>
                                                                <a:gd name="connsiteY121" fmla="*/ 294516 h 1705384"/>
                                                                <a:gd name="connsiteX122" fmla="*/ 729877 w 1495617"/>
                                                                <a:gd name="connsiteY122" fmla="*/ 291711 h 1705384"/>
                                                                <a:gd name="connsiteX123" fmla="*/ 724268 w 1495617"/>
                                                                <a:gd name="connsiteY123" fmla="*/ 300125 h 1705384"/>
                                                                <a:gd name="connsiteX124" fmla="*/ 721463 w 1495617"/>
                                                                <a:gd name="connsiteY124" fmla="*/ 308540 h 1705384"/>
                                                                <a:gd name="connsiteX125" fmla="*/ 704633 w 1495617"/>
                                                                <a:gd name="connsiteY125" fmla="*/ 316955 h 1705384"/>
                                                                <a:gd name="connsiteX126" fmla="*/ 701828 w 1495617"/>
                                                                <a:gd name="connsiteY126" fmla="*/ 342199 h 1705384"/>
                                                                <a:gd name="connsiteX127" fmla="*/ 710243 w 1495617"/>
                                                                <a:gd name="connsiteY127" fmla="*/ 347809 h 1705384"/>
                                                                <a:gd name="connsiteX128" fmla="*/ 721463 w 1495617"/>
                                                                <a:gd name="connsiteY128" fmla="*/ 364638 h 1705384"/>
                                                                <a:gd name="connsiteX129" fmla="*/ 727072 w 1495617"/>
                                                                <a:gd name="connsiteY129" fmla="*/ 381468 h 1705384"/>
                                                                <a:gd name="connsiteX130" fmla="*/ 729877 w 1495617"/>
                                                                <a:gd name="connsiteY130" fmla="*/ 392687 h 1705384"/>
                                                                <a:gd name="connsiteX131" fmla="*/ 735487 w 1495617"/>
                                                                <a:gd name="connsiteY131" fmla="*/ 409517 h 1705384"/>
                                                                <a:gd name="connsiteX132" fmla="*/ 732682 w 1495617"/>
                                                                <a:gd name="connsiteY132" fmla="*/ 417931 h 1705384"/>
                                                                <a:gd name="connsiteX133" fmla="*/ 715853 w 1495617"/>
                                                                <a:gd name="connsiteY133" fmla="*/ 426346 h 1705384"/>
                                                                <a:gd name="connsiteX134" fmla="*/ 710243 w 1495617"/>
                                                                <a:gd name="connsiteY134" fmla="*/ 443176 h 1705384"/>
                                                                <a:gd name="connsiteX135" fmla="*/ 704633 w 1495617"/>
                                                                <a:gd name="connsiteY135" fmla="*/ 462810 h 1705384"/>
                                                                <a:gd name="connsiteX136" fmla="*/ 707438 w 1495617"/>
                                                                <a:gd name="connsiteY136" fmla="*/ 507689 h 1705384"/>
                                                                <a:gd name="connsiteX137" fmla="*/ 721463 w 1495617"/>
                                                                <a:gd name="connsiteY137" fmla="*/ 532933 h 1705384"/>
                                                                <a:gd name="connsiteX138" fmla="*/ 727072 w 1495617"/>
                                                                <a:gd name="connsiteY138" fmla="*/ 541347 h 1705384"/>
                                                                <a:gd name="connsiteX139" fmla="*/ 732682 w 1495617"/>
                                                                <a:gd name="connsiteY139" fmla="*/ 558177 h 1705384"/>
                                                                <a:gd name="connsiteX140" fmla="*/ 741097 w 1495617"/>
                                                                <a:gd name="connsiteY140" fmla="*/ 575006 h 1705384"/>
                                                                <a:gd name="connsiteX141" fmla="*/ 749512 w 1495617"/>
                                                                <a:gd name="connsiteY141" fmla="*/ 580616 h 1705384"/>
                                                                <a:gd name="connsiteX142" fmla="*/ 763536 w 1495617"/>
                                                                <a:gd name="connsiteY142" fmla="*/ 594641 h 1705384"/>
                                                                <a:gd name="connsiteX143" fmla="*/ 769146 w 1495617"/>
                                                                <a:gd name="connsiteY143" fmla="*/ 603055 h 1705384"/>
                                                                <a:gd name="connsiteX144" fmla="*/ 777561 w 1495617"/>
                                                                <a:gd name="connsiteY144" fmla="*/ 608665 h 1705384"/>
                                                                <a:gd name="connsiteX145" fmla="*/ 785976 w 1495617"/>
                                                                <a:gd name="connsiteY145" fmla="*/ 617080 h 1705384"/>
                                                                <a:gd name="connsiteX146" fmla="*/ 794390 w 1495617"/>
                                                                <a:gd name="connsiteY146" fmla="*/ 619885 h 1705384"/>
                                                                <a:gd name="connsiteX147" fmla="*/ 811220 w 1495617"/>
                                                                <a:gd name="connsiteY147" fmla="*/ 628300 h 1705384"/>
                                                                <a:gd name="connsiteX148" fmla="*/ 822439 w 1495617"/>
                                                                <a:gd name="connsiteY148" fmla="*/ 645129 h 1705384"/>
                                                                <a:gd name="connsiteX149" fmla="*/ 839269 w 1495617"/>
                                                                <a:gd name="connsiteY149" fmla="*/ 656349 h 1705384"/>
                                                                <a:gd name="connsiteX150" fmla="*/ 856098 w 1495617"/>
                                                                <a:gd name="connsiteY150" fmla="*/ 664763 h 1705384"/>
                                                                <a:gd name="connsiteX151" fmla="*/ 858903 w 1495617"/>
                                                                <a:gd name="connsiteY151" fmla="*/ 673178 h 1705384"/>
                                                                <a:gd name="connsiteX152" fmla="*/ 867318 w 1495617"/>
                                                                <a:gd name="connsiteY152" fmla="*/ 681593 h 1705384"/>
                                                                <a:gd name="connsiteX153" fmla="*/ 870123 w 1495617"/>
                                                                <a:gd name="connsiteY153" fmla="*/ 695617 h 1705384"/>
                                                                <a:gd name="connsiteX154" fmla="*/ 872928 w 1495617"/>
                                                                <a:gd name="connsiteY154" fmla="*/ 706837 h 1705384"/>
                                                                <a:gd name="connsiteX155" fmla="*/ 878537 w 1495617"/>
                                                                <a:gd name="connsiteY155" fmla="*/ 723666 h 1705384"/>
                                                                <a:gd name="connsiteX156" fmla="*/ 881342 w 1495617"/>
                                                                <a:gd name="connsiteY156" fmla="*/ 732081 h 1705384"/>
                                                                <a:gd name="connsiteX157" fmla="*/ 889757 w 1495617"/>
                                                                <a:gd name="connsiteY157" fmla="*/ 790984 h 1705384"/>
                                                                <a:gd name="connsiteX158" fmla="*/ 892562 w 1495617"/>
                                                                <a:gd name="connsiteY158" fmla="*/ 799399 h 1705384"/>
                                                                <a:gd name="connsiteX159" fmla="*/ 898172 w 1495617"/>
                                                                <a:gd name="connsiteY159" fmla="*/ 807814 h 1705384"/>
                                                                <a:gd name="connsiteX160" fmla="*/ 906587 w 1495617"/>
                                                                <a:gd name="connsiteY160" fmla="*/ 824643 h 1705384"/>
                                                                <a:gd name="connsiteX161" fmla="*/ 912196 w 1495617"/>
                                                                <a:gd name="connsiteY161" fmla="*/ 841473 h 1705384"/>
                                                                <a:gd name="connsiteX162" fmla="*/ 915001 w 1495617"/>
                                                                <a:gd name="connsiteY162" fmla="*/ 849887 h 1705384"/>
                                                                <a:gd name="connsiteX163" fmla="*/ 926221 w 1495617"/>
                                                                <a:gd name="connsiteY163" fmla="*/ 866717 h 1705384"/>
                                                                <a:gd name="connsiteX164" fmla="*/ 937441 w 1495617"/>
                                                                <a:gd name="connsiteY164" fmla="*/ 891961 h 1705384"/>
                                                                <a:gd name="connsiteX165" fmla="*/ 945855 w 1495617"/>
                                                                <a:gd name="connsiteY165" fmla="*/ 897571 h 1705384"/>
                                                                <a:gd name="connsiteX166" fmla="*/ 959880 w 1495617"/>
                                                                <a:gd name="connsiteY166" fmla="*/ 911595 h 1705384"/>
                                                                <a:gd name="connsiteX167" fmla="*/ 965490 w 1495617"/>
                                                                <a:gd name="connsiteY167" fmla="*/ 920010 h 1705384"/>
                                                                <a:gd name="connsiteX168" fmla="*/ 973904 w 1495617"/>
                                                                <a:gd name="connsiteY168" fmla="*/ 922815 h 1705384"/>
                                                                <a:gd name="connsiteX169" fmla="*/ 990734 w 1495617"/>
                                                                <a:gd name="connsiteY169" fmla="*/ 934035 h 1705384"/>
                                                                <a:gd name="connsiteX170" fmla="*/ 999149 w 1495617"/>
                                                                <a:gd name="connsiteY170" fmla="*/ 950864 h 1705384"/>
                                                                <a:gd name="connsiteX171" fmla="*/ 1007563 w 1495617"/>
                                                                <a:gd name="connsiteY171" fmla="*/ 953669 h 1705384"/>
                                                                <a:gd name="connsiteX172" fmla="*/ 1015978 w 1495617"/>
                                                                <a:gd name="connsiteY172" fmla="*/ 959279 h 1705384"/>
                                                                <a:gd name="connsiteX173" fmla="*/ 1032807 w 1495617"/>
                                                                <a:gd name="connsiteY173" fmla="*/ 964889 h 1705384"/>
                                                                <a:gd name="connsiteX174" fmla="*/ 1049637 w 1495617"/>
                                                                <a:gd name="connsiteY174" fmla="*/ 973303 h 1705384"/>
                                                                <a:gd name="connsiteX175" fmla="*/ 1086101 w 1495617"/>
                                                                <a:gd name="connsiteY175" fmla="*/ 984523 h 1705384"/>
                                                                <a:gd name="connsiteX176" fmla="*/ 1102930 w 1495617"/>
                                                                <a:gd name="connsiteY176" fmla="*/ 990133 h 1705384"/>
                                                                <a:gd name="connsiteX177" fmla="*/ 1119760 w 1495617"/>
                                                                <a:gd name="connsiteY177" fmla="*/ 984523 h 1705384"/>
                                                                <a:gd name="connsiteX178" fmla="*/ 1145004 w 1495617"/>
                                                                <a:gd name="connsiteY178" fmla="*/ 978913 h 1705384"/>
                                                                <a:gd name="connsiteX179" fmla="*/ 1173053 w 1495617"/>
                                                                <a:gd name="connsiteY179" fmla="*/ 981718 h 1705384"/>
                                                                <a:gd name="connsiteX180" fmla="*/ 1181468 w 1495617"/>
                                                                <a:gd name="connsiteY180" fmla="*/ 984523 h 1705384"/>
                                                                <a:gd name="connsiteX181" fmla="*/ 1187077 w 1495617"/>
                                                                <a:gd name="connsiteY181" fmla="*/ 992938 h 1705384"/>
                                                                <a:gd name="connsiteX182" fmla="*/ 1175858 w 1495617"/>
                                                                <a:gd name="connsiteY182" fmla="*/ 1020987 h 1705384"/>
                                                                <a:gd name="connsiteX183" fmla="*/ 1167443 w 1495617"/>
                                                                <a:gd name="connsiteY183" fmla="*/ 1023792 h 1705384"/>
                                                                <a:gd name="connsiteX184" fmla="*/ 1161833 w 1495617"/>
                                                                <a:gd name="connsiteY184" fmla="*/ 1032206 h 1705384"/>
                                                                <a:gd name="connsiteX185" fmla="*/ 1156223 w 1495617"/>
                                                                <a:gd name="connsiteY185" fmla="*/ 1049036 h 1705384"/>
                                                                <a:gd name="connsiteX186" fmla="*/ 1164638 w 1495617"/>
                                                                <a:gd name="connsiteY186" fmla="*/ 1071475 h 1705384"/>
                                                                <a:gd name="connsiteX187" fmla="*/ 1173053 w 1495617"/>
                                                                <a:gd name="connsiteY187" fmla="*/ 1088304 h 1705384"/>
                                                                <a:gd name="connsiteX188" fmla="*/ 1181468 w 1495617"/>
                                                                <a:gd name="connsiteY188" fmla="*/ 1093914 h 1705384"/>
                                                                <a:gd name="connsiteX189" fmla="*/ 1198297 w 1495617"/>
                                                                <a:gd name="connsiteY189" fmla="*/ 1105134 h 1705384"/>
                                                                <a:gd name="connsiteX190" fmla="*/ 1215126 w 1495617"/>
                                                                <a:gd name="connsiteY190" fmla="*/ 1110744 h 1705384"/>
                                                                <a:gd name="connsiteX191" fmla="*/ 1220736 w 1495617"/>
                                                                <a:gd name="connsiteY191" fmla="*/ 1119158 h 1705384"/>
                                                                <a:gd name="connsiteX192" fmla="*/ 1229151 w 1495617"/>
                                                                <a:gd name="connsiteY192" fmla="*/ 1121963 h 1705384"/>
                                                                <a:gd name="connsiteX193" fmla="*/ 1240371 w 1495617"/>
                                                                <a:gd name="connsiteY193" fmla="*/ 1127573 h 1705384"/>
                                                                <a:gd name="connsiteX194" fmla="*/ 1248785 w 1495617"/>
                                                                <a:gd name="connsiteY194" fmla="*/ 1133183 h 1705384"/>
                                                                <a:gd name="connsiteX195" fmla="*/ 1262810 w 1495617"/>
                                                                <a:gd name="connsiteY195" fmla="*/ 1135988 h 1705384"/>
                                                                <a:gd name="connsiteX196" fmla="*/ 1288054 w 1495617"/>
                                                                <a:gd name="connsiteY196" fmla="*/ 1147208 h 1705384"/>
                                                                <a:gd name="connsiteX197" fmla="*/ 1307688 w 1495617"/>
                                                                <a:gd name="connsiteY197" fmla="*/ 1152817 h 1705384"/>
                                                                <a:gd name="connsiteX198" fmla="*/ 1324518 w 1495617"/>
                                                                <a:gd name="connsiteY198" fmla="*/ 1161232 h 1705384"/>
                                                                <a:gd name="connsiteX199" fmla="*/ 1332933 w 1495617"/>
                                                                <a:gd name="connsiteY199" fmla="*/ 1166842 h 1705384"/>
                                                                <a:gd name="connsiteX200" fmla="*/ 1341347 w 1495617"/>
                                                                <a:gd name="connsiteY200" fmla="*/ 1169647 h 1705384"/>
                                                                <a:gd name="connsiteX201" fmla="*/ 1358177 w 1495617"/>
                                                                <a:gd name="connsiteY201" fmla="*/ 1180866 h 1705384"/>
                                                                <a:gd name="connsiteX202" fmla="*/ 1360982 w 1495617"/>
                                                                <a:gd name="connsiteY202" fmla="*/ 1189281 h 1705384"/>
                                                                <a:gd name="connsiteX203" fmla="*/ 1386226 w 1495617"/>
                                                                <a:gd name="connsiteY203" fmla="*/ 1208916 h 1705384"/>
                                                                <a:gd name="connsiteX204" fmla="*/ 1403055 w 1495617"/>
                                                                <a:gd name="connsiteY204" fmla="*/ 1214525 h 1705384"/>
                                                                <a:gd name="connsiteX205" fmla="*/ 1411470 w 1495617"/>
                                                                <a:gd name="connsiteY205" fmla="*/ 1222940 h 1705384"/>
                                                                <a:gd name="connsiteX206" fmla="*/ 1417080 w 1495617"/>
                                                                <a:gd name="connsiteY206" fmla="*/ 1231355 h 1705384"/>
                                                                <a:gd name="connsiteX207" fmla="*/ 1425495 w 1495617"/>
                                                                <a:gd name="connsiteY207" fmla="*/ 1236965 h 1705384"/>
                                                                <a:gd name="connsiteX208" fmla="*/ 1439519 w 1495617"/>
                                                                <a:gd name="connsiteY208" fmla="*/ 1250989 h 1705384"/>
                                                                <a:gd name="connsiteX209" fmla="*/ 1447934 w 1495617"/>
                                                                <a:gd name="connsiteY209" fmla="*/ 1259404 h 1705384"/>
                                                                <a:gd name="connsiteX210" fmla="*/ 1464763 w 1495617"/>
                                                                <a:gd name="connsiteY210" fmla="*/ 1270623 h 1705384"/>
                                                                <a:gd name="connsiteX211" fmla="*/ 1473178 w 1495617"/>
                                                                <a:gd name="connsiteY211" fmla="*/ 1287453 h 1705384"/>
                                                                <a:gd name="connsiteX212" fmla="*/ 1481593 w 1495617"/>
                                                                <a:gd name="connsiteY212" fmla="*/ 1293063 h 1705384"/>
                                                                <a:gd name="connsiteX213" fmla="*/ 1484398 w 1495617"/>
                                                                <a:gd name="connsiteY213" fmla="*/ 1293063 h 1705384"/>
                                                                <a:gd name="connsiteX214" fmla="*/ 1495617 w 1495617"/>
                                                                <a:gd name="connsiteY214" fmla="*/ 1326722 h 1705384"/>
                                                                <a:gd name="connsiteX215" fmla="*/ 1490007 w 1495617"/>
                                                                <a:gd name="connsiteY215" fmla="*/ 1363185 h 1705384"/>
                                                                <a:gd name="connsiteX216" fmla="*/ 1484398 w 1495617"/>
                                                                <a:gd name="connsiteY216" fmla="*/ 1371600 h 1705384"/>
                                                                <a:gd name="connsiteX217" fmla="*/ 1475983 w 1495617"/>
                                                                <a:gd name="connsiteY217" fmla="*/ 1374405 h 1705384"/>
                                                                <a:gd name="connsiteX218" fmla="*/ 1461958 w 1495617"/>
                                                                <a:gd name="connsiteY218" fmla="*/ 1371600 h 1705384"/>
                                                                <a:gd name="connsiteX219" fmla="*/ 1445129 w 1495617"/>
                                                                <a:gd name="connsiteY219" fmla="*/ 1360381 h 1705384"/>
                                                                <a:gd name="connsiteX220" fmla="*/ 1428299 w 1495617"/>
                                                                <a:gd name="connsiteY220" fmla="*/ 1326722 h 1705384"/>
                                                                <a:gd name="connsiteX221" fmla="*/ 1419885 w 1495617"/>
                                                                <a:gd name="connsiteY221" fmla="*/ 1323917 h 1705384"/>
                                                                <a:gd name="connsiteX222" fmla="*/ 1414275 w 1495617"/>
                                                                <a:gd name="connsiteY222" fmla="*/ 1315502 h 1705384"/>
                                                                <a:gd name="connsiteX223" fmla="*/ 1411470 w 1495617"/>
                                                                <a:gd name="connsiteY223" fmla="*/ 1307087 h 1705384"/>
                                                                <a:gd name="connsiteX224" fmla="*/ 1394641 w 1495617"/>
                                                                <a:gd name="connsiteY224" fmla="*/ 1301477 h 1705384"/>
                                                                <a:gd name="connsiteX225" fmla="*/ 1360982 w 1495617"/>
                                                                <a:gd name="connsiteY225" fmla="*/ 1290258 h 1705384"/>
                                                                <a:gd name="connsiteX226" fmla="*/ 1352567 w 1495617"/>
                                                                <a:gd name="connsiteY226" fmla="*/ 1287453 h 1705384"/>
                                                                <a:gd name="connsiteX227" fmla="*/ 1344152 w 1495617"/>
                                                                <a:gd name="connsiteY227" fmla="*/ 1284648 h 1705384"/>
                                                                <a:gd name="connsiteX228" fmla="*/ 1335737 w 1495617"/>
                                                                <a:gd name="connsiteY228" fmla="*/ 1279038 h 1705384"/>
                                                                <a:gd name="connsiteX229" fmla="*/ 1332933 w 1495617"/>
                                                                <a:gd name="connsiteY229" fmla="*/ 1259404 h 1705384"/>
                                                                <a:gd name="connsiteX230" fmla="*/ 1318908 w 1495617"/>
                                                                <a:gd name="connsiteY230" fmla="*/ 1256599 h 1705384"/>
                                                                <a:gd name="connsiteX231" fmla="*/ 1288054 w 1495617"/>
                                                                <a:gd name="connsiteY231" fmla="*/ 1259404 h 1705384"/>
                                                                <a:gd name="connsiteX232" fmla="*/ 1271225 w 1495617"/>
                                                                <a:gd name="connsiteY232" fmla="*/ 1267819 h 1705384"/>
                                                                <a:gd name="connsiteX233" fmla="*/ 1257200 w 1495617"/>
                                                                <a:gd name="connsiteY233" fmla="*/ 1281843 h 1705384"/>
                                                                <a:gd name="connsiteX234" fmla="*/ 1254395 w 1495617"/>
                                                                <a:gd name="connsiteY234" fmla="*/ 1290258 h 1705384"/>
                                                                <a:gd name="connsiteX235" fmla="*/ 1245980 w 1495617"/>
                                                                <a:gd name="connsiteY235" fmla="*/ 1295868 h 1705384"/>
                                                                <a:gd name="connsiteX236" fmla="*/ 1237566 w 1495617"/>
                                                                <a:gd name="connsiteY236" fmla="*/ 1304282 h 1705384"/>
                                                                <a:gd name="connsiteX237" fmla="*/ 1229151 w 1495617"/>
                                                                <a:gd name="connsiteY237" fmla="*/ 1321112 h 1705384"/>
                                                                <a:gd name="connsiteX238" fmla="*/ 1234761 w 1495617"/>
                                                                <a:gd name="connsiteY238" fmla="*/ 1337941 h 1705384"/>
                                                                <a:gd name="connsiteX239" fmla="*/ 1231956 w 1495617"/>
                                                                <a:gd name="connsiteY239" fmla="*/ 1351966 h 1705384"/>
                                                                <a:gd name="connsiteX240" fmla="*/ 1217931 w 1495617"/>
                                                                <a:gd name="connsiteY240" fmla="*/ 1368795 h 1705384"/>
                                                                <a:gd name="connsiteX241" fmla="*/ 1226346 w 1495617"/>
                                                                <a:gd name="connsiteY241" fmla="*/ 1391235 h 1705384"/>
                                                                <a:gd name="connsiteX242" fmla="*/ 1234761 w 1495617"/>
                                                                <a:gd name="connsiteY242" fmla="*/ 1396844 h 1705384"/>
                                                                <a:gd name="connsiteX243" fmla="*/ 1237566 w 1495617"/>
                                                                <a:gd name="connsiteY243" fmla="*/ 1405259 h 1705384"/>
                                                                <a:gd name="connsiteX244" fmla="*/ 1254395 w 1495617"/>
                                                                <a:gd name="connsiteY244" fmla="*/ 1419284 h 1705384"/>
                                                                <a:gd name="connsiteX245" fmla="*/ 1260005 w 1495617"/>
                                                                <a:gd name="connsiteY245" fmla="*/ 1427698 h 1705384"/>
                                                                <a:gd name="connsiteX246" fmla="*/ 1274030 w 1495617"/>
                                                                <a:gd name="connsiteY246" fmla="*/ 1447333 h 1705384"/>
                                                                <a:gd name="connsiteX247" fmla="*/ 1282444 w 1495617"/>
                                                                <a:gd name="connsiteY247" fmla="*/ 1450138 h 1705384"/>
                                                                <a:gd name="connsiteX248" fmla="*/ 1299274 w 1495617"/>
                                                                <a:gd name="connsiteY248" fmla="*/ 1461357 h 1705384"/>
                                                                <a:gd name="connsiteX249" fmla="*/ 1307688 w 1495617"/>
                                                                <a:gd name="connsiteY249" fmla="*/ 1497821 h 1705384"/>
                                                                <a:gd name="connsiteX250" fmla="*/ 1313298 w 1495617"/>
                                                                <a:gd name="connsiteY250" fmla="*/ 1514650 h 1705384"/>
                                                                <a:gd name="connsiteX251" fmla="*/ 1310493 w 1495617"/>
                                                                <a:gd name="connsiteY251" fmla="*/ 1525870 h 1705384"/>
                                                                <a:gd name="connsiteX252" fmla="*/ 1299274 w 1495617"/>
                                                                <a:gd name="connsiteY252" fmla="*/ 1528675 h 1705384"/>
                                                                <a:gd name="connsiteX253" fmla="*/ 1285249 w 1495617"/>
                                                                <a:gd name="connsiteY253" fmla="*/ 1531480 h 1705384"/>
                                                                <a:gd name="connsiteX254" fmla="*/ 1268420 w 1495617"/>
                                                                <a:gd name="connsiteY254" fmla="*/ 1537090 h 1705384"/>
                                                                <a:gd name="connsiteX255" fmla="*/ 1245980 w 1495617"/>
                                                                <a:gd name="connsiteY255" fmla="*/ 1556724 h 1705384"/>
                                                                <a:gd name="connsiteX256" fmla="*/ 1229151 w 1495617"/>
                                                                <a:gd name="connsiteY256" fmla="*/ 1570749 h 1705384"/>
                                                                <a:gd name="connsiteX257" fmla="*/ 1217931 w 1495617"/>
                                                                <a:gd name="connsiteY257" fmla="*/ 1595993 h 1705384"/>
                                                                <a:gd name="connsiteX258" fmla="*/ 1212322 w 1495617"/>
                                                                <a:gd name="connsiteY258" fmla="*/ 1621237 h 1705384"/>
                                                                <a:gd name="connsiteX259" fmla="*/ 1192687 w 1495617"/>
                                                                <a:gd name="connsiteY259" fmla="*/ 1643676 h 1705384"/>
                                                                <a:gd name="connsiteX260" fmla="*/ 1178663 w 1495617"/>
                                                                <a:gd name="connsiteY260" fmla="*/ 1663311 h 1705384"/>
                                                                <a:gd name="connsiteX261" fmla="*/ 1167443 w 1495617"/>
                                                                <a:gd name="connsiteY261" fmla="*/ 1680140 h 1705384"/>
                                                                <a:gd name="connsiteX262" fmla="*/ 1150614 w 1495617"/>
                                                                <a:gd name="connsiteY262" fmla="*/ 1696969 h 1705384"/>
                                                                <a:gd name="connsiteX263" fmla="*/ 1133784 w 1495617"/>
                                                                <a:gd name="connsiteY263" fmla="*/ 1705384 h 1705384"/>
                                                                <a:gd name="connsiteX264" fmla="*/ 1111345 w 1495617"/>
                                                                <a:gd name="connsiteY264" fmla="*/ 1702579 h 1705384"/>
                                                                <a:gd name="connsiteX265" fmla="*/ 1097320 w 1495617"/>
                                                                <a:gd name="connsiteY265" fmla="*/ 1682945 h 1705384"/>
                                                                <a:gd name="connsiteX266" fmla="*/ 1091710 w 1495617"/>
                                                                <a:gd name="connsiteY266" fmla="*/ 1674530 h 1705384"/>
                                                                <a:gd name="connsiteX267" fmla="*/ 1094515 w 1495617"/>
                                                                <a:gd name="connsiteY267" fmla="*/ 1660506 h 1705384"/>
                                                                <a:gd name="connsiteX268" fmla="*/ 1102930 w 1495617"/>
                                                                <a:gd name="connsiteY268" fmla="*/ 1657701 h 1705384"/>
                                                                <a:gd name="connsiteX269" fmla="*/ 1111345 w 1495617"/>
                                                                <a:gd name="connsiteY269" fmla="*/ 1652091 h 1705384"/>
                                                                <a:gd name="connsiteX270" fmla="*/ 1128174 w 1495617"/>
                                                                <a:gd name="connsiteY270" fmla="*/ 1618432 h 1705384"/>
                                                                <a:gd name="connsiteX271" fmla="*/ 1130979 w 1495617"/>
                                                                <a:gd name="connsiteY271" fmla="*/ 1610017 h 1705384"/>
                                                                <a:gd name="connsiteX272" fmla="*/ 1128174 w 1495617"/>
                                                                <a:gd name="connsiteY272" fmla="*/ 1598798 h 1705384"/>
                                                                <a:gd name="connsiteX273" fmla="*/ 1125369 w 1495617"/>
                                                                <a:gd name="connsiteY273" fmla="*/ 1590383 h 1705384"/>
                                                                <a:gd name="connsiteX274" fmla="*/ 1136589 w 1495617"/>
                                                                <a:gd name="connsiteY274" fmla="*/ 1579163 h 1705384"/>
                                                                <a:gd name="connsiteX275" fmla="*/ 1164638 w 1495617"/>
                                                                <a:gd name="connsiteY275" fmla="*/ 1570749 h 1705384"/>
                                                                <a:gd name="connsiteX276" fmla="*/ 1173053 w 1495617"/>
                                                                <a:gd name="connsiteY276" fmla="*/ 1567944 h 1705384"/>
                                                                <a:gd name="connsiteX277" fmla="*/ 1178663 w 1495617"/>
                                                                <a:gd name="connsiteY277" fmla="*/ 1551114 h 1705384"/>
                                                                <a:gd name="connsiteX278" fmla="*/ 1167443 w 1495617"/>
                                                                <a:gd name="connsiteY278" fmla="*/ 1517455 h 1705384"/>
                                                                <a:gd name="connsiteX279" fmla="*/ 1159028 w 1495617"/>
                                                                <a:gd name="connsiteY279" fmla="*/ 1511846 h 1705384"/>
                                                                <a:gd name="connsiteX280" fmla="*/ 1153418 w 1495617"/>
                                                                <a:gd name="connsiteY280" fmla="*/ 1458552 h 1705384"/>
                                                                <a:gd name="connsiteX281" fmla="*/ 1145004 w 1495617"/>
                                                                <a:gd name="connsiteY281" fmla="*/ 1441723 h 1705384"/>
                                                                <a:gd name="connsiteX282" fmla="*/ 1139394 w 1495617"/>
                                                                <a:gd name="connsiteY282" fmla="*/ 1424893 h 1705384"/>
                                                                <a:gd name="connsiteX283" fmla="*/ 1130979 w 1495617"/>
                                                                <a:gd name="connsiteY283" fmla="*/ 1408064 h 1705384"/>
                                                                <a:gd name="connsiteX284" fmla="*/ 1125369 w 1495617"/>
                                                                <a:gd name="connsiteY284" fmla="*/ 1391235 h 1705384"/>
                                                                <a:gd name="connsiteX285" fmla="*/ 1122564 w 1495617"/>
                                                                <a:gd name="connsiteY285" fmla="*/ 1363185 h 1705384"/>
                                                                <a:gd name="connsiteX286" fmla="*/ 1108540 w 1495617"/>
                                                                <a:gd name="connsiteY286" fmla="*/ 1337941 h 1705384"/>
                                                                <a:gd name="connsiteX287" fmla="*/ 1100125 w 1495617"/>
                                                                <a:gd name="connsiteY287" fmla="*/ 1326722 h 1705384"/>
                                                                <a:gd name="connsiteX288" fmla="*/ 1091710 w 1495617"/>
                                                                <a:gd name="connsiteY288" fmla="*/ 1321112 h 1705384"/>
                                                                <a:gd name="connsiteX289" fmla="*/ 1074881 w 1495617"/>
                                                                <a:gd name="connsiteY289" fmla="*/ 1323917 h 1705384"/>
                                                                <a:gd name="connsiteX290" fmla="*/ 1066466 w 1495617"/>
                                                                <a:gd name="connsiteY290" fmla="*/ 1326722 h 1705384"/>
                                                                <a:gd name="connsiteX291" fmla="*/ 1049637 w 1495617"/>
                                                                <a:gd name="connsiteY291" fmla="*/ 1323917 h 1705384"/>
                                                                <a:gd name="connsiteX292" fmla="*/ 1041222 w 1495617"/>
                                                                <a:gd name="connsiteY292" fmla="*/ 1307087 h 1705384"/>
                                                                <a:gd name="connsiteX293" fmla="*/ 1024393 w 1495617"/>
                                                                <a:gd name="connsiteY293" fmla="*/ 1301477 h 1705384"/>
                                                                <a:gd name="connsiteX294" fmla="*/ 1015978 w 1495617"/>
                                                                <a:gd name="connsiteY294" fmla="*/ 1295868 h 1705384"/>
                                                                <a:gd name="connsiteX295" fmla="*/ 1010368 w 1495617"/>
                                                                <a:gd name="connsiteY295" fmla="*/ 1287453 h 1705384"/>
                                                                <a:gd name="connsiteX296" fmla="*/ 1015978 w 1495617"/>
                                                                <a:gd name="connsiteY296" fmla="*/ 1262209 h 1705384"/>
                                                                <a:gd name="connsiteX297" fmla="*/ 1013173 w 1495617"/>
                                                                <a:gd name="connsiteY297" fmla="*/ 1225745 h 1705384"/>
                                                                <a:gd name="connsiteX298" fmla="*/ 999149 w 1495617"/>
                                                                <a:gd name="connsiteY298" fmla="*/ 1214525 h 1705384"/>
                                                                <a:gd name="connsiteX299" fmla="*/ 990734 w 1495617"/>
                                                                <a:gd name="connsiteY299" fmla="*/ 1208916 h 1705384"/>
                                                                <a:gd name="connsiteX300" fmla="*/ 982319 w 1495617"/>
                                                                <a:gd name="connsiteY300" fmla="*/ 1206111 h 1705384"/>
                                                                <a:gd name="connsiteX301" fmla="*/ 929026 w 1495617"/>
                                                                <a:gd name="connsiteY301" fmla="*/ 1203306 h 1705384"/>
                                                                <a:gd name="connsiteX302" fmla="*/ 934636 w 1495617"/>
                                                                <a:gd name="connsiteY302" fmla="*/ 1194891 h 1705384"/>
                                                                <a:gd name="connsiteX303" fmla="*/ 912196 w 1495617"/>
                                                                <a:gd name="connsiteY303" fmla="*/ 1172452 h 1705384"/>
                                                                <a:gd name="connsiteX304" fmla="*/ 889757 w 1495617"/>
                                                                <a:gd name="connsiteY304" fmla="*/ 1166842 h 1705384"/>
                                                                <a:gd name="connsiteX305" fmla="*/ 878537 w 1495617"/>
                                                                <a:gd name="connsiteY305" fmla="*/ 1141598 h 1705384"/>
                                                                <a:gd name="connsiteX306" fmla="*/ 872928 w 1495617"/>
                                                                <a:gd name="connsiteY306" fmla="*/ 1124768 h 1705384"/>
                                                                <a:gd name="connsiteX307" fmla="*/ 867318 w 1495617"/>
                                                                <a:gd name="connsiteY307" fmla="*/ 1116354 h 1705384"/>
                                                                <a:gd name="connsiteX308" fmla="*/ 858903 w 1495617"/>
                                                                <a:gd name="connsiteY308" fmla="*/ 1099524 h 1705384"/>
                                                                <a:gd name="connsiteX309" fmla="*/ 847684 w 1495617"/>
                                                                <a:gd name="connsiteY309" fmla="*/ 1085500 h 1705384"/>
                                                                <a:gd name="connsiteX310" fmla="*/ 811220 w 1495617"/>
                                                                <a:gd name="connsiteY310" fmla="*/ 1082695 h 1705384"/>
                                                                <a:gd name="connsiteX311" fmla="*/ 746707 w 1495617"/>
                                                                <a:gd name="connsiteY311" fmla="*/ 1071475 h 1705384"/>
                                                                <a:gd name="connsiteX312" fmla="*/ 741097 w 1495617"/>
                                                                <a:gd name="connsiteY312" fmla="*/ 1063060 h 1705384"/>
                                                                <a:gd name="connsiteX313" fmla="*/ 732682 w 1495617"/>
                                                                <a:gd name="connsiteY313" fmla="*/ 1046231 h 1705384"/>
                                                                <a:gd name="connsiteX314" fmla="*/ 724268 w 1495617"/>
                                                                <a:gd name="connsiteY314" fmla="*/ 1040621 h 1705384"/>
                                                                <a:gd name="connsiteX315" fmla="*/ 707438 w 1495617"/>
                                                                <a:gd name="connsiteY315" fmla="*/ 1035011 h 1705384"/>
                                                                <a:gd name="connsiteX316" fmla="*/ 701828 w 1495617"/>
                                                                <a:gd name="connsiteY316" fmla="*/ 1029401 h 1705384"/>
                                                                <a:gd name="connsiteX317" fmla="*/ 701828 w 1495617"/>
                                                                <a:gd name="connsiteY317" fmla="*/ 1026596 h 1705384"/>
                                                                <a:gd name="connsiteX318" fmla="*/ 699023 w 1495617"/>
                                                                <a:gd name="connsiteY318" fmla="*/ 1012572 h 1705384"/>
                                                                <a:gd name="connsiteX319" fmla="*/ 679389 w 1495617"/>
                                                                <a:gd name="connsiteY319" fmla="*/ 998547 h 1705384"/>
                                                                <a:gd name="connsiteX320" fmla="*/ 670974 w 1495617"/>
                                                                <a:gd name="connsiteY320" fmla="*/ 990133 h 1705384"/>
                                                                <a:gd name="connsiteX321" fmla="*/ 662560 w 1495617"/>
                                                                <a:gd name="connsiteY321" fmla="*/ 987328 h 1705384"/>
                                                                <a:gd name="connsiteX322" fmla="*/ 654145 w 1495617"/>
                                                                <a:gd name="connsiteY322" fmla="*/ 981718 h 1705384"/>
                                                                <a:gd name="connsiteX323" fmla="*/ 651340 w 1495617"/>
                                                                <a:gd name="connsiteY323" fmla="*/ 973303 h 1705384"/>
                                                                <a:gd name="connsiteX324" fmla="*/ 648535 w 1495617"/>
                                                                <a:gd name="connsiteY324" fmla="*/ 945254 h 1705384"/>
                                                                <a:gd name="connsiteX325" fmla="*/ 634510 w 1495617"/>
                                                                <a:gd name="connsiteY325" fmla="*/ 931230 h 1705384"/>
                                                                <a:gd name="connsiteX326" fmla="*/ 617681 w 1495617"/>
                                                                <a:gd name="connsiteY326" fmla="*/ 914400 h 1705384"/>
                                                                <a:gd name="connsiteX327" fmla="*/ 600852 w 1495617"/>
                                                                <a:gd name="connsiteY327" fmla="*/ 905985 h 1705384"/>
                                                                <a:gd name="connsiteX328" fmla="*/ 595242 w 1495617"/>
                                                                <a:gd name="connsiteY328" fmla="*/ 883546 h 1705384"/>
                                                                <a:gd name="connsiteX329" fmla="*/ 586827 w 1495617"/>
                                                                <a:gd name="connsiteY329" fmla="*/ 877936 h 1705384"/>
                                                                <a:gd name="connsiteX330" fmla="*/ 572803 w 1495617"/>
                                                                <a:gd name="connsiteY330" fmla="*/ 861107 h 1705384"/>
                                                                <a:gd name="connsiteX331" fmla="*/ 567193 w 1495617"/>
                                                                <a:gd name="connsiteY331" fmla="*/ 852692 h 1705384"/>
                                                                <a:gd name="connsiteX332" fmla="*/ 511095 w 1495617"/>
                                                                <a:gd name="connsiteY332" fmla="*/ 844277 h 1705384"/>
                                                                <a:gd name="connsiteX333" fmla="*/ 513899 w 1495617"/>
                                                                <a:gd name="connsiteY333" fmla="*/ 833058 h 1705384"/>
                                                                <a:gd name="connsiteX334" fmla="*/ 519509 w 1495617"/>
                                                                <a:gd name="connsiteY334" fmla="*/ 824643 h 1705384"/>
                                                                <a:gd name="connsiteX335" fmla="*/ 522314 w 1495617"/>
                                                                <a:gd name="connsiteY335" fmla="*/ 816228 h 1705384"/>
                                                                <a:gd name="connsiteX336" fmla="*/ 513899 w 1495617"/>
                                                                <a:gd name="connsiteY336" fmla="*/ 790984 h 1705384"/>
                                                                <a:gd name="connsiteX337" fmla="*/ 505485 w 1495617"/>
                                                                <a:gd name="connsiteY337" fmla="*/ 785374 h 1705384"/>
                                                                <a:gd name="connsiteX338" fmla="*/ 499875 w 1495617"/>
                                                                <a:gd name="connsiteY338" fmla="*/ 776960 h 1705384"/>
                                                                <a:gd name="connsiteX339" fmla="*/ 474631 w 1495617"/>
                                                                <a:gd name="connsiteY339" fmla="*/ 754520 h 1705384"/>
                                                                <a:gd name="connsiteX340" fmla="*/ 460606 w 1495617"/>
                                                                <a:gd name="connsiteY340" fmla="*/ 732081 h 1705384"/>
                                                                <a:gd name="connsiteX341" fmla="*/ 452191 w 1495617"/>
                                                                <a:gd name="connsiteY341" fmla="*/ 729276 h 1705384"/>
                                                                <a:gd name="connsiteX342" fmla="*/ 449387 w 1495617"/>
                                                                <a:gd name="connsiteY342" fmla="*/ 667568 h 1705384"/>
                                                                <a:gd name="connsiteX343" fmla="*/ 443777 w 1495617"/>
                                                                <a:gd name="connsiteY343" fmla="*/ 659154 h 1705384"/>
                                                                <a:gd name="connsiteX344" fmla="*/ 435362 w 1495617"/>
                                                                <a:gd name="connsiteY344" fmla="*/ 633909 h 1705384"/>
                                                                <a:gd name="connsiteX345" fmla="*/ 432557 w 1495617"/>
                                                                <a:gd name="connsiteY345" fmla="*/ 625495 h 1705384"/>
                                                                <a:gd name="connsiteX346" fmla="*/ 429752 w 1495617"/>
                                                                <a:gd name="connsiteY346" fmla="*/ 544152 h 1705384"/>
                                                                <a:gd name="connsiteX347" fmla="*/ 426947 w 1495617"/>
                                                                <a:gd name="connsiteY347" fmla="*/ 535738 h 1705384"/>
                                                                <a:gd name="connsiteX348" fmla="*/ 401703 w 1495617"/>
                                                                <a:gd name="connsiteY348" fmla="*/ 516103 h 1705384"/>
                                                                <a:gd name="connsiteX349" fmla="*/ 384874 w 1495617"/>
                                                                <a:gd name="connsiteY349" fmla="*/ 510493 h 1705384"/>
                                                                <a:gd name="connsiteX350" fmla="*/ 376459 w 1495617"/>
                                                                <a:gd name="connsiteY350" fmla="*/ 513298 h 1705384"/>
                                                                <a:gd name="connsiteX351" fmla="*/ 359630 w 1495617"/>
                                                                <a:gd name="connsiteY351" fmla="*/ 496469 h 1705384"/>
                                                                <a:gd name="connsiteX352" fmla="*/ 354020 w 1495617"/>
                                                                <a:gd name="connsiteY352" fmla="*/ 488054 h 1705384"/>
                                                                <a:gd name="connsiteX353" fmla="*/ 345605 w 1495617"/>
                                                                <a:gd name="connsiteY353" fmla="*/ 485249 h 1705384"/>
                                                                <a:gd name="connsiteX354" fmla="*/ 337190 w 1495617"/>
                                                                <a:gd name="connsiteY354" fmla="*/ 479639 h 1705384"/>
                                                                <a:gd name="connsiteX355" fmla="*/ 320361 w 1495617"/>
                                                                <a:gd name="connsiteY355" fmla="*/ 474030 h 1705384"/>
                                                                <a:gd name="connsiteX356" fmla="*/ 311946 w 1495617"/>
                                                                <a:gd name="connsiteY356" fmla="*/ 471225 h 1705384"/>
                                                                <a:gd name="connsiteX357" fmla="*/ 292312 w 1495617"/>
                                                                <a:gd name="connsiteY357" fmla="*/ 460005 h 1705384"/>
                                                                <a:gd name="connsiteX358" fmla="*/ 283897 w 1495617"/>
                                                                <a:gd name="connsiteY358" fmla="*/ 457200 h 1705384"/>
                                                                <a:gd name="connsiteX359" fmla="*/ 275482 w 1495617"/>
                                                                <a:gd name="connsiteY359" fmla="*/ 451590 h 1705384"/>
                                                                <a:gd name="connsiteX360" fmla="*/ 264263 w 1495617"/>
                                                                <a:gd name="connsiteY360" fmla="*/ 445981 h 1705384"/>
                                                                <a:gd name="connsiteX361" fmla="*/ 255848 w 1495617"/>
                                                                <a:gd name="connsiteY361" fmla="*/ 443176 h 1705384"/>
                                                                <a:gd name="connsiteX362" fmla="*/ 236214 w 1495617"/>
                                                                <a:gd name="connsiteY362" fmla="*/ 434761 h 1705384"/>
                                                                <a:gd name="connsiteX363" fmla="*/ 213774 w 1495617"/>
                                                                <a:gd name="connsiteY363" fmla="*/ 437566 h 1705384"/>
                                                                <a:gd name="connsiteX364" fmla="*/ 205360 w 1495617"/>
                                                                <a:gd name="connsiteY364" fmla="*/ 443176 h 1705384"/>
                                                                <a:gd name="connsiteX365" fmla="*/ 194140 w 1495617"/>
                                                                <a:gd name="connsiteY365" fmla="*/ 460005 h 1705384"/>
                                                                <a:gd name="connsiteX366" fmla="*/ 185725 w 1495617"/>
                                                                <a:gd name="connsiteY366" fmla="*/ 462810 h 1705384"/>
                                                                <a:gd name="connsiteX367" fmla="*/ 171701 w 1495617"/>
                                                                <a:gd name="connsiteY367" fmla="*/ 488054 h 1705384"/>
                                                                <a:gd name="connsiteX368" fmla="*/ 154871 w 1495617"/>
                                                                <a:gd name="connsiteY368" fmla="*/ 499274 h 1705384"/>
                                                                <a:gd name="connsiteX369" fmla="*/ 149261 w 1495617"/>
                                                                <a:gd name="connsiteY369" fmla="*/ 507689 h 1705384"/>
                                                                <a:gd name="connsiteX370" fmla="*/ 146457 w 1495617"/>
                                                                <a:gd name="connsiteY370" fmla="*/ 516103 h 1705384"/>
                                                                <a:gd name="connsiteX371" fmla="*/ 129627 w 1495617"/>
                                                                <a:gd name="connsiteY371" fmla="*/ 521713 h 1705384"/>
                                                                <a:gd name="connsiteX372" fmla="*/ 115603 w 1495617"/>
                                                                <a:gd name="connsiteY372" fmla="*/ 524518 h 170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495617" h="1705384">
                                                                  <a:moveTo>
                                                                    <a:pt x="115603" y="524518"/>
                                                                  </a:moveTo>
                                                                  <a:lnTo>
                                                                    <a:pt x="115603" y="524518"/>
                                                                  </a:lnTo>
                                                                  <a:cubicBezTo>
                                                                    <a:pt x="107188" y="526388"/>
                                                                    <a:pt x="98206" y="526561"/>
                                                                    <a:pt x="90358" y="530128"/>
                                                                  </a:cubicBezTo>
                                                                  <a:cubicBezTo>
                                                                    <a:pt x="87289" y="531523"/>
                                                                    <a:pt x="87381" y="536437"/>
                                                                    <a:pt x="84749" y="538543"/>
                                                                  </a:cubicBezTo>
                                                                  <a:cubicBezTo>
                                                                    <a:pt x="82440" y="540390"/>
                                                                    <a:pt x="79139" y="540412"/>
                                                                    <a:pt x="76334" y="541347"/>
                                                                  </a:cubicBezTo>
                                                                  <a:cubicBezTo>
                                                                    <a:pt x="74464" y="538542"/>
                                                                    <a:pt x="71059" y="536287"/>
                                                                    <a:pt x="70724" y="532933"/>
                                                                  </a:cubicBezTo>
                                                                  <a:cubicBezTo>
                                                                    <a:pt x="70293" y="528625"/>
                                                                    <a:pt x="73072" y="511408"/>
                                                                    <a:pt x="76334" y="504884"/>
                                                                  </a:cubicBezTo>
                                                                  <a:cubicBezTo>
                                                                    <a:pt x="87208" y="483138"/>
                                                                    <a:pt x="77700" y="509202"/>
                                                                    <a:pt x="84749" y="488054"/>
                                                                  </a:cubicBezTo>
                                                                  <a:cubicBezTo>
                                                                    <a:pt x="83814" y="485249"/>
                                                                    <a:pt x="84350" y="481357"/>
                                                                    <a:pt x="81944" y="479639"/>
                                                                  </a:cubicBezTo>
                                                                  <a:cubicBezTo>
                                                                    <a:pt x="77132" y="476202"/>
                                                                    <a:pt x="70034" y="477310"/>
                                                                    <a:pt x="65114" y="474030"/>
                                                                  </a:cubicBezTo>
                                                                  <a:cubicBezTo>
                                                                    <a:pt x="62309" y="472160"/>
                                                                    <a:pt x="59289" y="470578"/>
                                                                    <a:pt x="56699" y="468420"/>
                                                                  </a:cubicBezTo>
                                                                  <a:cubicBezTo>
                                                                    <a:pt x="53652" y="465881"/>
                                                                    <a:pt x="51416" y="462440"/>
                                                                    <a:pt x="48285" y="460005"/>
                                                                  </a:cubicBezTo>
                                                                  <a:cubicBezTo>
                                                                    <a:pt x="42963" y="455865"/>
                                                                    <a:pt x="31455" y="448785"/>
                                                                    <a:pt x="31455" y="448785"/>
                                                                  </a:cubicBezTo>
                                                                  <a:cubicBezTo>
                                                                    <a:pt x="18817" y="429830"/>
                                                                    <a:pt x="30131" y="449699"/>
                                                                    <a:pt x="23041" y="409517"/>
                                                                  </a:cubicBezTo>
                                                                  <a:cubicBezTo>
                                                                    <a:pt x="23040" y="409511"/>
                                                                    <a:pt x="16030" y="388484"/>
                                                                    <a:pt x="14626" y="384273"/>
                                                                  </a:cubicBezTo>
                                                                  <a:cubicBezTo>
                                                                    <a:pt x="13691" y="381468"/>
                                                                    <a:pt x="13912" y="377949"/>
                                                                    <a:pt x="11821" y="375858"/>
                                                                  </a:cubicBezTo>
                                                                  <a:lnTo>
                                                                    <a:pt x="3406" y="367443"/>
                                                                  </a:lnTo>
                                                                  <a:cubicBezTo>
                                                                    <a:pt x="2471" y="364638"/>
                                                                    <a:pt x="-1490" y="361119"/>
                                                                    <a:pt x="601" y="359028"/>
                                                                  </a:cubicBezTo>
                                                                  <a:cubicBezTo>
                                                                    <a:pt x="4783" y="354847"/>
                                                                    <a:pt x="17431" y="353419"/>
                                                                    <a:pt x="17431" y="353419"/>
                                                                  </a:cubicBezTo>
                                                                  <a:cubicBezTo>
                                                                    <a:pt x="20236" y="351549"/>
                                                                    <a:pt x="22830" y="349317"/>
                                                                    <a:pt x="25845" y="347809"/>
                                                                  </a:cubicBezTo>
                                                                  <a:cubicBezTo>
                                                                    <a:pt x="28490" y="346487"/>
                                                                    <a:pt x="32541" y="347410"/>
                                                                    <a:pt x="34260" y="345004"/>
                                                                  </a:cubicBezTo>
                                                                  <a:cubicBezTo>
                                                                    <a:pt x="37697" y="340192"/>
                                                                    <a:pt x="38000" y="333784"/>
                                                                    <a:pt x="39870" y="328174"/>
                                                                  </a:cubicBezTo>
                                                                  <a:lnTo>
                                                                    <a:pt x="42675" y="319760"/>
                                                                  </a:lnTo>
                                                                  <a:cubicBezTo>
                                                                    <a:pt x="41740" y="315085"/>
                                                                    <a:pt x="42235" y="309874"/>
                                                                    <a:pt x="39870" y="305735"/>
                                                                  </a:cubicBezTo>
                                                                  <a:cubicBezTo>
                                                                    <a:pt x="37311" y="301258"/>
                                                                    <a:pt x="27360" y="298760"/>
                                                                    <a:pt x="23041" y="297320"/>
                                                                  </a:cubicBezTo>
                                                                  <a:cubicBezTo>
                                                                    <a:pt x="16840" y="278717"/>
                                                                    <a:pt x="17431" y="286404"/>
                                                                    <a:pt x="17431" y="274881"/>
                                                                  </a:cubicBezTo>
                                                                  <a:lnTo>
                                                                    <a:pt x="23041" y="258052"/>
                                                                  </a:lnTo>
                                                                  <a:cubicBezTo>
                                                                    <a:pt x="29599" y="255592"/>
                                                                    <a:pt x="46867" y="251055"/>
                                                                    <a:pt x="53895" y="244027"/>
                                                                  </a:cubicBezTo>
                                                                  <a:cubicBezTo>
                                                                    <a:pt x="77544" y="220376"/>
                                                                    <a:pt x="44054" y="250015"/>
                                                                    <a:pt x="62309" y="227198"/>
                                                                  </a:cubicBezTo>
                                                                  <a:cubicBezTo>
                                                                    <a:pt x="64415" y="224566"/>
                                                                    <a:pt x="67919" y="223458"/>
                                                                    <a:pt x="70724" y="221588"/>
                                                                  </a:cubicBezTo>
                                                                  <a:cubicBezTo>
                                                                    <a:pt x="69156" y="215316"/>
                                                                    <a:pt x="65041" y="197637"/>
                                                                    <a:pt x="62309" y="193539"/>
                                                                  </a:cubicBezTo>
                                                                  <a:cubicBezTo>
                                                                    <a:pt x="60439" y="190734"/>
                                                                    <a:pt x="59083" y="187508"/>
                                                                    <a:pt x="56699" y="185124"/>
                                                                  </a:cubicBezTo>
                                                                  <a:cubicBezTo>
                                                                    <a:pt x="54315" y="182740"/>
                                                                    <a:pt x="51090" y="181384"/>
                                                                    <a:pt x="48285" y="179514"/>
                                                                  </a:cubicBezTo>
                                                                  <a:cubicBezTo>
                                                                    <a:pt x="42840" y="163180"/>
                                                                    <a:pt x="39814" y="162852"/>
                                                                    <a:pt x="45480" y="145855"/>
                                                                  </a:cubicBezTo>
                                                                  <a:cubicBezTo>
                                                                    <a:pt x="46546" y="142657"/>
                                                                    <a:pt x="48706" y="139825"/>
                                                                    <a:pt x="51090" y="137441"/>
                                                                  </a:cubicBezTo>
                                                                  <a:cubicBezTo>
                                                                    <a:pt x="53474" y="135057"/>
                                                                    <a:pt x="56699" y="133701"/>
                                                                    <a:pt x="59504" y="131831"/>
                                                                  </a:cubicBezTo>
                                                                  <a:cubicBezTo>
                                                                    <a:pt x="62309" y="132766"/>
                                                                    <a:pt x="65610" y="132789"/>
                                                                    <a:pt x="67919" y="134636"/>
                                                                  </a:cubicBezTo>
                                                                  <a:cubicBezTo>
                                                                    <a:pt x="70551" y="136742"/>
                                                                    <a:pt x="70670" y="141263"/>
                                                                    <a:pt x="73529" y="143050"/>
                                                                  </a:cubicBezTo>
                                                                  <a:cubicBezTo>
                                                                    <a:pt x="78543" y="146184"/>
                                                                    <a:pt x="90358" y="148660"/>
                                                                    <a:pt x="90358" y="148660"/>
                                                                  </a:cubicBezTo>
                                                                  <a:cubicBezTo>
                                                                    <a:pt x="95968" y="147725"/>
                                                                    <a:pt x="101792" y="147653"/>
                                                                    <a:pt x="107188" y="145855"/>
                                                                  </a:cubicBezTo>
                                                                  <a:cubicBezTo>
                                                                    <a:pt x="121616" y="141046"/>
                                                                    <a:pt x="110525" y="140381"/>
                                                                    <a:pt x="121212" y="131831"/>
                                                                  </a:cubicBezTo>
                                                                  <a:cubicBezTo>
                                                                    <a:pt x="123521" y="129984"/>
                                                                    <a:pt x="126822" y="129961"/>
                                                                    <a:pt x="129627" y="129026"/>
                                                                  </a:cubicBezTo>
                                                                  <a:cubicBezTo>
                                                                    <a:pt x="138042" y="130428"/>
                                                                    <a:pt x="155875" y="132501"/>
                                                                    <a:pt x="163286" y="137441"/>
                                                                  </a:cubicBezTo>
                                                                  <a:lnTo>
                                                                    <a:pt x="171701" y="143050"/>
                                                                  </a:lnTo>
                                                                  <a:cubicBezTo>
                                                                    <a:pt x="186512" y="138114"/>
                                                                    <a:pt x="177655" y="141886"/>
                                                                    <a:pt x="196945" y="129026"/>
                                                                  </a:cubicBezTo>
                                                                  <a:cubicBezTo>
                                                                    <a:pt x="199750" y="127156"/>
                                                                    <a:pt x="202162" y="124482"/>
                                                                    <a:pt x="205360" y="123416"/>
                                                                  </a:cubicBezTo>
                                                                  <a:lnTo>
                                                                    <a:pt x="222189" y="117806"/>
                                                                  </a:lnTo>
                                                                  <a:cubicBezTo>
                                                                    <a:pt x="238263" y="93699"/>
                                                                    <a:pt x="218994" y="124197"/>
                                                                    <a:pt x="230604" y="100977"/>
                                                                  </a:cubicBezTo>
                                                                  <a:cubicBezTo>
                                                                    <a:pt x="234509" y="93168"/>
                                                                    <a:pt x="238426" y="90350"/>
                                                                    <a:pt x="244628" y="84147"/>
                                                                  </a:cubicBezTo>
                                                                  <a:cubicBezTo>
                                                                    <a:pt x="252037" y="61923"/>
                                                                    <a:pt x="244405" y="66346"/>
                                                                    <a:pt x="267068" y="70123"/>
                                                                  </a:cubicBezTo>
                                                                  <a:cubicBezTo>
                                                                    <a:pt x="268938" y="72928"/>
                                                                    <a:pt x="271611" y="75340"/>
                                                                    <a:pt x="272677" y="78538"/>
                                                                  </a:cubicBezTo>
                                                                  <a:cubicBezTo>
                                                                    <a:pt x="274475" y="83933"/>
                                                                    <a:pt x="272939" y="90280"/>
                                                                    <a:pt x="275482" y="95367"/>
                                                                  </a:cubicBezTo>
                                                                  <a:cubicBezTo>
                                                                    <a:pt x="276990" y="98382"/>
                                                                    <a:pt x="281092" y="99107"/>
                                                                    <a:pt x="283897" y="100977"/>
                                                                  </a:cubicBezTo>
                                                                  <a:cubicBezTo>
                                                                    <a:pt x="285767" y="106587"/>
                                                                    <a:pt x="286227" y="112886"/>
                                                                    <a:pt x="289507" y="117806"/>
                                                                  </a:cubicBezTo>
                                                                  <a:cubicBezTo>
                                                                    <a:pt x="291377" y="120611"/>
                                                                    <a:pt x="293609" y="123206"/>
                                                                    <a:pt x="295117" y="126221"/>
                                                                  </a:cubicBezTo>
                                                                  <a:cubicBezTo>
                                                                    <a:pt x="296439" y="128866"/>
                                                                    <a:pt x="296600" y="131991"/>
                                                                    <a:pt x="297922" y="134636"/>
                                                                  </a:cubicBezTo>
                                                                  <a:cubicBezTo>
                                                                    <a:pt x="299429" y="137651"/>
                                                                    <a:pt x="302162" y="139970"/>
                                                                    <a:pt x="303531" y="143050"/>
                                                                  </a:cubicBezTo>
                                                                  <a:cubicBezTo>
                                                                    <a:pt x="313369" y="165186"/>
                                                                    <a:pt x="302418" y="155398"/>
                                                                    <a:pt x="317556" y="165490"/>
                                                                  </a:cubicBezTo>
                                                                  <a:cubicBezTo>
                                                                    <a:pt x="319426" y="168295"/>
                                                                    <a:pt x="319795" y="173904"/>
                                                                    <a:pt x="323166" y="173904"/>
                                                                  </a:cubicBezTo>
                                                                  <a:cubicBezTo>
                                                                    <a:pt x="326122" y="173904"/>
                                                                    <a:pt x="325521" y="168412"/>
                                                                    <a:pt x="325971" y="165490"/>
                                                                  </a:cubicBezTo>
                                                                  <a:cubicBezTo>
                                                                    <a:pt x="327400" y="156203"/>
                                                                    <a:pt x="325565" y="146272"/>
                                                                    <a:pt x="328776" y="137441"/>
                                                                  </a:cubicBezTo>
                                                                  <a:cubicBezTo>
                                                                    <a:pt x="329786" y="134663"/>
                                                                    <a:pt x="334546" y="135958"/>
                                                                    <a:pt x="337190" y="134636"/>
                                                                  </a:cubicBezTo>
                                                                  <a:cubicBezTo>
                                                                    <a:pt x="358936" y="123762"/>
                                                                    <a:pt x="332872" y="133270"/>
                                                                    <a:pt x="354020" y="126221"/>
                                                                  </a:cubicBezTo>
                                                                  <a:cubicBezTo>
                                                                    <a:pt x="368519" y="104472"/>
                                                                    <a:pt x="363107" y="115788"/>
                                                                    <a:pt x="370849" y="92562"/>
                                                                  </a:cubicBezTo>
                                                                  <a:lnTo>
                                                                    <a:pt x="373654" y="84147"/>
                                                                  </a:lnTo>
                                                                  <a:cubicBezTo>
                                                                    <a:pt x="376459" y="85082"/>
                                                                    <a:pt x="380350" y="84546"/>
                                                                    <a:pt x="382069" y="86952"/>
                                                                  </a:cubicBezTo>
                                                                  <a:cubicBezTo>
                                                                    <a:pt x="391520" y="100184"/>
                                                                    <a:pt x="380616" y="105113"/>
                                                                    <a:pt x="396093" y="106587"/>
                                                                  </a:cubicBezTo>
                                                                  <a:cubicBezTo>
                                                                    <a:pt x="412873" y="108185"/>
                                                                    <a:pt x="429752" y="108457"/>
                                                                    <a:pt x="446582" y="109392"/>
                                                                  </a:cubicBezTo>
                                                                  <a:cubicBezTo>
                                                                    <a:pt x="449387" y="110327"/>
                                                                    <a:pt x="452687" y="110349"/>
                                                                    <a:pt x="454996" y="112196"/>
                                                                  </a:cubicBezTo>
                                                                  <a:cubicBezTo>
                                                                    <a:pt x="459939" y="116151"/>
                                                                    <a:pt x="461563" y="123483"/>
                                                                    <a:pt x="463411" y="129026"/>
                                                                  </a:cubicBezTo>
                                                                  <a:cubicBezTo>
                                                                    <a:pt x="471045" y="106123"/>
                                                                    <a:pt x="462990" y="132607"/>
                                                                    <a:pt x="469021" y="81343"/>
                                                                  </a:cubicBezTo>
                                                                  <a:cubicBezTo>
                                                                    <a:pt x="469366" y="78407"/>
                                                                    <a:pt x="470891" y="75733"/>
                                                                    <a:pt x="471826" y="72928"/>
                                                                  </a:cubicBezTo>
                                                                  <a:cubicBezTo>
                                                                    <a:pt x="477162" y="73995"/>
                                                                    <a:pt x="488514" y="75663"/>
                                                                    <a:pt x="494265" y="78538"/>
                                                                  </a:cubicBezTo>
                                                                  <a:cubicBezTo>
                                                                    <a:pt x="497280" y="80045"/>
                                                                    <a:pt x="499875" y="82277"/>
                                                                    <a:pt x="502680" y="84147"/>
                                                                  </a:cubicBezTo>
                                                                  <a:cubicBezTo>
                                                                    <a:pt x="510355" y="61124"/>
                                                                    <a:pt x="498779" y="97683"/>
                                                                    <a:pt x="508290" y="53293"/>
                                                                  </a:cubicBezTo>
                                                                  <a:cubicBezTo>
                                                                    <a:pt x="509529" y="47511"/>
                                                                    <a:pt x="508979" y="39744"/>
                                                                    <a:pt x="513899" y="36464"/>
                                                                  </a:cubicBezTo>
                                                                  <a:lnTo>
                                                                    <a:pt x="522314" y="30854"/>
                                                                  </a:lnTo>
                                                                  <a:cubicBezTo>
                                                                    <a:pt x="523249" y="28049"/>
                                                                    <a:pt x="523028" y="24530"/>
                                                                    <a:pt x="525119" y="22439"/>
                                                                  </a:cubicBezTo>
                                                                  <a:cubicBezTo>
                                                                    <a:pt x="530868" y="16691"/>
                                                                    <a:pt x="542226" y="21373"/>
                                                                    <a:pt x="547558" y="22439"/>
                                                                  </a:cubicBezTo>
                                                                  <a:cubicBezTo>
                                                                    <a:pt x="550363" y="24309"/>
                                                                    <a:pt x="552816" y="26865"/>
                                                                    <a:pt x="555973" y="28049"/>
                                                                  </a:cubicBezTo>
                                                                  <a:cubicBezTo>
                                                                    <a:pt x="560437" y="29723"/>
                                                                    <a:pt x="565373" y="29698"/>
                                                                    <a:pt x="569998" y="30854"/>
                                                                  </a:cubicBezTo>
                                                                  <a:cubicBezTo>
                                                                    <a:pt x="572866" y="31571"/>
                                                                    <a:pt x="575607" y="32724"/>
                                                                    <a:pt x="578412" y="33659"/>
                                                                  </a:cubicBezTo>
                                                                  <a:cubicBezTo>
                                                                    <a:pt x="581217" y="32724"/>
                                                                    <a:pt x="584242" y="32290"/>
                                                                    <a:pt x="586827" y="30854"/>
                                                                  </a:cubicBezTo>
                                                                  <a:cubicBezTo>
                                                                    <a:pt x="592721" y="27580"/>
                                                                    <a:pt x="603657" y="19635"/>
                                                                    <a:pt x="603657" y="19635"/>
                                                                  </a:cubicBezTo>
                                                                  <a:cubicBezTo>
                                                                    <a:pt x="604592" y="16830"/>
                                                                    <a:pt x="604370" y="13311"/>
                                                                    <a:pt x="606461" y="11220"/>
                                                                  </a:cubicBezTo>
                                                                  <a:cubicBezTo>
                                                                    <a:pt x="609857" y="7824"/>
                                                                    <a:pt x="616216" y="8415"/>
                                                                    <a:pt x="620486" y="8415"/>
                                                                  </a:cubicBezTo>
                                                                  <a:lnTo>
                                                                    <a:pt x="656950" y="11220"/>
                                                                  </a:lnTo>
                                                                  <a:cubicBezTo>
                                                                    <a:pt x="664430" y="14960"/>
                                                                    <a:pt x="671241" y="20559"/>
                                                                    <a:pt x="679389" y="22439"/>
                                                                  </a:cubicBezTo>
                                                                  <a:cubicBezTo>
                                                                    <a:pt x="684034" y="23511"/>
                                                                    <a:pt x="689074" y="21608"/>
                                                                    <a:pt x="693414" y="19635"/>
                                                                  </a:cubicBezTo>
                                                                  <a:cubicBezTo>
                                                                    <a:pt x="699552" y="16845"/>
                                                                    <a:pt x="704633" y="12155"/>
                                                                    <a:pt x="710243" y="8415"/>
                                                                  </a:cubicBezTo>
                                                                  <a:cubicBezTo>
                                                                    <a:pt x="713048" y="6545"/>
                                                                    <a:pt x="715460" y="3871"/>
                                                                    <a:pt x="718658" y="2805"/>
                                                                  </a:cubicBezTo>
                                                                  <a:lnTo>
                                                                    <a:pt x="727072" y="0"/>
                                                                  </a:lnTo>
                                                                  <a:lnTo>
                                                                    <a:pt x="743902" y="2805"/>
                                                                  </a:lnTo>
                                                                  <a:cubicBezTo>
                                                                    <a:pt x="749536" y="15682"/>
                                                                    <a:pt x="744396" y="31014"/>
                                                                    <a:pt x="746707" y="44879"/>
                                                                  </a:cubicBezTo>
                                                                  <a:cubicBezTo>
                                                                    <a:pt x="747261" y="48204"/>
                                                                    <a:pt x="750447" y="50488"/>
                                                                    <a:pt x="752317" y="53293"/>
                                                                  </a:cubicBezTo>
                                                                  <a:cubicBezTo>
                                                                    <a:pt x="753252" y="56098"/>
                                                                    <a:pt x="753482" y="59248"/>
                                                                    <a:pt x="755122" y="61708"/>
                                                                  </a:cubicBezTo>
                                                                  <a:cubicBezTo>
                                                                    <a:pt x="757322" y="65009"/>
                                                                    <a:pt x="760405" y="67688"/>
                                                                    <a:pt x="763536" y="70123"/>
                                                                  </a:cubicBezTo>
                                                                  <a:cubicBezTo>
                                                                    <a:pt x="779848" y="82811"/>
                                                                    <a:pt x="778738" y="80800"/>
                                                                    <a:pt x="797195" y="86952"/>
                                                                  </a:cubicBezTo>
                                                                  <a:cubicBezTo>
                                                                    <a:pt x="800000" y="87887"/>
                                                                    <a:pt x="803150" y="88117"/>
                                                                    <a:pt x="805610" y="89757"/>
                                                                  </a:cubicBezTo>
                                                                  <a:cubicBezTo>
                                                                    <a:pt x="808415" y="91627"/>
                                                                    <a:pt x="810926" y="94039"/>
                                                                    <a:pt x="814025" y="95367"/>
                                                                  </a:cubicBezTo>
                                                                  <a:cubicBezTo>
                                                                    <a:pt x="817710" y="96946"/>
                                                                    <a:pt x="836503" y="100362"/>
                                                                    <a:pt x="839269" y="100977"/>
                                                                  </a:cubicBezTo>
                                                                  <a:cubicBezTo>
                                                                    <a:pt x="858995" y="105361"/>
                                                                    <a:pt x="842506" y="101902"/>
                                                                    <a:pt x="858903" y="106587"/>
                                                                  </a:cubicBezTo>
                                                                  <a:cubicBezTo>
                                                                    <a:pt x="870621" y="109935"/>
                                                                    <a:pt x="873724" y="109992"/>
                                                                    <a:pt x="886952" y="112196"/>
                                                                  </a:cubicBezTo>
                                                                  <a:cubicBezTo>
                                                                    <a:pt x="889757" y="113131"/>
                                                                    <a:pt x="892514" y="114223"/>
                                                                    <a:pt x="895367" y="115001"/>
                                                                  </a:cubicBezTo>
                                                                  <a:cubicBezTo>
                                                                    <a:pt x="902805" y="117030"/>
                                                                    <a:pt x="917806" y="120611"/>
                                                                    <a:pt x="917806" y="120611"/>
                                                                  </a:cubicBezTo>
                                                                  <a:cubicBezTo>
                                                                    <a:pt x="911130" y="140639"/>
                                                                    <a:pt x="917116" y="134161"/>
                                                                    <a:pt x="903782" y="143050"/>
                                                                  </a:cubicBezTo>
                                                                  <a:cubicBezTo>
                                                                    <a:pt x="902847" y="145855"/>
                                                                    <a:pt x="902299" y="148820"/>
                                                                    <a:pt x="900977" y="151465"/>
                                                                  </a:cubicBezTo>
                                                                  <a:cubicBezTo>
                                                                    <a:pt x="899469" y="154480"/>
                                                                    <a:pt x="895785" y="156535"/>
                                                                    <a:pt x="895367" y="159880"/>
                                                                  </a:cubicBezTo>
                                                                  <a:cubicBezTo>
                                                                    <a:pt x="895310" y="160333"/>
                                                                    <a:pt x="898799" y="179596"/>
                                                                    <a:pt x="900977" y="182319"/>
                                                                  </a:cubicBezTo>
                                                                  <a:cubicBezTo>
                                                                    <a:pt x="903083" y="184951"/>
                                                                    <a:pt x="906586" y="186059"/>
                                                                    <a:pt x="909391" y="187929"/>
                                                                  </a:cubicBezTo>
                                                                  <a:cubicBezTo>
                                                                    <a:pt x="908456" y="190734"/>
                                                                    <a:pt x="908023" y="193759"/>
                                                                    <a:pt x="906587" y="196344"/>
                                                                  </a:cubicBezTo>
                                                                  <a:cubicBezTo>
                                                                    <a:pt x="903313" y="202238"/>
                                                                    <a:pt x="895367" y="213173"/>
                                                                    <a:pt x="895367" y="213173"/>
                                                                  </a:cubicBezTo>
                                                                  <a:cubicBezTo>
                                                                    <a:pt x="896302" y="218783"/>
                                                                    <a:pt x="896373" y="224607"/>
                                                                    <a:pt x="898172" y="230003"/>
                                                                  </a:cubicBezTo>
                                                                  <a:cubicBezTo>
                                                                    <a:pt x="899238" y="233201"/>
                                                                    <a:pt x="903523" y="235056"/>
                                                                    <a:pt x="903782" y="238417"/>
                                                                  </a:cubicBezTo>
                                                                  <a:cubicBezTo>
                                                                    <a:pt x="906029" y="267626"/>
                                                                    <a:pt x="908209" y="264055"/>
                                                                    <a:pt x="892562" y="269271"/>
                                                                  </a:cubicBezTo>
                                                                  <a:cubicBezTo>
                                                                    <a:pt x="843939" y="263193"/>
                                                                    <a:pt x="886609" y="271924"/>
                                                                    <a:pt x="861708" y="260857"/>
                                                                  </a:cubicBezTo>
                                                                  <a:cubicBezTo>
                                                                    <a:pt x="856304" y="258456"/>
                                                                    <a:pt x="844879" y="255247"/>
                                                                    <a:pt x="844879" y="255247"/>
                                                                  </a:cubicBezTo>
                                                                  <a:cubicBezTo>
                                                                    <a:pt x="822440" y="262727"/>
                                                                    <a:pt x="848617" y="251508"/>
                                                                    <a:pt x="833659" y="266466"/>
                                                                  </a:cubicBezTo>
                                                                  <a:cubicBezTo>
                                                                    <a:pt x="819357" y="280768"/>
                                                                    <a:pt x="813682" y="278080"/>
                                                                    <a:pt x="794390" y="280491"/>
                                                                  </a:cubicBezTo>
                                                                  <a:cubicBezTo>
                                                                    <a:pt x="791585" y="281426"/>
                                                                    <a:pt x="788620" y="281974"/>
                                                                    <a:pt x="785976" y="283296"/>
                                                                  </a:cubicBezTo>
                                                                  <a:cubicBezTo>
                                                                    <a:pt x="782961" y="284804"/>
                                                                    <a:pt x="780642" y="287537"/>
                                                                    <a:pt x="777561" y="288906"/>
                                                                  </a:cubicBezTo>
                                                                  <a:cubicBezTo>
                                                                    <a:pt x="772157" y="291308"/>
                                                                    <a:pt x="760731" y="294516"/>
                                                                    <a:pt x="760731" y="294516"/>
                                                                  </a:cubicBezTo>
                                                                  <a:cubicBezTo>
                                                                    <a:pt x="739379" y="287398"/>
                                                                    <a:pt x="749700" y="287746"/>
                                                                    <a:pt x="729877" y="291711"/>
                                                                  </a:cubicBezTo>
                                                                  <a:cubicBezTo>
                                                                    <a:pt x="728007" y="294516"/>
                                                                    <a:pt x="725775" y="297110"/>
                                                                    <a:pt x="724268" y="300125"/>
                                                                  </a:cubicBezTo>
                                                                  <a:cubicBezTo>
                                                                    <a:pt x="722946" y="302770"/>
                                                                    <a:pt x="723310" y="306231"/>
                                                                    <a:pt x="721463" y="308540"/>
                                                                  </a:cubicBezTo>
                                                                  <a:cubicBezTo>
                                                                    <a:pt x="717508" y="313483"/>
                                                                    <a:pt x="710176" y="315107"/>
                                                                    <a:pt x="704633" y="316955"/>
                                                                  </a:cubicBezTo>
                                                                  <a:cubicBezTo>
                                                                    <a:pt x="701938" y="325040"/>
                                                                    <a:pt x="695228" y="333949"/>
                                                                    <a:pt x="701828" y="342199"/>
                                                                  </a:cubicBezTo>
                                                                  <a:cubicBezTo>
                                                                    <a:pt x="703934" y="344831"/>
                                                                    <a:pt x="707438" y="345939"/>
                                                                    <a:pt x="710243" y="347809"/>
                                                                  </a:cubicBezTo>
                                                                  <a:cubicBezTo>
                                                                    <a:pt x="713983" y="353419"/>
                                                                    <a:pt x="719331" y="358242"/>
                                                                    <a:pt x="721463" y="364638"/>
                                                                  </a:cubicBezTo>
                                                                  <a:cubicBezTo>
                                                                    <a:pt x="723333" y="370248"/>
                                                                    <a:pt x="725638" y="375731"/>
                                                                    <a:pt x="727072" y="381468"/>
                                                                  </a:cubicBezTo>
                                                                  <a:cubicBezTo>
                                                                    <a:pt x="728007" y="385208"/>
                                                                    <a:pt x="728769" y="388995"/>
                                                                    <a:pt x="729877" y="392687"/>
                                                                  </a:cubicBezTo>
                                                                  <a:cubicBezTo>
                                                                    <a:pt x="731576" y="398351"/>
                                                                    <a:pt x="735487" y="409517"/>
                                                                    <a:pt x="735487" y="409517"/>
                                                                  </a:cubicBezTo>
                                                                  <a:cubicBezTo>
                                                                    <a:pt x="734552" y="412322"/>
                                                                    <a:pt x="734529" y="415622"/>
                                                                    <a:pt x="732682" y="417931"/>
                                                                  </a:cubicBezTo>
                                                                  <a:cubicBezTo>
                                                                    <a:pt x="728727" y="422875"/>
                                                                    <a:pt x="721397" y="424498"/>
                                                                    <a:pt x="715853" y="426346"/>
                                                                  </a:cubicBezTo>
                                                                  <a:cubicBezTo>
                                                                    <a:pt x="708687" y="437095"/>
                                                                    <a:pt x="710243" y="431390"/>
                                                                    <a:pt x="710243" y="443176"/>
                                                                  </a:cubicBezTo>
                                                                  <a:lnTo>
                                                                    <a:pt x="704633" y="462810"/>
                                                                  </a:lnTo>
                                                                  <a:cubicBezTo>
                                                                    <a:pt x="705568" y="477770"/>
                                                                    <a:pt x="705869" y="492783"/>
                                                                    <a:pt x="707438" y="507689"/>
                                                                  </a:cubicBezTo>
                                                                  <a:cubicBezTo>
                                                                    <a:pt x="708364" y="516482"/>
                                                                    <a:pt x="717752" y="527367"/>
                                                                    <a:pt x="721463" y="532933"/>
                                                                  </a:cubicBezTo>
                                                                  <a:cubicBezTo>
                                                                    <a:pt x="723333" y="535738"/>
                                                                    <a:pt x="726006" y="538149"/>
                                                                    <a:pt x="727072" y="541347"/>
                                                                  </a:cubicBezTo>
                                                                  <a:lnTo>
                                                                    <a:pt x="732682" y="558177"/>
                                                                  </a:lnTo>
                                                                  <a:cubicBezTo>
                                                                    <a:pt x="734964" y="565022"/>
                                                                    <a:pt x="735659" y="569568"/>
                                                                    <a:pt x="741097" y="575006"/>
                                                                  </a:cubicBezTo>
                                                                  <a:cubicBezTo>
                                                                    <a:pt x="743481" y="577390"/>
                                                                    <a:pt x="746707" y="578746"/>
                                                                    <a:pt x="749512" y="580616"/>
                                                                  </a:cubicBezTo>
                                                                  <a:cubicBezTo>
                                                                    <a:pt x="764470" y="603053"/>
                                                                    <a:pt x="744840" y="575945"/>
                                                                    <a:pt x="763536" y="594641"/>
                                                                  </a:cubicBezTo>
                                                                  <a:cubicBezTo>
                                                                    <a:pt x="765920" y="597025"/>
                                                                    <a:pt x="766762" y="600671"/>
                                                                    <a:pt x="769146" y="603055"/>
                                                                  </a:cubicBezTo>
                                                                  <a:cubicBezTo>
                                                                    <a:pt x="771530" y="605439"/>
                                                                    <a:pt x="774971" y="606507"/>
                                                                    <a:pt x="777561" y="608665"/>
                                                                  </a:cubicBezTo>
                                                                  <a:cubicBezTo>
                                                                    <a:pt x="780608" y="611205"/>
                                                                    <a:pt x="782675" y="614879"/>
                                                                    <a:pt x="785976" y="617080"/>
                                                                  </a:cubicBezTo>
                                                                  <a:cubicBezTo>
                                                                    <a:pt x="788436" y="618720"/>
                                                                    <a:pt x="791746" y="618563"/>
                                                                    <a:pt x="794390" y="619885"/>
                                                                  </a:cubicBezTo>
                                                                  <a:cubicBezTo>
                                                                    <a:pt x="816136" y="630759"/>
                                                                    <a:pt x="790072" y="621251"/>
                                                                    <a:pt x="811220" y="628300"/>
                                                                  </a:cubicBezTo>
                                                                  <a:cubicBezTo>
                                                                    <a:pt x="814960" y="633910"/>
                                                                    <a:pt x="816829" y="641389"/>
                                                                    <a:pt x="822439" y="645129"/>
                                                                  </a:cubicBezTo>
                                                                  <a:cubicBezTo>
                                                                    <a:pt x="828049" y="648869"/>
                                                                    <a:pt x="832873" y="654217"/>
                                                                    <a:pt x="839269" y="656349"/>
                                                                  </a:cubicBezTo>
                                                                  <a:cubicBezTo>
                                                                    <a:pt x="850882" y="660220"/>
                                                                    <a:pt x="845224" y="657514"/>
                                                                    <a:pt x="856098" y="664763"/>
                                                                  </a:cubicBezTo>
                                                                  <a:cubicBezTo>
                                                                    <a:pt x="857033" y="667568"/>
                                                                    <a:pt x="857263" y="670718"/>
                                                                    <a:pt x="858903" y="673178"/>
                                                                  </a:cubicBezTo>
                                                                  <a:cubicBezTo>
                                                                    <a:pt x="861103" y="676479"/>
                                                                    <a:pt x="865544" y="678045"/>
                                                                    <a:pt x="867318" y="681593"/>
                                                                  </a:cubicBezTo>
                                                                  <a:cubicBezTo>
                                                                    <a:pt x="869450" y="685857"/>
                                                                    <a:pt x="869089" y="690963"/>
                                                                    <a:pt x="870123" y="695617"/>
                                                                  </a:cubicBezTo>
                                                                  <a:cubicBezTo>
                                                                    <a:pt x="870959" y="699380"/>
                                                                    <a:pt x="871820" y="703144"/>
                                                                    <a:pt x="872928" y="706837"/>
                                                                  </a:cubicBezTo>
                                                                  <a:cubicBezTo>
                                                                    <a:pt x="874627" y="712501"/>
                                                                    <a:pt x="876667" y="718056"/>
                                                                    <a:pt x="878537" y="723666"/>
                                                                  </a:cubicBezTo>
                                                                  <a:lnTo>
                                                                    <a:pt x="881342" y="732081"/>
                                                                  </a:lnTo>
                                                                  <a:cubicBezTo>
                                                                    <a:pt x="882989" y="745255"/>
                                                                    <a:pt x="885435" y="773698"/>
                                                                    <a:pt x="889757" y="790984"/>
                                                                  </a:cubicBezTo>
                                                                  <a:cubicBezTo>
                                                                    <a:pt x="890474" y="793852"/>
                                                                    <a:pt x="891240" y="796754"/>
                                                                    <a:pt x="892562" y="799399"/>
                                                                  </a:cubicBezTo>
                                                                  <a:cubicBezTo>
                                                                    <a:pt x="894070" y="802414"/>
                                                                    <a:pt x="896664" y="804799"/>
                                                                    <a:pt x="898172" y="807814"/>
                                                                  </a:cubicBezTo>
                                                                  <a:cubicBezTo>
                                                                    <a:pt x="909786" y="831040"/>
                                                                    <a:pt x="890508" y="800525"/>
                                                                    <a:pt x="906587" y="824643"/>
                                                                  </a:cubicBezTo>
                                                                  <a:lnTo>
                                                                    <a:pt x="912196" y="841473"/>
                                                                  </a:lnTo>
                                                                  <a:cubicBezTo>
                                                                    <a:pt x="913131" y="844278"/>
                                                                    <a:pt x="913361" y="847427"/>
                                                                    <a:pt x="915001" y="849887"/>
                                                                  </a:cubicBezTo>
                                                                  <a:cubicBezTo>
                                                                    <a:pt x="918741" y="855497"/>
                                                                    <a:pt x="924089" y="860321"/>
                                                                    <a:pt x="926221" y="866717"/>
                                                                  </a:cubicBezTo>
                                                                  <a:cubicBezTo>
                                                                    <a:pt x="928999" y="875050"/>
                                                                    <a:pt x="930773" y="885293"/>
                                                                    <a:pt x="937441" y="891961"/>
                                                                  </a:cubicBezTo>
                                                                  <a:cubicBezTo>
                                                                    <a:pt x="939825" y="894345"/>
                                                                    <a:pt x="943050" y="895701"/>
                                                                    <a:pt x="945855" y="897571"/>
                                                                  </a:cubicBezTo>
                                                                  <a:cubicBezTo>
                                                                    <a:pt x="960817" y="920011"/>
                                                                    <a:pt x="941178" y="892893"/>
                                                                    <a:pt x="959880" y="911595"/>
                                                                  </a:cubicBezTo>
                                                                  <a:cubicBezTo>
                                                                    <a:pt x="962264" y="913979"/>
                                                                    <a:pt x="962858" y="917904"/>
                                                                    <a:pt x="965490" y="920010"/>
                                                                  </a:cubicBezTo>
                                                                  <a:cubicBezTo>
                                                                    <a:pt x="967799" y="921857"/>
                                                                    <a:pt x="971320" y="921379"/>
                                                                    <a:pt x="973904" y="922815"/>
                                                                  </a:cubicBezTo>
                                                                  <a:cubicBezTo>
                                                                    <a:pt x="979798" y="926089"/>
                                                                    <a:pt x="990734" y="934035"/>
                                                                    <a:pt x="990734" y="934035"/>
                                                                  </a:cubicBezTo>
                                                                  <a:cubicBezTo>
                                                                    <a:pt x="992582" y="939578"/>
                                                                    <a:pt x="994206" y="946909"/>
                                                                    <a:pt x="999149" y="950864"/>
                                                                  </a:cubicBezTo>
                                                                  <a:cubicBezTo>
                                                                    <a:pt x="1001458" y="952711"/>
                                                                    <a:pt x="1004919" y="952347"/>
                                                                    <a:pt x="1007563" y="953669"/>
                                                                  </a:cubicBezTo>
                                                                  <a:cubicBezTo>
                                                                    <a:pt x="1010578" y="955177"/>
                                                                    <a:pt x="1012897" y="957910"/>
                                                                    <a:pt x="1015978" y="959279"/>
                                                                  </a:cubicBezTo>
                                                                  <a:cubicBezTo>
                                                                    <a:pt x="1021381" y="961681"/>
                                                                    <a:pt x="1027887" y="961609"/>
                                                                    <a:pt x="1032807" y="964889"/>
                                                                  </a:cubicBezTo>
                                                                  <a:cubicBezTo>
                                                                    <a:pt x="1043682" y="972138"/>
                                                                    <a:pt x="1038024" y="969432"/>
                                                                    <a:pt x="1049637" y="973303"/>
                                                                  </a:cubicBezTo>
                                                                  <a:cubicBezTo>
                                                                    <a:pt x="1066151" y="989817"/>
                                                                    <a:pt x="1050659" y="977877"/>
                                                                    <a:pt x="1086101" y="984523"/>
                                                                  </a:cubicBezTo>
                                                                  <a:cubicBezTo>
                                                                    <a:pt x="1091913" y="985613"/>
                                                                    <a:pt x="1102930" y="990133"/>
                                                                    <a:pt x="1102930" y="990133"/>
                                                                  </a:cubicBezTo>
                                                                  <a:cubicBezTo>
                                                                    <a:pt x="1108540" y="988263"/>
                                                                    <a:pt x="1113927" y="985495"/>
                                                                    <a:pt x="1119760" y="984523"/>
                                                                  </a:cubicBezTo>
                                                                  <a:cubicBezTo>
                                                                    <a:pt x="1139505" y="981232"/>
                                                                    <a:pt x="1131194" y="983516"/>
                                                                    <a:pt x="1145004" y="978913"/>
                                                                  </a:cubicBezTo>
                                                                  <a:cubicBezTo>
                                                                    <a:pt x="1154354" y="979848"/>
                                                                    <a:pt x="1163766" y="980289"/>
                                                                    <a:pt x="1173053" y="981718"/>
                                                                  </a:cubicBezTo>
                                                                  <a:cubicBezTo>
                                                                    <a:pt x="1175975" y="982168"/>
                                                                    <a:pt x="1179159" y="982676"/>
                                                                    <a:pt x="1181468" y="984523"/>
                                                                  </a:cubicBezTo>
                                                                  <a:cubicBezTo>
                                                                    <a:pt x="1184100" y="986629"/>
                                                                    <a:pt x="1185207" y="990133"/>
                                                                    <a:pt x="1187077" y="992938"/>
                                                                  </a:cubicBezTo>
                                                                  <a:cubicBezTo>
                                                                    <a:pt x="1185454" y="998619"/>
                                                                    <a:pt x="1182811" y="1015425"/>
                                                                    <a:pt x="1175858" y="1020987"/>
                                                                  </a:cubicBezTo>
                                                                  <a:cubicBezTo>
                                                                    <a:pt x="1173549" y="1022834"/>
                                                                    <a:pt x="1170248" y="1022857"/>
                                                                    <a:pt x="1167443" y="1023792"/>
                                                                  </a:cubicBezTo>
                                                                  <a:cubicBezTo>
                                                                    <a:pt x="1165573" y="1026597"/>
                                                                    <a:pt x="1163202" y="1029126"/>
                                                                    <a:pt x="1161833" y="1032206"/>
                                                                  </a:cubicBezTo>
                                                                  <a:cubicBezTo>
                                                                    <a:pt x="1159431" y="1037610"/>
                                                                    <a:pt x="1156223" y="1049036"/>
                                                                    <a:pt x="1156223" y="1049036"/>
                                                                  </a:cubicBezTo>
                                                                  <a:cubicBezTo>
                                                                    <a:pt x="1161635" y="1076093"/>
                                                                    <a:pt x="1155008" y="1052214"/>
                                                                    <a:pt x="1164638" y="1071475"/>
                                                                  </a:cubicBezTo>
                                                                  <a:cubicBezTo>
                                                                    <a:pt x="1169201" y="1080601"/>
                                                                    <a:pt x="1165014" y="1080266"/>
                                                                    <a:pt x="1173053" y="1088304"/>
                                                                  </a:cubicBezTo>
                                                                  <a:cubicBezTo>
                                                                    <a:pt x="1175437" y="1090688"/>
                                                                    <a:pt x="1178663" y="1092044"/>
                                                                    <a:pt x="1181468" y="1093914"/>
                                                                  </a:cubicBezTo>
                                                                  <a:cubicBezTo>
                                                                    <a:pt x="1189743" y="1106329"/>
                                                                    <a:pt x="1183203" y="1100606"/>
                                                                    <a:pt x="1198297" y="1105134"/>
                                                                  </a:cubicBezTo>
                                                                  <a:cubicBezTo>
                                                                    <a:pt x="1203961" y="1106833"/>
                                                                    <a:pt x="1215126" y="1110744"/>
                                                                    <a:pt x="1215126" y="1110744"/>
                                                                  </a:cubicBezTo>
                                                                  <a:cubicBezTo>
                                                                    <a:pt x="1216996" y="1113549"/>
                                                                    <a:pt x="1218104" y="1117052"/>
                                                                    <a:pt x="1220736" y="1119158"/>
                                                                  </a:cubicBezTo>
                                                                  <a:cubicBezTo>
                                                                    <a:pt x="1223045" y="1121005"/>
                                                                    <a:pt x="1226433" y="1120798"/>
                                                                    <a:pt x="1229151" y="1121963"/>
                                                                  </a:cubicBezTo>
                                                                  <a:cubicBezTo>
                                                                    <a:pt x="1232994" y="1123610"/>
                                                                    <a:pt x="1236741" y="1125498"/>
                                                                    <a:pt x="1240371" y="1127573"/>
                                                                  </a:cubicBezTo>
                                                                  <a:cubicBezTo>
                                                                    <a:pt x="1243298" y="1129246"/>
                                                                    <a:pt x="1245629" y="1131999"/>
                                                                    <a:pt x="1248785" y="1133183"/>
                                                                  </a:cubicBezTo>
                                                                  <a:cubicBezTo>
                                                                    <a:pt x="1253249" y="1134857"/>
                                                                    <a:pt x="1258210" y="1134734"/>
                                                                    <a:pt x="1262810" y="1135988"/>
                                                                  </a:cubicBezTo>
                                                                  <a:cubicBezTo>
                                                                    <a:pt x="1294658" y="1144674"/>
                                                                    <a:pt x="1267980" y="1137172"/>
                                                                    <a:pt x="1288054" y="1147208"/>
                                                                  </a:cubicBezTo>
                                                                  <a:cubicBezTo>
                                                                    <a:pt x="1292073" y="1149217"/>
                                                                    <a:pt x="1304101" y="1151920"/>
                                                                    <a:pt x="1307688" y="1152817"/>
                                                                  </a:cubicBezTo>
                                                                  <a:cubicBezTo>
                                                                    <a:pt x="1331804" y="1168894"/>
                                                                    <a:pt x="1301292" y="1149619"/>
                                                                    <a:pt x="1324518" y="1161232"/>
                                                                  </a:cubicBezTo>
                                                                  <a:cubicBezTo>
                                                                    <a:pt x="1327533" y="1162740"/>
                                                                    <a:pt x="1329918" y="1165334"/>
                                                                    <a:pt x="1332933" y="1166842"/>
                                                                  </a:cubicBezTo>
                                                                  <a:cubicBezTo>
                                                                    <a:pt x="1335577" y="1168164"/>
                                                                    <a:pt x="1338763" y="1168211"/>
                                                                    <a:pt x="1341347" y="1169647"/>
                                                                  </a:cubicBezTo>
                                                                  <a:cubicBezTo>
                                                                    <a:pt x="1347241" y="1172921"/>
                                                                    <a:pt x="1358177" y="1180866"/>
                                                                    <a:pt x="1358177" y="1180866"/>
                                                                  </a:cubicBezTo>
                                                                  <a:cubicBezTo>
                                                                    <a:pt x="1359112" y="1183671"/>
                                                                    <a:pt x="1359342" y="1186821"/>
                                                                    <a:pt x="1360982" y="1189281"/>
                                                                  </a:cubicBezTo>
                                                                  <a:cubicBezTo>
                                                                    <a:pt x="1365131" y="1195505"/>
                                                                    <a:pt x="1381448" y="1207324"/>
                                                                    <a:pt x="1386226" y="1208916"/>
                                                                  </a:cubicBezTo>
                                                                  <a:lnTo>
                                                                    <a:pt x="1403055" y="1214525"/>
                                                                  </a:lnTo>
                                                                  <a:cubicBezTo>
                                                                    <a:pt x="1405860" y="1217330"/>
                                                                    <a:pt x="1408930" y="1219893"/>
                                                                    <a:pt x="1411470" y="1222940"/>
                                                                  </a:cubicBezTo>
                                                                  <a:cubicBezTo>
                                                                    <a:pt x="1413628" y="1225530"/>
                                                                    <a:pt x="1414696" y="1228971"/>
                                                                    <a:pt x="1417080" y="1231355"/>
                                                                  </a:cubicBezTo>
                                                                  <a:cubicBezTo>
                                                                    <a:pt x="1419464" y="1233739"/>
                                                                    <a:pt x="1422690" y="1235095"/>
                                                                    <a:pt x="1425495" y="1236965"/>
                                                                  </a:cubicBezTo>
                                                                  <a:cubicBezTo>
                                                                    <a:pt x="1435778" y="1252391"/>
                                                                    <a:pt x="1425495" y="1239302"/>
                                                                    <a:pt x="1439519" y="1250989"/>
                                                                  </a:cubicBezTo>
                                                                  <a:cubicBezTo>
                                                                    <a:pt x="1442566" y="1253529"/>
                                                                    <a:pt x="1444803" y="1256969"/>
                                                                    <a:pt x="1447934" y="1259404"/>
                                                                  </a:cubicBezTo>
                                                                  <a:cubicBezTo>
                                                                    <a:pt x="1453256" y="1263543"/>
                                                                    <a:pt x="1464763" y="1270623"/>
                                                                    <a:pt x="1464763" y="1270623"/>
                                                                  </a:cubicBezTo>
                                                                  <a:cubicBezTo>
                                                                    <a:pt x="1467044" y="1277467"/>
                                                                    <a:pt x="1467740" y="1282015"/>
                                                                    <a:pt x="1473178" y="1287453"/>
                                                                  </a:cubicBezTo>
                                                                  <a:cubicBezTo>
                                                                    <a:pt x="1475562" y="1289837"/>
                                                                    <a:pt x="1478578" y="1291555"/>
                                                                    <a:pt x="1481593" y="1293063"/>
                                                                  </a:cubicBezTo>
                                                                  <a:cubicBezTo>
                                                                    <a:pt x="1482429" y="1293481"/>
                                                                    <a:pt x="1483463" y="1293063"/>
                                                                    <a:pt x="1484398" y="1293063"/>
                                                                  </a:cubicBezTo>
                                                                  <a:lnTo>
                                                                    <a:pt x="1495617" y="1326722"/>
                                                                  </a:lnTo>
                                                                  <a:cubicBezTo>
                                                                    <a:pt x="1494812" y="1334773"/>
                                                                    <a:pt x="1495062" y="1353075"/>
                                                                    <a:pt x="1490007" y="1363185"/>
                                                                  </a:cubicBezTo>
                                                                  <a:cubicBezTo>
                                                                    <a:pt x="1488500" y="1366200"/>
                                                                    <a:pt x="1487030" y="1369494"/>
                                                                    <a:pt x="1484398" y="1371600"/>
                                                                  </a:cubicBezTo>
                                                                  <a:cubicBezTo>
                                                                    <a:pt x="1482089" y="1373447"/>
                                                                    <a:pt x="1478788" y="1373470"/>
                                                                    <a:pt x="1475983" y="1374405"/>
                                                                  </a:cubicBezTo>
                                                                  <a:cubicBezTo>
                                                                    <a:pt x="1471308" y="1373470"/>
                                                                    <a:pt x="1466298" y="1373573"/>
                                                                    <a:pt x="1461958" y="1371600"/>
                                                                  </a:cubicBezTo>
                                                                  <a:cubicBezTo>
                                                                    <a:pt x="1455820" y="1368810"/>
                                                                    <a:pt x="1445129" y="1360381"/>
                                                                    <a:pt x="1445129" y="1360381"/>
                                                                  </a:cubicBezTo>
                                                                  <a:cubicBezTo>
                                                                    <a:pt x="1442951" y="1353846"/>
                                                                    <a:pt x="1436456" y="1329441"/>
                                                                    <a:pt x="1428299" y="1326722"/>
                                                                  </a:cubicBezTo>
                                                                  <a:lnTo>
                                                                    <a:pt x="1419885" y="1323917"/>
                                                                  </a:lnTo>
                                                                  <a:cubicBezTo>
                                                                    <a:pt x="1418015" y="1321112"/>
                                                                    <a:pt x="1415783" y="1318517"/>
                                                                    <a:pt x="1414275" y="1315502"/>
                                                                  </a:cubicBezTo>
                                                                  <a:cubicBezTo>
                                                                    <a:pt x="1412953" y="1312857"/>
                                                                    <a:pt x="1413876" y="1308806"/>
                                                                    <a:pt x="1411470" y="1307087"/>
                                                                  </a:cubicBezTo>
                                                                  <a:cubicBezTo>
                                                                    <a:pt x="1406658" y="1303650"/>
                                                                    <a:pt x="1400251" y="1303347"/>
                                                                    <a:pt x="1394641" y="1301477"/>
                                                                  </a:cubicBezTo>
                                                                  <a:lnTo>
                                                                    <a:pt x="1360982" y="1290258"/>
                                                                  </a:lnTo>
                                                                  <a:lnTo>
                                                                    <a:pt x="1352567" y="1287453"/>
                                                                  </a:lnTo>
                                                                  <a:cubicBezTo>
                                                                    <a:pt x="1349762" y="1286518"/>
                                                                    <a:pt x="1346612" y="1286288"/>
                                                                    <a:pt x="1344152" y="1284648"/>
                                                                  </a:cubicBezTo>
                                                                  <a:lnTo>
                                                                    <a:pt x="1335737" y="1279038"/>
                                                                  </a:lnTo>
                                                                  <a:cubicBezTo>
                                                                    <a:pt x="1334802" y="1272493"/>
                                                                    <a:pt x="1336900" y="1264693"/>
                                                                    <a:pt x="1332933" y="1259404"/>
                                                                  </a:cubicBezTo>
                                                                  <a:cubicBezTo>
                                                                    <a:pt x="1330072" y="1255590"/>
                                                                    <a:pt x="1323676" y="1256599"/>
                                                                    <a:pt x="1318908" y="1256599"/>
                                                                  </a:cubicBezTo>
                                                                  <a:cubicBezTo>
                                                                    <a:pt x="1308581" y="1256599"/>
                                                                    <a:pt x="1298339" y="1258469"/>
                                                                    <a:pt x="1288054" y="1259404"/>
                                                                  </a:cubicBezTo>
                                                                  <a:cubicBezTo>
                                                                    <a:pt x="1281209" y="1261686"/>
                                                                    <a:pt x="1276663" y="1262381"/>
                                                                    <a:pt x="1271225" y="1267819"/>
                                                                  </a:cubicBezTo>
                                                                  <a:cubicBezTo>
                                                                    <a:pt x="1252529" y="1286515"/>
                                                                    <a:pt x="1279637" y="1266885"/>
                                                                    <a:pt x="1257200" y="1281843"/>
                                                                  </a:cubicBezTo>
                                                                  <a:cubicBezTo>
                                                                    <a:pt x="1256265" y="1284648"/>
                                                                    <a:pt x="1256242" y="1287949"/>
                                                                    <a:pt x="1254395" y="1290258"/>
                                                                  </a:cubicBezTo>
                                                                  <a:cubicBezTo>
                                                                    <a:pt x="1252289" y="1292890"/>
                                                                    <a:pt x="1248570" y="1293710"/>
                                                                    <a:pt x="1245980" y="1295868"/>
                                                                  </a:cubicBezTo>
                                                                  <a:cubicBezTo>
                                                                    <a:pt x="1242933" y="1298407"/>
                                                                    <a:pt x="1240105" y="1301235"/>
                                                                    <a:pt x="1237566" y="1304282"/>
                                                                  </a:cubicBezTo>
                                                                  <a:cubicBezTo>
                                                                    <a:pt x="1231524" y="1311532"/>
                                                                    <a:pt x="1231962" y="1312678"/>
                                                                    <a:pt x="1229151" y="1321112"/>
                                                                  </a:cubicBezTo>
                                                                  <a:cubicBezTo>
                                                                    <a:pt x="1231021" y="1326722"/>
                                                                    <a:pt x="1235921" y="1332143"/>
                                                                    <a:pt x="1234761" y="1337941"/>
                                                                  </a:cubicBezTo>
                                                                  <a:cubicBezTo>
                                                                    <a:pt x="1233826" y="1342616"/>
                                                                    <a:pt x="1233630" y="1347502"/>
                                                                    <a:pt x="1231956" y="1351966"/>
                                                                  </a:cubicBezTo>
                                                                  <a:cubicBezTo>
                                                                    <a:pt x="1229613" y="1358215"/>
                                                                    <a:pt x="1222298" y="1364429"/>
                                                                    <a:pt x="1217931" y="1368795"/>
                                                                  </a:cubicBezTo>
                                                                  <a:cubicBezTo>
                                                                    <a:pt x="1219938" y="1378829"/>
                                                                    <a:pt x="1219123" y="1384013"/>
                                                                    <a:pt x="1226346" y="1391235"/>
                                                                  </a:cubicBezTo>
                                                                  <a:cubicBezTo>
                                                                    <a:pt x="1228730" y="1393619"/>
                                                                    <a:pt x="1231956" y="1394974"/>
                                                                    <a:pt x="1234761" y="1396844"/>
                                                                  </a:cubicBezTo>
                                                                  <a:cubicBezTo>
                                                                    <a:pt x="1235696" y="1399649"/>
                                                                    <a:pt x="1235926" y="1402799"/>
                                                                    <a:pt x="1237566" y="1405259"/>
                                                                  </a:cubicBezTo>
                                                                  <a:cubicBezTo>
                                                                    <a:pt x="1241886" y="1411739"/>
                                                                    <a:pt x="1248185" y="1415144"/>
                                                                    <a:pt x="1254395" y="1419284"/>
                                                                  </a:cubicBezTo>
                                                                  <a:cubicBezTo>
                                                                    <a:pt x="1256265" y="1422089"/>
                                                                    <a:pt x="1258332" y="1424771"/>
                                                                    <a:pt x="1260005" y="1427698"/>
                                                                  </a:cubicBezTo>
                                                                  <a:cubicBezTo>
                                                                    <a:pt x="1265406" y="1437149"/>
                                                                    <a:pt x="1264540" y="1441006"/>
                                                                    <a:pt x="1274030" y="1447333"/>
                                                                  </a:cubicBezTo>
                                                                  <a:cubicBezTo>
                                                                    <a:pt x="1276490" y="1448973"/>
                                                                    <a:pt x="1279860" y="1448702"/>
                                                                    <a:pt x="1282444" y="1450138"/>
                                                                  </a:cubicBezTo>
                                                                  <a:cubicBezTo>
                                                                    <a:pt x="1288338" y="1453412"/>
                                                                    <a:pt x="1299274" y="1461357"/>
                                                                    <a:pt x="1299274" y="1461357"/>
                                                                  </a:cubicBezTo>
                                                                  <a:cubicBezTo>
                                                                    <a:pt x="1313490" y="1504004"/>
                                                                    <a:pt x="1296764" y="1450482"/>
                                                                    <a:pt x="1307688" y="1497821"/>
                                                                  </a:cubicBezTo>
                                                                  <a:cubicBezTo>
                                                                    <a:pt x="1309018" y="1503583"/>
                                                                    <a:pt x="1313298" y="1514650"/>
                                                                    <a:pt x="1313298" y="1514650"/>
                                                                  </a:cubicBezTo>
                                                                  <a:cubicBezTo>
                                                                    <a:pt x="1312363" y="1518390"/>
                                                                    <a:pt x="1313219" y="1523144"/>
                                                                    <a:pt x="1310493" y="1525870"/>
                                                                  </a:cubicBezTo>
                                                                  <a:cubicBezTo>
                                                                    <a:pt x="1307767" y="1528596"/>
                                                                    <a:pt x="1303037" y="1527839"/>
                                                                    <a:pt x="1299274" y="1528675"/>
                                                                  </a:cubicBezTo>
                                                                  <a:cubicBezTo>
                                                                    <a:pt x="1294620" y="1529709"/>
                                                                    <a:pt x="1289849" y="1530226"/>
                                                                    <a:pt x="1285249" y="1531480"/>
                                                                  </a:cubicBezTo>
                                                                  <a:cubicBezTo>
                                                                    <a:pt x="1279544" y="1533036"/>
                                                                    <a:pt x="1268420" y="1537090"/>
                                                                    <a:pt x="1268420" y="1537090"/>
                                                                  </a:cubicBezTo>
                                                                  <a:cubicBezTo>
                                                                    <a:pt x="1252519" y="1560939"/>
                                                                    <a:pt x="1278717" y="1523983"/>
                                                                    <a:pt x="1245980" y="1556724"/>
                                                                  </a:cubicBezTo>
                                                                  <a:cubicBezTo>
                                                                    <a:pt x="1235182" y="1567523"/>
                                                                    <a:pt x="1240866" y="1562939"/>
                                                                    <a:pt x="1229151" y="1570749"/>
                                                                  </a:cubicBezTo>
                                                                  <a:cubicBezTo>
                                                                    <a:pt x="1222435" y="1580822"/>
                                                                    <a:pt x="1220793" y="1581686"/>
                                                                    <a:pt x="1217931" y="1595993"/>
                                                                  </a:cubicBezTo>
                                                                  <a:cubicBezTo>
                                                                    <a:pt x="1217637" y="1597462"/>
                                                                    <a:pt x="1213640" y="1618601"/>
                                                                    <a:pt x="1212322" y="1621237"/>
                                                                  </a:cubicBezTo>
                                                                  <a:cubicBezTo>
                                                                    <a:pt x="1204142" y="1637598"/>
                                                                    <a:pt x="1204257" y="1635963"/>
                                                                    <a:pt x="1192687" y="1643676"/>
                                                                  </a:cubicBezTo>
                                                                  <a:cubicBezTo>
                                                                    <a:pt x="1180510" y="1668030"/>
                                                                    <a:pt x="1194580" y="1642846"/>
                                                                    <a:pt x="1178663" y="1663311"/>
                                                                  </a:cubicBezTo>
                                                                  <a:cubicBezTo>
                                                                    <a:pt x="1174524" y="1668633"/>
                                                                    <a:pt x="1172210" y="1675373"/>
                                                                    <a:pt x="1167443" y="1680140"/>
                                                                  </a:cubicBezTo>
                                                                  <a:cubicBezTo>
                                                                    <a:pt x="1161833" y="1685750"/>
                                                                    <a:pt x="1158140" y="1694460"/>
                                                                    <a:pt x="1150614" y="1696969"/>
                                                                  </a:cubicBezTo>
                                                                  <a:cubicBezTo>
                                                                    <a:pt x="1139001" y="1700840"/>
                                                                    <a:pt x="1144659" y="1698134"/>
                                                                    <a:pt x="1133784" y="1705384"/>
                                                                  </a:cubicBezTo>
                                                                  <a:cubicBezTo>
                                                                    <a:pt x="1126304" y="1704449"/>
                                                                    <a:pt x="1118303" y="1705478"/>
                                                                    <a:pt x="1111345" y="1702579"/>
                                                                  </a:cubicBezTo>
                                                                  <a:cubicBezTo>
                                                                    <a:pt x="1097879" y="1696968"/>
                                                                    <a:pt x="1101884" y="1692073"/>
                                                                    <a:pt x="1097320" y="1682945"/>
                                                                  </a:cubicBezTo>
                                                                  <a:cubicBezTo>
                                                                    <a:pt x="1095812" y="1679930"/>
                                                                    <a:pt x="1093580" y="1677335"/>
                                                                    <a:pt x="1091710" y="1674530"/>
                                                                  </a:cubicBezTo>
                                                                  <a:cubicBezTo>
                                                                    <a:pt x="1092645" y="1669855"/>
                                                                    <a:pt x="1091870" y="1664473"/>
                                                                    <a:pt x="1094515" y="1660506"/>
                                                                  </a:cubicBezTo>
                                                                  <a:cubicBezTo>
                                                                    <a:pt x="1096155" y="1658046"/>
                                                                    <a:pt x="1100285" y="1659023"/>
                                                                    <a:pt x="1102930" y="1657701"/>
                                                                  </a:cubicBezTo>
                                                                  <a:cubicBezTo>
                                                                    <a:pt x="1105945" y="1656193"/>
                                                                    <a:pt x="1108540" y="1653961"/>
                                                                    <a:pt x="1111345" y="1652091"/>
                                                                  </a:cubicBezTo>
                                                                  <a:cubicBezTo>
                                                                    <a:pt x="1125844" y="1630342"/>
                                                                    <a:pt x="1120432" y="1641658"/>
                                                                    <a:pt x="1128174" y="1618432"/>
                                                                  </a:cubicBezTo>
                                                                  <a:lnTo>
                                                                    <a:pt x="1130979" y="1610017"/>
                                                                  </a:lnTo>
                                                                  <a:cubicBezTo>
                                                                    <a:pt x="1130044" y="1606277"/>
                                                                    <a:pt x="1129233" y="1602504"/>
                                                                    <a:pt x="1128174" y="1598798"/>
                                                                  </a:cubicBezTo>
                                                                  <a:cubicBezTo>
                                                                    <a:pt x="1127362" y="1595955"/>
                                                                    <a:pt x="1125369" y="1593340"/>
                                                                    <a:pt x="1125369" y="1590383"/>
                                                                  </a:cubicBezTo>
                                                                  <a:cubicBezTo>
                                                                    <a:pt x="1125369" y="1579163"/>
                                                                    <a:pt x="1129109" y="1582903"/>
                                                                    <a:pt x="1136589" y="1579163"/>
                                                                  </a:cubicBezTo>
                                                                  <a:cubicBezTo>
                                                                    <a:pt x="1156998" y="1568960"/>
                                                                    <a:pt x="1128933" y="1575850"/>
                                                                    <a:pt x="1164638" y="1570749"/>
                                                                  </a:cubicBezTo>
                                                                  <a:cubicBezTo>
                                                                    <a:pt x="1167443" y="1569814"/>
                                                                    <a:pt x="1171334" y="1570350"/>
                                                                    <a:pt x="1173053" y="1567944"/>
                                                                  </a:cubicBezTo>
                                                                  <a:cubicBezTo>
                                                                    <a:pt x="1176490" y="1563132"/>
                                                                    <a:pt x="1178663" y="1551114"/>
                                                                    <a:pt x="1178663" y="1551114"/>
                                                                  </a:cubicBezTo>
                                                                  <a:cubicBezTo>
                                                                    <a:pt x="1176793" y="1539894"/>
                                                                    <a:pt x="1176184" y="1526195"/>
                                                                    <a:pt x="1167443" y="1517455"/>
                                                                  </a:cubicBezTo>
                                                                  <a:cubicBezTo>
                                                                    <a:pt x="1165059" y="1515071"/>
                                                                    <a:pt x="1161833" y="1513716"/>
                                                                    <a:pt x="1159028" y="1511846"/>
                                                                  </a:cubicBezTo>
                                                                  <a:cubicBezTo>
                                                                    <a:pt x="1151855" y="1475982"/>
                                                                    <a:pt x="1161501" y="1527270"/>
                                                                    <a:pt x="1153418" y="1458552"/>
                                                                  </a:cubicBezTo>
                                                                  <a:cubicBezTo>
                                                                    <a:pt x="1152190" y="1448117"/>
                                                                    <a:pt x="1149241" y="1451256"/>
                                                                    <a:pt x="1145004" y="1441723"/>
                                                                  </a:cubicBezTo>
                                                                  <a:cubicBezTo>
                                                                    <a:pt x="1142602" y="1436319"/>
                                                                    <a:pt x="1141264" y="1430503"/>
                                                                    <a:pt x="1139394" y="1424893"/>
                                                                  </a:cubicBezTo>
                                                                  <a:cubicBezTo>
                                                                    <a:pt x="1129167" y="1394212"/>
                                                                    <a:pt x="1145477" y="1440683"/>
                                                                    <a:pt x="1130979" y="1408064"/>
                                                                  </a:cubicBezTo>
                                                                  <a:cubicBezTo>
                                                                    <a:pt x="1128577" y="1402661"/>
                                                                    <a:pt x="1125369" y="1391235"/>
                                                                    <a:pt x="1125369" y="1391235"/>
                                                                  </a:cubicBezTo>
                                                                  <a:cubicBezTo>
                                                                    <a:pt x="1124434" y="1381885"/>
                                                                    <a:pt x="1123993" y="1372472"/>
                                                                    <a:pt x="1122564" y="1363185"/>
                                                                  </a:cubicBezTo>
                                                                  <a:cubicBezTo>
                                                                    <a:pt x="1121153" y="1354015"/>
                                                                    <a:pt x="1113360" y="1344368"/>
                                                                    <a:pt x="1108540" y="1337941"/>
                                                                  </a:cubicBezTo>
                                                                  <a:cubicBezTo>
                                                                    <a:pt x="1105735" y="1334201"/>
                                                                    <a:pt x="1103431" y="1330027"/>
                                                                    <a:pt x="1100125" y="1326722"/>
                                                                  </a:cubicBezTo>
                                                                  <a:cubicBezTo>
                                                                    <a:pt x="1097741" y="1324338"/>
                                                                    <a:pt x="1094515" y="1322982"/>
                                                                    <a:pt x="1091710" y="1321112"/>
                                                                  </a:cubicBezTo>
                                                                  <a:cubicBezTo>
                                                                    <a:pt x="1086100" y="1322047"/>
                                                                    <a:pt x="1080433" y="1322683"/>
                                                                    <a:pt x="1074881" y="1323917"/>
                                                                  </a:cubicBezTo>
                                                                  <a:cubicBezTo>
                                                                    <a:pt x="1071995" y="1324558"/>
                                                                    <a:pt x="1069423" y="1326722"/>
                                                                    <a:pt x="1066466" y="1326722"/>
                                                                  </a:cubicBezTo>
                                                                  <a:cubicBezTo>
                                                                    <a:pt x="1060779" y="1326722"/>
                                                                    <a:pt x="1055247" y="1324852"/>
                                                                    <a:pt x="1049637" y="1323917"/>
                                                                  </a:cubicBezTo>
                                                                  <a:cubicBezTo>
                                                                    <a:pt x="1048109" y="1319332"/>
                                                                    <a:pt x="1045801" y="1309949"/>
                                                                    <a:pt x="1041222" y="1307087"/>
                                                                  </a:cubicBezTo>
                                                                  <a:cubicBezTo>
                                                                    <a:pt x="1036208" y="1303953"/>
                                                                    <a:pt x="1030003" y="1303347"/>
                                                                    <a:pt x="1024393" y="1301477"/>
                                                                  </a:cubicBezTo>
                                                                  <a:cubicBezTo>
                                                                    <a:pt x="1021195" y="1300411"/>
                                                                    <a:pt x="1018783" y="1297738"/>
                                                                    <a:pt x="1015978" y="1295868"/>
                                                                  </a:cubicBezTo>
                                                                  <a:cubicBezTo>
                                                                    <a:pt x="1014108" y="1293063"/>
                                                                    <a:pt x="1010740" y="1290804"/>
                                                                    <a:pt x="1010368" y="1287453"/>
                                                                  </a:cubicBezTo>
                                                                  <a:cubicBezTo>
                                                                    <a:pt x="1009545" y="1280047"/>
                                                                    <a:pt x="1013513" y="1269604"/>
                                                                    <a:pt x="1015978" y="1262209"/>
                                                                  </a:cubicBezTo>
                                                                  <a:cubicBezTo>
                                                                    <a:pt x="1015043" y="1250054"/>
                                                                    <a:pt x="1015420" y="1237727"/>
                                                                    <a:pt x="1013173" y="1225745"/>
                                                                  </a:cubicBezTo>
                                                                  <a:cubicBezTo>
                                                                    <a:pt x="1011217" y="1215311"/>
                                                                    <a:pt x="1006119" y="1218010"/>
                                                                    <a:pt x="999149" y="1214525"/>
                                                                  </a:cubicBezTo>
                                                                  <a:cubicBezTo>
                                                                    <a:pt x="996134" y="1213018"/>
                                                                    <a:pt x="993749" y="1210423"/>
                                                                    <a:pt x="990734" y="1208916"/>
                                                                  </a:cubicBezTo>
                                                                  <a:cubicBezTo>
                                                                    <a:pt x="988089" y="1207594"/>
                                                                    <a:pt x="985264" y="1206379"/>
                                                                    <a:pt x="982319" y="1206111"/>
                                                                  </a:cubicBezTo>
                                                                  <a:cubicBezTo>
                                                                    <a:pt x="964603" y="1204500"/>
                                                                    <a:pt x="946790" y="1204241"/>
                                                                    <a:pt x="929026" y="1203306"/>
                                                                  </a:cubicBezTo>
                                                                  <a:cubicBezTo>
                                                                    <a:pt x="930896" y="1200501"/>
                                                                    <a:pt x="934636" y="1198262"/>
                                                                    <a:pt x="934636" y="1194891"/>
                                                                  </a:cubicBezTo>
                                                                  <a:cubicBezTo>
                                                                    <a:pt x="934636" y="1176192"/>
                                                                    <a:pt x="927155" y="1176192"/>
                                                                    <a:pt x="912196" y="1172452"/>
                                                                  </a:cubicBezTo>
                                                                  <a:lnTo>
                                                                    <a:pt x="889757" y="1166842"/>
                                                                  </a:lnTo>
                                                                  <a:cubicBezTo>
                                                                    <a:pt x="880868" y="1153509"/>
                                                                    <a:pt x="885211" y="1161622"/>
                                                                    <a:pt x="878537" y="1141598"/>
                                                                  </a:cubicBezTo>
                                                                  <a:cubicBezTo>
                                                                    <a:pt x="878535" y="1141593"/>
                                                                    <a:pt x="872931" y="1124772"/>
                                                                    <a:pt x="872928" y="1124768"/>
                                                                  </a:cubicBezTo>
                                                                  <a:lnTo>
                                                                    <a:pt x="867318" y="1116354"/>
                                                                  </a:lnTo>
                                                                  <a:cubicBezTo>
                                                                    <a:pt x="860268" y="1095203"/>
                                                                    <a:pt x="869778" y="1121274"/>
                                                                    <a:pt x="858903" y="1099524"/>
                                                                  </a:cubicBezTo>
                                                                  <a:cubicBezTo>
                                                                    <a:pt x="855418" y="1092554"/>
                                                                    <a:pt x="858118" y="1087456"/>
                                                                    <a:pt x="847684" y="1085500"/>
                                                                  </a:cubicBezTo>
                                                                  <a:cubicBezTo>
                                                                    <a:pt x="835702" y="1083254"/>
                                                                    <a:pt x="823375" y="1083630"/>
                                                                    <a:pt x="811220" y="1082695"/>
                                                                  </a:cubicBezTo>
                                                                  <a:cubicBezTo>
                                                                    <a:pt x="787516" y="1058991"/>
                                                                    <a:pt x="816444" y="1084155"/>
                                                                    <a:pt x="746707" y="1071475"/>
                                                                  </a:cubicBezTo>
                                                                  <a:cubicBezTo>
                                                                    <a:pt x="743390" y="1070872"/>
                                                                    <a:pt x="742605" y="1066075"/>
                                                                    <a:pt x="741097" y="1063060"/>
                                                                  </a:cubicBezTo>
                                                                  <a:cubicBezTo>
                                                                    <a:pt x="736534" y="1053934"/>
                                                                    <a:pt x="740721" y="1054270"/>
                                                                    <a:pt x="732682" y="1046231"/>
                                                                  </a:cubicBezTo>
                                                                  <a:cubicBezTo>
                                                                    <a:pt x="730298" y="1043847"/>
                                                                    <a:pt x="727348" y="1041990"/>
                                                                    <a:pt x="724268" y="1040621"/>
                                                                  </a:cubicBezTo>
                                                                  <a:cubicBezTo>
                                                                    <a:pt x="718864" y="1038219"/>
                                                                    <a:pt x="711619" y="1039192"/>
                                                                    <a:pt x="707438" y="1035011"/>
                                                                  </a:cubicBezTo>
                                                                  <a:lnTo>
                                                                    <a:pt x="701828" y="1029401"/>
                                                                  </a:lnTo>
                                                                  <a:lnTo>
                                                                    <a:pt x="701828" y="1026596"/>
                                                                  </a:lnTo>
                                                                  <a:lnTo>
                                                                    <a:pt x="699023" y="1012572"/>
                                                                  </a:lnTo>
                                                                  <a:cubicBezTo>
                                                                    <a:pt x="692478" y="1007897"/>
                                                                    <a:pt x="685669" y="1003571"/>
                                                                    <a:pt x="679389" y="998547"/>
                                                                  </a:cubicBezTo>
                                                                  <a:cubicBezTo>
                                                                    <a:pt x="676292" y="996069"/>
                                                                    <a:pt x="674274" y="992333"/>
                                                                    <a:pt x="670974" y="990133"/>
                                                                  </a:cubicBezTo>
                                                                  <a:cubicBezTo>
                                                                    <a:pt x="668514" y="988493"/>
                                                                    <a:pt x="665204" y="988650"/>
                                                                    <a:pt x="662560" y="987328"/>
                                                                  </a:cubicBezTo>
                                                                  <a:cubicBezTo>
                                                                    <a:pt x="659545" y="985820"/>
                                                                    <a:pt x="656950" y="983588"/>
                                                                    <a:pt x="654145" y="981718"/>
                                                                  </a:cubicBezTo>
                                                                  <a:cubicBezTo>
                                                                    <a:pt x="653210" y="978913"/>
                                                                    <a:pt x="651790" y="976225"/>
                                                                    <a:pt x="651340" y="973303"/>
                                                                  </a:cubicBezTo>
                                                                  <a:cubicBezTo>
                                                                    <a:pt x="649911" y="964016"/>
                                                                    <a:pt x="650648" y="954410"/>
                                                                    <a:pt x="648535" y="945254"/>
                                                                  </a:cubicBezTo>
                                                                  <a:cubicBezTo>
                                                                    <a:pt x="646763" y="937576"/>
                                                                    <a:pt x="640023" y="935167"/>
                                                                    <a:pt x="634510" y="931230"/>
                                                                  </a:cubicBezTo>
                                                                  <a:cubicBezTo>
                                                                    <a:pt x="602432" y="908318"/>
                                                                    <a:pt x="638982" y="935701"/>
                                                                    <a:pt x="617681" y="914400"/>
                                                                  </a:cubicBezTo>
                                                                  <a:cubicBezTo>
                                                                    <a:pt x="612244" y="908963"/>
                                                                    <a:pt x="607695" y="908266"/>
                                                                    <a:pt x="600852" y="905985"/>
                                                                  </a:cubicBezTo>
                                                                  <a:cubicBezTo>
                                                                    <a:pt x="600712" y="905286"/>
                                                                    <a:pt x="597542" y="886421"/>
                                                                    <a:pt x="595242" y="883546"/>
                                                                  </a:cubicBezTo>
                                                                  <a:cubicBezTo>
                                                                    <a:pt x="593136" y="880914"/>
                                                                    <a:pt x="589632" y="879806"/>
                                                                    <a:pt x="586827" y="877936"/>
                                                                  </a:cubicBezTo>
                                                                  <a:cubicBezTo>
                                                                    <a:pt x="572895" y="857040"/>
                                                                    <a:pt x="590804" y="882710"/>
                                                                    <a:pt x="572803" y="861107"/>
                                                                  </a:cubicBezTo>
                                                                  <a:cubicBezTo>
                                                                    <a:pt x="570645" y="858517"/>
                                                                    <a:pt x="570052" y="854479"/>
                                                                    <a:pt x="567193" y="852692"/>
                                                                  </a:cubicBezTo>
                                                                  <a:cubicBezTo>
                                                                    <a:pt x="553341" y="844034"/>
                                                                    <a:pt x="522027" y="845058"/>
                                                                    <a:pt x="511095" y="844277"/>
                                                                  </a:cubicBezTo>
                                                                  <a:cubicBezTo>
                                                                    <a:pt x="512030" y="840537"/>
                                                                    <a:pt x="512381" y="836601"/>
                                                                    <a:pt x="513899" y="833058"/>
                                                                  </a:cubicBezTo>
                                                                  <a:cubicBezTo>
                                                                    <a:pt x="515227" y="829959"/>
                                                                    <a:pt x="518001" y="827658"/>
                                                                    <a:pt x="519509" y="824643"/>
                                                                  </a:cubicBezTo>
                                                                  <a:cubicBezTo>
                                                                    <a:pt x="520831" y="821998"/>
                                                                    <a:pt x="521379" y="819033"/>
                                                                    <a:pt x="522314" y="816228"/>
                                                                  </a:cubicBezTo>
                                                                  <a:cubicBezTo>
                                                                    <a:pt x="520433" y="804944"/>
                                                                    <a:pt x="521787" y="798873"/>
                                                                    <a:pt x="513899" y="790984"/>
                                                                  </a:cubicBezTo>
                                                                  <a:cubicBezTo>
                                                                    <a:pt x="511515" y="788600"/>
                                                                    <a:pt x="508290" y="787244"/>
                                                                    <a:pt x="505485" y="785374"/>
                                                                  </a:cubicBezTo>
                                                                  <a:cubicBezTo>
                                                                    <a:pt x="503615" y="782569"/>
                                                                    <a:pt x="502115" y="779479"/>
                                                                    <a:pt x="499875" y="776960"/>
                                                                  </a:cubicBezTo>
                                                                  <a:cubicBezTo>
                                                                    <a:pt x="485901" y="761240"/>
                                                                    <a:pt x="487420" y="763047"/>
                                                                    <a:pt x="474631" y="754520"/>
                                                                  </a:cubicBezTo>
                                                                  <a:cubicBezTo>
                                                                    <a:pt x="469514" y="739171"/>
                                                                    <a:pt x="473052" y="738304"/>
                                                                    <a:pt x="460606" y="732081"/>
                                                                  </a:cubicBezTo>
                                                                  <a:cubicBezTo>
                                                                    <a:pt x="457961" y="730759"/>
                                                                    <a:pt x="454996" y="730211"/>
                                                                    <a:pt x="452191" y="729276"/>
                                                                  </a:cubicBezTo>
                                                                  <a:cubicBezTo>
                                                                    <a:pt x="451256" y="708707"/>
                                                                    <a:pt x="451840" y="688012"/>
                                                                    <a:pt x="449387" y="667568"/>
                                                                  </a:cubicBezTo>
                                                                  <a:cubicBezTo>
                                                                    <a:pt x="448985" y="664221"/>
                                                                    <a:pt x="445146" y="662234"/>
                                                                    <a:pt x="443777" y="659154"/>
                                                                  </a:cubicBezTo>
                                                                  <a:cubicBezTo>
                                                                    <a:pt x="443776" y="659152"/>
                                                                    <a:pt x="436765" y="638117"/>
                                                                    <a:pt x="435362" y="633909"/>
                                                                  </a:cubicBezTo>
                                                                  <a:lnTo>
                                                                    <a:pt x="432557" y="625495"/>
                                                                  </a:lnTo>
                                                                  <a:cubicBezTo>
                                                                    <a:pt x="431622" y="598381"/>
                                                                    <a:pt x="431444" y="571230"/>
                                                                    <a:pt x="429752" y="544152"/>
                                                                  </a:cubicBezTo>
                                                                  <a:cubicBezTo>
                                                                    <a:pt x="429568" y="541201"/>
                                                                    <a:pt x="428587" y="538198"/>
                                                                    <a:pt x="426947" y="535738"/>
                                                                  </a:cubicBezTo>
                                                                  <a:cubicBezTo>
                                                                    <a:pt x="422797" y="529513"/>
                                                                    <a:pt x="406482" y="517696"/>
                                                                    <a:pt x="401703" y="516103"/>
                                                                  </a:cubicBezTo>
                                                                  <a:lnTo>
                                                                    <a:pt x="384874" y="510493"/>
                                                                  </a:lnTo>
                                                                  <a:cubicBezTo>
                                                                    <a:pt x="382069" y="511428"/>
                                                                    <a:pt x="379044" y="514734"/>
                                                                    <a:pt x="376459" y="513298"/>
                                                                  </a:cubicBezTo>
                                                                  <a:cubicBezTo>
                                                                    <a:pt x="369524" y="509445"/>
                                                                    <a:pt x="364031" y="503070"/>
                                                                    <a:pt x="359630" y="496469"/>
                                                                  </a:cubicBezTo>
                                                                  <a:cubicBezTo>
                                                                    <a:pt x="357760" y="493664"/>
                                                                    <a:pt x="356652" y="490160"/>
                                                                    <a:pt x="354020" y="488054"/>
                                                                  </a:cubicBezTo>
                                                                  <a:cubicBezTo>
                                                                    <a:pt x="351711" y="486207"/>
                                                                    <a:pt x="348250" y="486571"/>
                                                                    <a:pt x="345605" y="485249"/>
                                                                  </a:cubicBezTo>
                                                                  <a:cubicBezTo>
                                                                    <a:pt x="342590" y="483741"/>
                                                                    <a:pt x="340271" y="481008"/>
                                                                    <a:pt x="337190" y="479639"/>
                                                                  </a:cubicBezTo>
                                                                  <a:cubicBezTo>
                                                                    <a:pt x="331787" y="477238"/>
                                                                    <a:pt x="325971" y="475900"/>
                                                                    <a:pt x="320361" y="474030"/>
                                                                  </a:cubicBezTo>
                                                                  <a:cubicBezTo>
                                                                    <a:pt x="317556" y="473095"/>
                                                                    <a:pt x="314406" y="472865"/>
                                                                    <a:pt x="311946" y="471225"/>
                                                                  </a:cubicBezTo>
                                                                  <a:cubicBezTo>
                                                                    <a:pt x="303497" y="465592"/>
                                                                    <a:pt x="302274" y="464275"/>
                                                                    <a:pt x="292312" y="460005"/>
                                                                  </a:cubicBezTo>
                                                                  <a:cubicBezTo>
                                                                    <a:pt x="289594" y="458840"/>
                                                                    <a:pt x="286542" y="458522"/>
                                                                    <a:pt x="283897" y="457200"/>
                                                                  </a:cubicBezTo>
                                                                  <a:cubicBezTo>
                                                                    <a:pt x="280882" y="455692"/>
                                                                    <a:pt x="278409" y="453263"/>
                                                                    <a:pt x="275482" y="451590"/>
                                                                  </a:cubicBezTo>
                                                                  <a:cubicBezTo>
                                                                    <a:pt x="271852" y="449516"/>
                                                                    <a:pt x="268106" y="447628"/>
                                                                    <a:pt x="264263" y="445981"/>
                                                                  </a:cubicBezTo>
                                                                  <a:cubicBezTo>
                                                                    <a:pt x="261545" y="444816"/>
                                                                    <a:pt x="258493" y="444498"/>
                                                                    <a:pt x="255848" y="443176"/>
                                                                  </a:cubicBezTo>
                                                                  <a:cubicBezTo>
                                                                    <a:pt x="236477" y="433490"/>
                                                                    <a:pt x="259564" y="440599"/>
                                                                    <a:pt x="236214" y="434761"/>
                                                                  </a:cubicBezTo>
                                                                  <a:cubicBezTo>
                                                                    <a:pt x="228734" y="435696"/>
                                                                    <a:pt x="221047" y="435583"/>
                                                                    <a:pt x="213774" y="437566"/>
                                                                  </a:cubicBezTo>
                                                                  <a:cubicBezTo>
                                                                    <a:pt x="210522" y="438453"/>
                                                                    <a:pt x="207580" y="440639"/>
                                                                    <a:pt x="205360" y="443176"/>
                                                                  </a:cubicBezTo>
                                                                  <a:cubicBezTo>
                                                                    <a:pt x="200920" y="448250"/>
                                                                    <a:pt x="200536" y="457873"/>
                                                                    <a:pt x="194140" y="460005"/>
                                                                  </a:cubicBezTo>
                                                                  <a:lnTo>
                                                                    <a:pt x="185725" y="462810"/>
                                                                  </a:lnTo>
                                                                  <a:cubicBezTo>
                                                                    <a:pt x="180739" y="477767"/>
                                                                    <a:pt x="183036" y="479238"/>
                                                                    <a:pt x="171701" y="488054"/>
                                                                  </a:cubicBezTo>
                                                                  <a:cubicBezTo>
                                                                    <a:pt x="166379" y="492194"/>
                                                                    <a:pt x="154871" y="499274"/>
                                                                    <a:pt x="154871" y="499274"/>
                                                                  </a:cubicBezTo>
                                                                  <a:cubicBezTo>
                                                                    <a:pt x="153001" y="502079"/>
                                                                    <a:pt x="150769" y="504674"/>
                                                                    <a:pt x="149261" y="507689"/>
                                                                  </a:cubicBezTo>
                                                                  <a:cubicBezTo>
                                                                    <a:pt x="147939" y="510333"/>
                                                                    <a:pt x="148863" y="514385"/>
                                                                    <a:pt x="146457" y="516103"/>
                                                                  </a:cubicBezTo>
                                                                  <a:cubicBezTo>
                                                                    <a:pt x="141645" y="519540"/>
                                                                    <a:pt x="135237" y="519843"/>
                                                                    <a:pt x="129627" y="521713"/>
                                                                  </a:cubicBezTo>
                                                                  <a:cubicBezTo>
                                                                    <a:pt x="117664" y="525701"/>
                                                                    <a:pt x="117940" y="524051"/>
                                                                    <a:pt x="115603" y="524518"/>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48" name="Freeform 247"/>
                                                            <p:cNvSpPr/>
                                                            <p:nvPr/>
                                                          </p:nvSpPr>
                                                          <p:spPr>
                                                            <a:xfrm>
                                                              <a:off x="2989942" y="5615426"/>
                                                              <a:ext cx="216161" cy="412321"/>
                                                            </a:xfrm>
                                                            <a:custGeom>
                                                              <a:avLst/>
                                                              <a:gdLst>
                                                                <a:gd name="connsiteX0" fmla="*/ 14114 w 216161"/>
                                                                <a:gd name="connsiteY0" fmla="*/ 28049 h 412321"/>
                                                                <a:gd name="connsiteX1" fmla="*/ 14114 w 216161"/>
                                                                <a:gd name="connsiteY1" fmla="*/ 28049 h 412321"/>
                                                                <a:gd name="connsiteX2" fmla="*/ 30944 w 216161"/>
                                                                <a:gd name="connsiteY2" fmla="*/ 47683 h 412321"/>
                                                                <a:gd name="connsiteX3" fmla="*/ 39359 w 216161"/>
                                                                <a:gd name="connsiteY3" fmla="*/ 50488 h 412321"/>
                                                                <a:gd name="connsiteX4" fmla="*/ 56188 w 216161"/>
                                                                <a:gd name="connsiteY4" fmla="*/ 58903 h 412321"/>
                                                                <a:gd name="connsiteX5" fmla="*/ 87042 w 216161"/>
                                                                <a:gd name="connsiteY5" fmla="*/ 56098 h 412321"/>
                                                                <a:gd name="connsiteX6" fmla="*/ 103871 w 216161"/>
                                                                <a:gd name="connsiteY6" fmla="*/ 42073 h 412321"/>
                                                                <a:gd name="connsiteX7" fmla="*/ 120701 w 216161"/>
                                                                <a:gd name="connsiteY7" fmla="*/ 30854 h 412321"/>
                                                                <a:gd name="connsiteX8" fmla="*/ 129116 w 216161"/>
                                                                <a:gd name="connsiteY8" fmla="*/ 25244 h 412321"/>
                                                                <a:gd name="connsiteX9" fmla="*/ 140335 w 216161"/>
                                                                <a:gd name="connsiteY9" fmla="*/ 22439 h 412321"/>
                                                                <a:gd name="connsiteX10" fmla="*/ 154360 w 216161"/>
                                                                <a:gd name="connsiteY10" fmla="*/ 0 h 412321"/>
                                                                <a:gd name="connsiteX11" fmla="*/ 179604 w 216161"/>
                                                                <a:gd name="connsiteY11" fmla="*/ 16829 h 412321"/>
                                                                <a:gd name="connsiteX12" fmla="*/ 188019 w 216161"/>
                                                                <a:gd name="connsiteY12" fmla="*/ 22439 h 412321"/>
                                                                <a:gd name="connsiteX13" fmla="*/ 196433 w 216161"/>
                                                                <a:gd name="connsiteY13" fmla="*/ 28049 h 412321"/>
                                                                <a:gd name="connsiteX14" fmla="*/ 204848 w 216161"/>
                                                                <a:gd name="connsiteY14" fmla="*/ 30854 h 412321"/>
                                                                <a:gd name="connsiteX15" fmla="*/ 207653 w 216161"/>
                                                                <a:gd name="connsiteY15" fmla="*/ 44878 h 412321"/>
                                                                <a:gd name="connsiteX16" fmla="*/ 210458 w 216161"/>
                                                                <a:gd name="connsiteY16" fmla="*/ 70122 h 412321"/>
                                                                <a:gd name="connsiteX17" fmla="*/ 213263 w 216161"/>
                                                                <a:gd name="connsiteY17" fmla="*/ 86952 h 412321"/>
                                                                <a:gd name="connsiteX18" fmla="*/ 213263 w 216161"/>
                                                                <a:gd name="connsiteY18" fmla="*/ 154270 h 412321"/>
                                                                <a:gd name="connsiteX19" fmla="*/ 202043 w 216161"/>
                                                                <a:gd name="connsiteY19" fmla="*/ 171099 h 412321"/>
                                                                <a:gd name="connsiteX20" fmla="*/ 196433 w 216161"/>
                                                                <a:gd name="connsiteY20" fmla="*/ 187929 h 412321"/>
                                                                <a:gd name="connsiteX21" fmla="*/ 196433 w 216161"/>
                                                                <a:gd name="connsiteY21" fmla="*/ 241222 h 412321"/>
                                                                <a:gd name="connsiteX22" fmla="*/ 190824 w 216161"/>
                                                                <a:gd name="connsiteY22" fmla="*/ 258051 h 412321"/>
                                                                <a:gd name="connsiteX23" fmla="*/ 185214 w 216161"/>
                                                                <a:gd name="connsiteY23" fmla="*/ 277686 h 412321"/>
                                                                <a:gd name="connsiteX24" fmla="*/ 179604 w 216161"/>
                                                                <a:gd name="connsiteY24" fmla="*/ 297320 h 412321"/>
                                                                <a:gd name="connsiteX25" fmla="*/ 173994 w 216161"/>
                                                                <a:gd name="connsiteY25" fmla="*/ 345003 h 412321"/>
                                                                <a:gd name="connsiteX26" fmla="*/ 171189 w 216161"/>
                                                                <a:gd name="connsiteY26" fmla="*/ 356223 h 412321"/>
                                                                <a:gd name="connsiteX27" fmla="*/ 168384 w 216161"/>
                                                                <a:gd name="connsiteY27" fmla="*/ 370248 h 412321"/>
                                                                <a:gd name="connsiteX28" fmla="*/ 165579 w 216161"/>
                                                                <a:gd name="connsiteY28" fmla="*/ 378662 h 412321"/>
                                                                <a:gd name="connsiteX29" fmla="*/ 157165 w 216161"/>
                                                                <a:gd name="connsiteY29" fmla="*/ 384272 h 412321"/>
                                                                <a:gd name="connsiteX30" fmla="*/ 140335 w 216161"/>
                                                                <a:gd name="connsiteY30" fmla="*/ 381467 h 412321"/>
                                                                <a:gd name="connsiteX31" fmla="*/ 134725 w 216161"/>
                                                                <a:gd name="connsiteY31" fmla="*/ 373053 h 412321"/>
                                                                <a:gd name="connsiteX32" fmla="*/ 126311 w 216161"/>
                                                                <a:gd name="connsiteY32" fmla="*/ 364638 h 412321"/>
                                                                <a:gd name="connsiteX33" fmla="*/ 87042 w 216161"/>
                                                                <a:gd name="connsiteY33" fmla="*/ 367443 h 412321"/>
                                                                <a:gd name="connsiteX34" fmla="*/ 78627 w 216161"/>
                                                                <a:gd name="connsiteY34" fmla="*/ 392687 h 412321"/>
                                                                <a:gd name="connsiteX35" fmla="*/ 73018 w 216161"/>
                                                                <a:gd name="connsiteY35" fmla="*/ 401102 h 412321"/>
                                                                <a:gd name="connsiteX36" fmla="*/ 64603 w 216161"/>
                                                                <a:gd name="connsiteY36" fmla="*/ 403907 h 412321"/>
                                                                <a:gd name="connsiteX37" fmla="*/ 47773 w 216161"/>
                                                                <a:gd name="connsiteY37" fmla="*/ 412321 h 412321"/>
                                                                <a:gd name="connsiteX38" fmla="*/ 30944 w 216161"/>
                                                                <a:gd name="connsiteY38" fmla="*/ 401102 h 412321"/>
                                                                <a:gd name="connsiteX39" fmla="*/ 14114 w 216161"/>
                                                                <a:gd name="connsiteY39" fmla="*/ 389882 h 412321"/>
                                                                <a:gd name="connsiteX40" fmla="*/ 11310 w 216161"/>
                                                                <a:gd name="connsiteY40" fmla="*/ 381467 h 412321"/>
                                                                <a:gd name="connsiteX41" fmla="*/ 90 w 216161"/>
                                                                <a:gd name="connsiteY41" fmla="*/ 384272 h 412321"/>
                                                                <a:gd name="connsiteX42" fmla="*/ 5700 w 216161"/>
                                                                <a:gd name="connsiteY42" fmla="*/ 364638 h 412321"/>
                                                                <a:gd name="connsiteX43" fmla="*/ 2895 w 216161"/>
                                                                <a:gd name="connsiteY43" fmla="*/ 342199 h 412321"/>
                                                                <a:gd name="connsiteX44" fmla="*/ 11310 w 216161"/>
                                                                <a:gd name="connsiteY44" fmla="*/ 302930 h 412321"/>
                                                                <a:gd name="connsiteX45" fmla="*/ 16919 w 216161"/>
                                                                <a:gd name="connsiteY45" fmla="*/ 294515 h 412321"/>
                                                                <a:gd name="connsiteX46" fmla="*/ 28139 w 216161"/>
                                                                <a:gd name="connsiteY46" fmla="*/ 258051 h 412321"/>
                                                                <a:gd name="connsiteX47" fmla="*/ 36554 w 216161"/>
                                                                <a:gd name="connsiteY47" fmla="*/ 252441 h 412321"/>
                                                                <a:gd name="connsiteX48" fmla="*/ 33749 w 216161"/>
                                                                <a:gd name="connsiteY48" fmla="*/ 232807 h 412321"/>
                                                                <a:gd name="connsiteX49" fmla="*/ 22529 w 216161"/>
                                                                <a:gd name="connsiteY49" fmla="*/ 215978 h 412321"/>
                                                                <a:gd name="connsiteX50" fmla="*/ 36554 w 216161"/>
                                                                <a:gd name="connsiteY50" fmla="*/ 190734 h 412321"/>
                                                                <a:gd name="connsiteX51" fmla="*/ 36554 w 216161"/>
                                                                <a:gd name="connsiteY51" fmla="*/ 134635 h 412321"/>
                                                                <a:gd name="connsiteX52" fmla="*/ 22529 w 216161"/>
                                                                <a:gd name="connsiteY52" fmla="*/ 109391 h 412321"/>
                                                                <a:gd name="connsiteX53" fmla="*/ 14114 w 216161"/>
                                                                <a:gd name="connsiteY53" fmla="*/ 103781 h 412321"/>
                                                                <a:gd name="connsiteX54" fmla="*/ 2895 w 216161"/>
                                                                <a:gd name="connsiteY54" fmla="*/ 100976 h 412321"/>
                                                                <a:gd name="connsiteX55" fmla="*/ 8505 w 216161"/>
                                                                <a:gd name="connsiteY55" fmla="*/ 72927 h 412321"/>
                                                                <a:gd name="connsiteX56" fmla="*/ 14114 w 216161"/>
                                                                <a:gd name="connsiteY56" fmla="*/ 64513 h 412321"/>
                                                                <a:gd name="connsiteX57" fmla="*/ 14114 w 216161"/>
                                                                <a:gd name="connsiteY57" fmla="*/ 28049 h 41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6161" h="412321">
                                                                  <a:moveTo>
                                                                    <a:pt x="14114" y="28049"/>
                                                                  </a:moveTo>
                                                                  <a:lnTo>
                                                                    <a:pt x="14114" y="28049"/>
                                                                  </a:lnTo>
                                                                  <a:cubicBezTo>
                                                                    <a:pt x="19724" y="34594"/>
                                                                    <a:pt x="24501" y="41956"/>
                                                                    <a:pt x="30944" y="47683"/>
                                                                  </a:cubicBezTo>
                                                                  <a:cubicBezTo>
                                                                    <a:pt x="33154" y="49647"/>
                                                                    <a:pt x="36714" y="49166"/>
                                                                    <a:pt x="39359" y="50488"/>
                                                                  </a:cubicBezTo>
                                                                  <a:cubicBezTo>
                                                                    <a:pt x="61108" y="61363"/>
                                                                    <a:pt x="35036" y="51852"/>
                                                                    <a:pt x="56188" y="58903"/>
                                                                  </a:cubicBezTo>
                                                                  <a:cubicBezTo>
                                                                    <a:pt x="66473" y="57968"/>
                                                                    <a:pt x="76944" y="58262"/>
                                                                    <a:pt x="87042" y="56098"/>
                                                                  </a:cubicBezTo>
                                                                  <a:cubicBezTo>
                                                                    <a:pt x="92973" y="54827"/>
                                                                    <a:pt x="99879" y="45178"/>
                                                                    <a:pt x="103871" y="42073"/>
                                                                  </a:cubicBezTo>
                                                                  <a:cubicBezTo>
                                                                    <a:pt x="109193" y="37934"/>
                                                                    <a:pt x="115091" y="34594"/>
                                                                    <a:pt x="120701" y="30854"/>
                                                                  </a:cubicBezTo>
                                                                  <a:cubicBezTo>
                                                                    <a:pt x="123506" y="28984"/>
                                                                    <a:pt x="125845" y="26062"/>
                                                                    <a:pt x="129116" y="25244"/>
                                                                  </a:cubicBezTo>
                                                                  <a:lnTo>
                                                                    <a:pt x="140335" y="22439"/>
                                                                  </a:lnTo>
                                                                  <a:cubicBezTo>
                                                                    <a:pt x="147011" y="2412"/>
                                                                    <a:pt x="141025" y="8890"/>
                                                                    <a:pt x="154360" y="0"/>
                                                                  </a:cubicBezTo>
                                                                  <a:lnTo>
                                                                    <a:pt x="179604" y="16829"/>
                                                                  </a:lnTo>
                                                                  <a:lnTo>
                                                                    <a:pt x="188019" y="22439"/>
                                                                  </a:lnTo>
                                                                  <a:cubicBezTo>
                                                                    <a:pt x="190824" y="24309"/>
                                                                    <a:pt x="193235" y="26983"/>
                                                                    <a:pt x="196433" y="28049"/>
                                                                  </a:cubicBezTo>
                                                                  <a:lnTo>
                                                                    <a:pt x="204848" y="30854"/>
                                                                  </a:lnTo>
                                                                  <a:cubicBezTo>
                                                                    <a:pt x="205783" y="35529"/>
                                                                    <a:pt x="206979" y="40159"/>
                                                                    <a:pt x="207653" y="44878"/>
                                                                  </a:cubicBezTo>
                                                                  <a:cubicBezTo>
                                                                    <a:pt x="208850" y="53259"/>
                                                                    <a:pt x="209339" y="61730"/>
                                                                    <a:pt x="210458" y="70122"/>
                                                                  </a:cubicBezTo>
                                                                  <a:cubicBezTo>
                                                                    <a:pt x="211210" y="75759"/>
                                                                    <a:pt x="212328" y="81342"/>
                                                                    <a:pt x="213263" y="86952"/>
                                                                  </a:cubicBezTo>
                                                                  <a:cubicBezTo>
                                                                    <a:pt x="214722" y="105917"/>
                                                                    <a:pt x="218983" y="134823"/>
                                                                    <a:pt x="213263" y="154270"/>
                                                                  </a:cubicBezTo>
                                                                  <a:cubicBezTo>
                                                                    <a:pt x="211361" y="160738"/>
                                                                    <a:pt x="204175" y="164703"/>
                                                                    <a:pt x="202043" y="171099"/>
                                                                  </a:cubicBezTo>
                                                                  <a:lnTo>
                                                                    <a:pt x="196433" y="187929"/>
                                                                  </a:lnTo>
                                                                  <a:cubicBezTo>
                                                                    <a:pt x="199526" y="212670"/>
                                                                    <a:pt x="201281" y="213747"/>
                                                                    <a:pt x="196433" y="241222"/>
                                                                  </a:cubicBezTo>
                                                                  <a:cubicBezTo>
                                                                    <a:pt x="195405" y="247045"/>
                                                                    <a:pt x="192694" y="252441"/>
                                                                    <a:pt x="190824" y="258051"/>
                                                                  </a:cubicBezTo>
                                                                  <a:cubicBezTo>
                                                                    <a:pt x="184093" y="278244"/>
                                                                    <a:pt x="192265" y="253009"/>
                                                                    <a:pt x="185214" y="277686"/>
                                                                  </a:cubicBezTo>
                                                                  <a:cubicBezTo>
                                                                    <a:pt x="181648" y="290166"/>
                                                                    <a:pt x="182528" y="282699"/>
                                                                    <a:pt x="179604" y="297320"/>
                                                                  </a:cubicBezTo>
                                                                  <a:cubicBezTo>
                                                                    <a:pt x="174343" y="323626"/>
                                                                    <a:pt x="178691" y="309773"/>
                                                                    <a:pt x="173994" y="345003"/>
                                                                  </a:cubicBezTo>
                                                                  <a:cubicBezTo>
                                                                    <a:pt x="173484" y="348824"/>
                                                                    <a:pt x="172025" y="352460"/>
                                                                    <a:pt x="171189" y="356223"/>
                                                                  </a:cubicBezTo>
                                                                  <a:cubicBezTo>
                                                                    <a:pt x="170155" y="360877"/>
                                                                    <a:pt x="169540" y="365623"/>
                                                                    <a:pt x="168384" y="370248"/>
                                                                  </a:cubicBezTo>
                                                                  <a:cubicBezTo>
                                                                    <a:pt x="167667" y="373116"/>
                                                                    <a:pt x="167426" y="376353"/>
                                                                    <a:pt x="165579" y="378662"/>
                                                                  </a:cubicBezTo>
                                                                  <a:cubicBezTo>
                                                                    <a:pt x="163473" y="381294"/>
                                                                    <a:pt x="159970" y="382402"/>
                                                                    <a:pt x="157165" y="384272"/>
                                                                  </a:cubicBezTo>
                                                                  <a:cubicBezTo>
                                                                    <a:pt x="151555" y="383337"/>
                                                                    <a:pt x="145422" y="384010"/>
                                                                    <a:pt x="140335" y="381467"/>
                                                                  </a:cubicBezTo>
                                                                  <a:cubicBezTo>
                                                                    <a:pt x="137320" y="379960"/>
                                                                    <a:pt x="136883" y="375643"/>
                                                                    <a:pt x="134725" y="373053"/>
                                                                  </a:cubicBezTo>
                                                                  <a:cubicBezTo>
                                                                    <a:pt x="132186" y="370006"/>
                                                                    <a:pt x="129116" y="367443"/>
                                                                    <a:pt x="126311" y="364638"/>
                                                                  </a:cubicBezTo>
                                                                  <a:cubicBezTo>
                                                                    <a:pt x="113221" y="365573"/>
                                                                    <a:pt x="99065" y="362183"/>
                                                                    <a:pt x="87042" y="367443"/>
                                                                  </a:cubicBezTo>
                                                                  <a:cubicBezTo>
                                                                    <a:pt x="83084" y="369175"/>
                                                                    <a:pt x="82008" y="387614"/>
                                                                    <a:pt x="78627" y="392687"/>
                                                                  </a:cubicBezTo>
                                                                  <a:cubicBezTo>
                                                                    <a:pt x="76757" y="395492"/>
                                                                    <a:pt x="75650" y="398996"/>
                                                                    <a:pt x="73018" y="401102"/>
                                                                  </a:cubicBezTo>
                                                                  <a:cubicBezTo>
                                                                    <a:pt x="70709" y="402949"/>
                                                                    <a:pt x="67248" y="402585"/>
                                                                    <a:pt x="64603" y="403907"/>
                                                                  </a:cubicBezTo>
                                                                  <a:cubicBezTo>
                                                                    <a:pt x="42852" y="414781"/>
                                                                    <a:pt x="68925" y="405270"/>
                                                                    <a:pt x="47773" y="412321"/>
                                                                  </a:cubicBezTo>
                                                                  <a:cubicBezTo>
                                                                    <a:pt x="31682" y="406957"/>
                                                                    <a:pt x="46701" y="413357"/>
                                                                    <a:pt x="30944" y="401102"/>
                                                                  </a:cubicBezTo>
                                                                  <a:cubicBezTo>
                                                                    <a:pt x="25622" y="396963"/>
                                                                    <a:pt x="14114" y="389882"/>
                                                                    <a:pt x="14114" y="389882"/>
                                                                  </a:cubicBezTo>
                                                                  <a:cubicBezTo>
                                                                    <a:pt x="13179" y="387077"/>
                                                                    <a:pt x="14055" y="382565"/>
                                                                    <a:pt x="11310" y="381467"/>
                                                                  </a:cubicBezTo>
                                                                  <a:cubicBezTo>
                                                                    <a:pt x="7731" y="380035"/>
                                                                    <a:pt x="2816" y="386998"/>
                                                                    <a:pt x="90" y="384272"/>
                                                                  </a:cubicBezTo>
                                                                  <a:cubicBezTo>
                                                                    <a:pt x="-790" y="383392"/>
                                                                    <a:pt x="5053" y="366580"/>
                                                                    <a:pt x="5700" y="364638"/>
                                                                  </a:cubicBezTo>
                                                                  <a:cubicBezTo>
                                                                    <a:pt x="4765" y="357158"/>
                                                                    <a:pt x="2895" y="349737"/>
                                                                    <a:pt x="2895" y="342199"/>
                                                                  </a:cubicBezTo>
                                                                  <a:cubicBezTo>
                                                                    <a:pt x="2895" y="334482"/>
                                                                    <a:pt x="6092" y="310759"/>
                                                                    <a:pt x="11310" y="302930"/>
                                                                  </a:cubicBezTo>
                                                                  <a:lnTo>
                                                                    <a:pt x="16919" y="294515"/>
                                                                  </a:lnTo>
                                                                  <a:cubicBezTo>
                                                                    <a:pt x="19337" y="282427"/>
                                                                    <a:pt x="18602" y="267588"/>
                                                                    <a:pt x="28139" y="258051"/>
                                                                  </a:cubicBezTo>
                                                                  <a:cubicBezTo>
                                                                    <a:pt x="30523" y="255667"/>
                                                                    <a:pt x="33749" y="254311"/>
                                                                    <a:pt x="36554" y="252441"/>
                                                                  </a:cubicBezTo>
                                                                  <a:cubicBezTo>
                                                                    <a:pt x="35619" y="245896"/>
                                                                    <a:pt x="36122" y="238977"/>
                                                                    <a:pt x="33749" y="232807"/>
                                                                  </a:cubicBezTo>
                                                                  <a:cubicBezTo>
                                                                    <a:pt x="31329" y="226514"/>
                                                                    <a:pt x="22529" y="215978"/>
                                                                    <a:pt x="22529" y="215978"/>
                                                                  </a:cubicBezTo>
                                                                  <a:cubicBezTo>
                                                                    <a:pt x="29393" y="195385"/>
                                                                    <a:pt x="23957" y="203329"/>
                                                                    <a:pt x="36554" y="190734"/>
                                                                  </a:cubicBezTo>
                                                                  <a:cubicBezTo>
                                                                    <a:pt x="43910" y="168666"/>
                                                                    <a:pt x="42139" y="177452"/>
                                                                    <a:pt x="36554" y="134635"/>
                                                                  </a:cubicBezTo>
                                                                  <a:cubicBezTo>
                                                                    <a:pt x="34836" y="121460"/>
                                                                    <a:pt x="31673" y="117011"/>
                                                                    <a:pt x="22529" y="109391"/>
                                                                  </a:cubicBezTo>
                                                                  <a:cubicBezTo>
                                                                    <a:pt x="19939" y="107233"/>
                                                                    <a:pt x="17213" y="105109"/>
                                                                    <a:pt x="14114" y="103781"/>
                                                                  </a:cubicBezTo>
                                                                  <a:cubicBezTo>
                                                                    <a:pt x="10571" y="102262"/>
                                                                    <a:pt x="6635" y="101911"/>
                                                                    <a:pt x="2895" y="100976"/>
                                                                  </a:cubicBezTo>
                                                                  <a:cubicBezTo>
                                                                    <a:pt x="3929" y="93739"/>
                                                                    <a:pt x="4588" y="80761"/>
                                                                    <a:pt x="8505" y="72927"/>
                                                                  </a:cubicBezTo>
                                                                  <a:cubicBezTo>
                                                                    <a:pt x="10012" y="69912"/>
                                                                    <a:pt x="12745" y="67593"/>
                                                                    <a:pt x="14114" y="64513"/>
                                                                  </a:cubicBezTo>
                                                                  <a:cubicBezTo>
                                                                    <a:pt x="16516" y="59109"/>
                                                                    <a:pt x="14114" y="34126"/>
                                                                    <a:pt x="14114" y="28049"/>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6" name="Freeform 245"/>
                                                          <p:cNvSpPr/>
                                                          <p:nvPr/>
                                                        </p:nvSpPr>
                                                        <p:spPr>
                                                          <a:xfrm>
                                                            <a:off x="3539295" y="6226896"/>
                                                            <a:ext cx="446479" cy="294515"/>
                                                          </a:xfrm>
                                                          <a:custGeom>
                                                            <a:avLst/>
                                                            <a:gdLst>
                                                              <a:gd name="connsiteX0" fmla="*/ 48182 w 446479"/>
                                                              <a:gd name="connsiteY0" fmla="*/ 0 h 294515"/>
                                                              <a:gd name="connsiteX1" fmla="*/ 48182 w 446479"/>
                                                              <a:gd name="connsiteY1" fmla="*/ 0 h 294515"/>
                                                              <a:gd name="connsiteX2" fmla="*/ 56597 w 446479"/>
                                                              <a:gd name="connsiteY2" fmla="*/ 22439 h 294515"/>
                                                              <a:gd name="connsiteX3" fmla="*/ 65012 w 446479"/>
                                                              <a:gd name="connsiteY3" fmla="*/ 25244 h 294515"/>
                                                              <a:gd name="connsiteX4" fmla="*/ 81841 w 446479"/>
                                                              <a:gd name="connsiteY4" fmla="*/ 28049 h 294515"/>
                                                              <a:gd name="connsiteX5" fmla="*/ 98671 w 446479"/>
                                                              <a:gd name="connsiteY5" fmla="*/ 16829 h 294515"/>
                                                              <a:gd name="connsiteX6" fmla="*/ 115500 w 446479"/>
                                                              <a:gd name="connsiteY6" fmla="*/ 5610 h 294515"/>
                                                              <a:gd name="connsiteX7" fmla="*/ 140744 w 446479"/>
                                                              <a:gd name="connsiteY7" fmla="*/ 8414 h 294515"/>
                                                              <a:gd name="connsiteX8" fmla="*/ 157574 w 446479"/>
                                                              <a:gd name="connsiteY8" fmla="*/ 25244 h 294515"/>
                                                              <a:gd name="connsiteX9" fmla="*/ 174403 w 446479"/>
                                                              <a:gd name="connsiteY9" fmla="*/ 33659 h 294515"/>
                                                              <a:gd name="connsiteX10" fmla="*/ 182818 w 446479"/>
                                                              <a:gd name="connsiteY10" fmla="*/ 36464 h 294515"/>
                                                              <a:gd name="connsiteX11" fmla="*/ 188428 w 446479"/>
                                                              <a:gd name="connsiteY11" fmla="*/ 44878 h 294515"/>
                                                              <a:gd name="connsiteX12" fmla="*/ 219282 w 446479"/>
                                                              <a:gd name="connsiteY12" fmla="*/ 47683 h 294515"/>
                                                              <a:gd name="connsiteX13" fmla="*/ 300624 w 446479"/>
                                                              <a:gd name="connsiteY13" fmla="*/ 44878 h 294515"/>
                                                              <a:gd name="connsiteX14" fmla="*/ 309039 w 446479"/>
                                                              <a:gd name="connsiteY14" fmla="*/ 39268 h 294515"/>
                                                              <a:gd name="connsiteX15" fmla="*/ 317453 w 446479"/>
                                                              <a:gd name="connsiteY15" fmla="*/ 30854 h 294515"/>
                                                              <a:gd name="connsiteX16" fmla="*/ 325868 w 446479"/>
                                                              <a:gd name="connsiteY16" fmla="*/ 28049 h 294515"/>
                                                              <a:gd name="connsiteX17" fmla="*/ 345503 w 446479"/>
                                                              <a:gd name="connsiteY17" fmla="*/ 30854 h 294515"/>
                                                              <a:gd name="connsiteX18" fmla="*/ 362332 w 446479"/>
                                                              <a:gd name="connsiteY18" fmla="*/ 36464 h 294515"/>
                                                              <a:gd name="connsiteX19" fmla="*/ 390381 w 446479"/>
                                                              <a:gd name="connsiteY19" fmla="*/ 30854 h 294515"/>
                                                              <a:gd name="connsiteX20" fmla="*/ 407211 w 446479"/>
                                                              <a:gd name="connsiteY20" fmla="*/ 19634 h 294515"/>
                                                              <a:gd name="connsiteX21" fmla="*/ 415625 w 446479"/>
                                                              <a:gd name="connsiteY21" fmla="*/ 22439 h 294515"/>
                                                              <a:gd name="connsiteX22" fmla="*/ 443674 w 446479"/>
                                                              <a:gd name="connsiteY22" fmla="*/ 16829 h 294515"/>
                                                              <a:gd name="connsiteX23" fmla="*/ 446479 w 446479"/>
                                                              <a:gd name="connsiteY23" fmla="*/ 25244 h 294515"/>
                                                              <a:gd name="connsiteX24" fmla="*/ 432455 w 446479"/>
                                                              <a:gd name="connsiteY24" fmla="*/ 53293 h 294515"/>
                                                              <a:gd name="connsiteX25" fmla="*/ 424040 w 446479"/>
                                                              <a:gd name="connsiteY25" fmla="*/ 58903 h 294515"/>
                                                              <a:gd name="connsiteX26" fmla="*/ 412820 w 446479"/>
                                                              <a:gd name="connsiteY26" fmla="*/ 75732 h 294515"/>
                                                              <a:gd name="connsiteX27" fmla="*/ 404406 w 446479"/>
                                                              <a:gd name="connsiteY27" fmla="*/ 100976 h 294515"/>
                                                              <a:gd name="connsiteX28" fmla="*/ 401601 w 446479"/>
                                                              <a:gd name="connsiteY28" fmla="*/ 109391 h 294515"/>
                                                              <a:gd name="connsiteX29" fmla="*/ 395991 w 446479"/>
                                                              <a:gd name="connsiteY29" fmla="*/ 117806 h 294515"/>
                                                              <a:gd name="connsiteX30" fmla="*/ 381966 w 446479"/>
                                                              <a:gd name="connsiteY30" fmla="*/ 143050 h 294515"/>
                                                              <a:gd name="connsiteX31" fmla="*/ 373552 w 446479"/>
                                                              <a:gd name="connsiteY31" fmla="*/ 148660 h 294515"/>
                                                              <a:gd name="connsiteX32" fmla="*/ 373552 w 446479"/>
                                                              <a:gd name="connsiteY32" fmla="*/ 173904 h 294515"/>
                                                              <a:gd name="connsiteX33" fmla="*/ 381966 w 446479"/>
                                                              <a:gd name="connsiteY33" fmla="*/ 179514 h 294515"/>
                                                              <a:gd name="connsiteX34" fmla="*/ 390381 w 446479"/>
                                                              <a:gd name="connsiteY34" fmla="*/ 196343 h 294515"/>
                                                              <a:gd name="connsiteX35" fmla="*/ 384771 w 446479"/>
                                                              <a:gd name="connsiteY35" fmla="*/ 204758 h 294515"/>
                                                              <a:gd name="connsiteX36" fmla="*/ 387576 w 446479"/>
                                                              <a:gd name="connsiteY36" fmla="*/ 215978 h 294515"/>
                                                              <a:gd name="connsiteX37" fmla="*/ 395991 w 446479"/>
                                                              <a:gd name="connsiteY37" fmla="*/ 224392 h 294515"/>
                                                              <a:gd name="connsiteX38" fmla="*/ 404406 w 446479"/>
                                                              <a:gd name="connsiteY38" fmla="*/ 241222 h 294515"/>
                                                              <a:gd name="connsiteX39" fmla="*/ 379161 w 446479"/>
                                                              <a:gd name="connsiteY39" fmla="*/ 255246 h 294515"/>
                                                              <a:gd name="connsiteX40" fmla="*/ 373552 w 446479"/>
                                                              <a:gd name="connsiteY40" fmla="*/ 274881 h 294515"/>
                                                              <a:gd name="connsiteX41" fmla="*/ 370747 w 446479"/>
                                                              <a:gd name="connsiteY41" fmla="*/ 288905 h 294515"/>
                                                              <a:gd name="connsiteX42" fmla="*/ 362332 w 446479"/>
                                                              <a:gd name="connsiteY42" fmla="*/ 294515 h 294515"/>
                                                              <a:gd name="connsiteX43" fmla="*/ 348307 w 446479"/>
                                                              <a:gd name="connsiteY43" fmla="*/ 291710 h 294515"/>
                                                              <a:gd name="connsiteX44" fmla="*/ 331478 w 446479"/>
                                                              <a:gd name="connsiteY44" fmla="*/ 286100 h 294515"/>
                                                              <a:gd name="connsiteX45" fmla="*/ 300624 w 446479"/>
                                                              <a:gd name="connsiteY45" fmla="*/ 283295 h 294515"/>
                                                              <a:gd name="connsiteX46" fmla="*/ 280990 w 446479"/>
                                                              <a:gd name="connsiteY46" fmla="*/ 260856 h 294515"/>
                                                              <a:gd name="connsiteX47" fmla="*/ 278185 w 446479"/>
                                                              <a:gd name="connsiteY47" fmla="*/ 252441 h 294515"/>
                                                              <a:gd name="connsiteX48" fmla="*/ 264160 w 446479"/>
                                                              <a:gd name="connsiteY48" fmla="*/ 235612 h 294515"/>
                                                              <a:gd name="connsiteX49" fmla="*/ 247331 w 446479"/>
                                                              <a:gd name="connsiteY49" fmla="*/ 224392 h 294515"/>
                                                              <a:gd name="connsiteX50" fmla="*/ 241721 w 446479"/>
                                                              <a:gd name="connsiteY50" fmla="*/ 215978 h 294515"/>
                                                              <a:gd name="connsiteX51" fmla="*/ 224892 w 446479"/>
                                                              <a:gd name="connsiteY51" fmla="*/ 210368 h 294515"/>
                                                              <a:gd name="connsiteX52" fmla="*/ 185623 w 446479"/>
                                                              <a:gd name="connsiteY52" fmla="*/ 204758 h 294515"/>
                                                              <a:gd name="connsiteX53" fmla="*/ 168793 w 446479"/>
                                                              <a:gd name="connsiteY53" fmla="*/ 187929 h 294515"/>
                                                              <a:gd name="connsiteX54" fmla="*/ 163184 w 446479"/>
                                                              <a:gd name="connsiteY54" fmla="*/ 179514 h 294515"/>
                                                              <a:gd name="connsiteX55" fmla="*/ 137939 w 446479"/>
                                                              <a:gd name="connsiteY55" fmla="*/ 165489 h 294515"/>
                                                              <a:gd name="connsiteX56" fmla="*/ 129525 w 446479"/>
                                                              <a:gd name="connsiteY56" fmla="*/ 159879 h 294515"/>
                                                              <a:gd name="connsiteX57" fmla="*/ 112695 w 446479"/>
                                                              <a:gd name="connsiteY57" fmla="*/ 154270 h 294515"/>
                                                              <a:gd name="connsiteX58" fmla="*/ 95866 w 446479"/>
                                                              <a:gd name="connsiteY58" fmla="*/ 145855 h 294515"/>
                                                              <a:gd name="connsiteX59" fmla="*/ 81841 w 446479"/>
                                                              <a:gd name="connsiteY59" fmla="*/ 129025 h 294515"/>
                                                              <a:gd name="connsiteX60" fmla="*/ 73426 w 446479"/>
                                                              <a:gd name="connsiteY60" fmla="*/ 126221 h 294515"/>
                                                              <a:gd name="connsiteX61" fmla="*/ 65012 w 446479"/>
                                                              <a:gd name="connsiteY61" fmla="*/ 120611 h 294515"/>
                                                              <a:gd name="connsiteX62" fmla="*/ 48182 w 446479"/>
                                                              <a:gd name="connsiteY62" fmla="*/ 115001 h 294515"/>
                                                              <a:gd name="connsiteX63" fmla="*/ 31353 w 446479"/>
                                                              <a:gd name="connsiteY63" fmla="*/ 103781 h 294515"/>
                                                              <a:gd name="connsiteX64" fmla="*/ 14523 w 446479"/>
                                                              <a:gd name="connsiteY64" fmla="*/ 95367 h 294515"/>
                                                              <a:gd name="connsiteX65" fmla="*/ 8914 w 446479"/>
                                                              <a:gd name="connsiteY65" fmla="*/ 86952 h 294515"/>
                                                              <a:gd name="connsiteX66" fmla="*/ 499 w 446479"/>
                                                              <a:gd name="connsiteY66" fmla="*/ 78537 h 294515"/>
                                                              <a:gd name="connsiteX67" fmla="*/ 8914 w 446479"/>
                                                              <a:gd name="connsiteY67" fmla="*/ 39268 h 294515"/>
                                                              <a:gd name="connsiteX68" fmla="*/ 17328 w 446479"/>
                                                              <a:gd name="connsiteY68" fmla="*/ 36464 h 294515"/>
                                                              <a:gd name="connsiteX69" fmla="*/ 36963 w 446479"/>
                                                              <a:gd name="connsiteY69" fmla="*/ 16829 h 294515"/>
                                                              <a:gd name="connsiteX70" fmla="*/ 48182 w 446479"/>
                                                              <a:gd name="connsiteY70" fmla="*/ 0 h 29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6479" h="294515">
                                                                <a:moveTo>
                                                                  <a:pt x="48182" y="0"/>
                                                                </a:moveTo>
                                                                <a:lnTo>
                                                                  <a:pt x="48182" y="0"/>
                                                                </a:lnTo>
                                                                <a:cubicBezTo>
                                                                  <a:pt x="50987" y="7480"/>
                                                                  <a:pt x="52166" y="15792"/>
                                                                  <a:pt x="56597" y="22439"/>
                                                                </a:cubicBezTo>
                                                                <a:cubicBezTo>
                                                                  <a:pt x="58237" y="24899"/>
                                                                  <a:pt x="62126" y="24603"/>
                                                                  <a:pt x="65012" y="25244"/>
                                                                </a:cubicBezTo>
                                                                <a:cubicBezTo>
                                                                  <a:pt x="70564" y="26478"/>
                                                                  <a:pt x="76231" y="27114"/>
                                                                  <a:pt x="81841" y="28049"/>
                                                                </a:cubicBezTo>
                                                                <a:cubicBezTo>
                                                                  <a:pt x="105192" y="22211"/>
                                                                  <a:pt x="83174" y="30389"/>
                                                                  <a:pt x="98671" y="16829"/>
                                                                </a:cubicBezTo>
                                                                <a:cubicBezTo>
                                                                  <a:pt x="103745" y="12389"/>
                                                                  <a:pt x="115500" y="5610"/>
                                                                  <a:pt x="115500" y="5610"/>
                                                                </a:cubicBezTo>
                                                                <a:cubicBezTo>
                                                                  <a:pt x="123915" y="6545"/>
                                                                  <a:pt x="133072" y="4834"/>
                                                                  <a:pt x="140744" y="8414"/>
                                                                </a:cubicBezTo>
                                                                <a:cubicBezTo>
                                                                  <a:pt x="147933" y="11769"/>
                                                                  <a:pt x="150047" y="22735"/>
                                                                  <a:pt x="157574" y="25244"/>
                                                                </a:cubicBezTo>
                                                                <a:cubicBezTo>
                                                                  <a:pt x="178725" y="32295"/>
                                                                  <a:pt x="152651" y="22783"/>
                                                                  <a:pt x="174403" y="33659"/>
                                                                </a:cubicBezTo>
                                                                <a:cubicBezTo>
                                                                  <a:pt x="177048" y="34981"/>
                                                                  <a:pt x="180013" y="35529"/>
                                                                  <a:pt x="182818" y="36464"/>
                                                                </a:cubicBezTo>
                                                                <a:cubicBezTo>
                                                                  <a:pt x="184688" y="39269"/>
                                                                  <a:pt x="186044" y="42494"/>
                                                                  <a:pt x="188428" y="44878"/>
                                                                </a:cubicBezTo>
                                                                <a:cubicBezTo>
                                                                  <a:pt x="199247" y="55697"/>
                                                                  <a:pt x="202145" y="48609"/>
                                                                  <a:pt x="219282" y="47683"/>
                                                                </a:cubicBezTo>
                                                                <a:cubicBezTo>
                                                                  <a:pt x="246373" y="46219"/>
                                                                  <a:pt x="273510" y="45813"/>
                                                                  <a:pt x="300624" y="44878"/>
                                                                </a:cubicBezTo>
                                                                <a:cubicBezTo>
                                                                  <a:pt x="303429" y="43008"/>
                                                                  <a:pt x="306449" y="41426"/>
                                                                  <a:pt x="309039" y="39268"/>
                                                                </a:cubicBezTo>
                                                                <a:cubicBezTo>
                                                                  <a:pt x="312086" y="36729"/>
                                                                  <a:pt x="314153" y="33054"/>
                                                                  <a:pt x="317453" y="30854"/>
                                                                </a:cubicBezTo>
                                                                <a:cubicBezTo>
                                                                  <a:pt x="319913" y="29214"/>
                                                                  <a:pt x="323063" y="28984"/>
                                                                  <a:pt x="325868" y="28049"/>
                                                                </a:cubicBezTo>
                                                                <a:cubicBezTo>
                                                                  <a:pt x="332413" y="28984"/>
                                                                  <a:pt x="339061" y="29367"/>
                                                                  <a:pt x="345503" y="30854"/>
                                                                </a:cubicBezTo>
                                                                <a:cubicBezTo>
                                                                  <a:pt x="351265" y="32184"/>
                                                                  <a:pt x="362332" y="36464"/>
                                                                  <a:pt x="362332" y="36464"/>
                                                                </a:cubicBezTo>
                                                                <a:cubicBezTo>
                                                                  <a:pt x="367210" y="35767"/>
                                                                  <a:pt x="383603" y="34620"/>
                                                                  <a:pt x="390381" y="30854"/>
                                                                </a:cubicBezTo>
                                                                <a:cubicBezTo>
                                                                  <a:pt x="396275" y="27580"/>
                                                                  <a:pt x="407211" y="19634"/>
                                                                  <a:pt x="407211" y="19634"/>
                                                                </a:cubicBezTo>
                                                                <a:cubicBezTo>
                                                                  <a:pt x="410016" y="20569"/>
                                                                  <a:pt x="412669" y="22439"/>
                                                                  <a:pt x="415625" y="22439"/>
                                                                </a:cubicBezTo>
                                                                <a:cubicBezTo>
                                                                  <a:pt x="428519" y="22439"/>
                                                                  <a:pt x="433311" y="20284"/>
                                                                  <a:pt x="443674" y="16829"/>
                                                                </a:cubicBezTo>
                                                                <a:cubicBezTo>
                                                                  <a:pt x="444609" y="19634"/>
                                                                  <a:pt x="446479" y="22287"/>
                                                                  <a:pt x="446479" y="25244"/>
                                                                </a:cubicBezTo>
                                                                <a:cubicBezTo>
                                                                  <a:pt x="446479" y="33679"/>
                                                                  <a:pt x="438047" y="49565"/>
                                                                  <a:pt x="432455" y="53293"/>
                                                                </a:cubicBezTo>
                                                                <a:lnTo>
                                                                  <a:pt x="424040" y="58903"/>
                                                                </a:lnTo>
                                                                <a:cubicBezTo>
                                                                  <a:pt x="420300" y="64513"/>
                                                                  <a:pt x="414952" y="69336"/>
                                                                  <a:pt x="412820" y="75732"/>
                                                                </a:cubicBezTo>
                                                                <a:lnTo>
                                                                  <a:pt x="404406" y="100976"/>
                                                                </a:lnTo>
                                                                <a:cubicBezTo>
                                                                  <a:pt x="403471" y="103781"/>
                                                                  <a:pt x="403241" y="106931"/>
                                                                  <a:pt x="401601" y="109391"/>
                                                                </a:cubicBezTo>
                                                                <a:cubicBezTo>
                                                                  <a:pt x="399731" y="112196"/>
                                                                  <a:pt x="397360" y="114725"/>
                                                                  <a:pt x="395991" y="117806"/>
                                                                </a:cubicBezTo>
                                                                <a:cubicBezTo>
                                                                  <a:pt x="387701" y="136458"/>
                                                                  <a:pt x="395519" y="131756"/>
                                                                  <a:pt x="381966" y="143050"/>
                                                                </a:cubicBezTo>
                                                                <a:cubicBezTo>
                                                                  <a:pt x="379376" y="145208"/>
                                                                  <a:pt x="376357" y="146790"/>
                                                                  <a:pt x="373552" y="148660"/>
                                                                </a:cubicBezTo>
                                                                <a:cubicBezTo>
                                                                  <a:pt x="370317" y="158364"/>
                                                                  <a:pt x="367628" y="162056"/>
                                                                  <a:pt x="373552" y="173904"/>
                                                                </a:cubicBezTo>
                                                                <a:cubicBezTo>
                                                                  <a:pt x="375059" y="176919"/>
                                                                  <a:pt x="379161" y="177644"/>
                                                                  <a:pt x="381966" y="179514"/>
                                                                </a:cubicBezTo>
                                                                <a:cubicBezTo>
                                                                  <a:pt x="383919" y="182443"/>
                                                                  <a:pt x="391155" y="191699"/>
                                                                  <a:pt x="390381" y="196343"/>
                                                                </a:cubicBezTo>
                                                                <a:cubicBezTo>
                                                                  <a:pt x="389827" y="199668"/>
                                                                  <a:pt x="386641" y="201953"/>
                                                                  <a:pt x="384771" y="204758"/>
                                                                </a:cubicBezTo>
                                                                <a:cubicBezTo>
                                                                  <a:pt x="385706" y="208498"/>
                                                                  <a:pt x="385663" y="212631"/>
                                                                  <a:pt x="387576" y="215978"/>
                                                                </a:cubicBezTo>
                                                                <a:cubicBezTo>
                                                                  <a:pt x="389544" y="219422"/>
                                                                  <a:pt x="393452" y="221345"/>
                                                                  <a:pt x="395991" y="224392"/>
                                                                </a:cubicBezTo>
                                                                <a:cubicBezTo>
                                                                  <a:pt x="402033" y="231641"/>
                                                                  <a:pt x="401595" y="232789"/>
                                                                  <a:pt x="404406" y="241222"/>
                                                                </a:cubicBezTo>
                                                                <a:cubicBezTo>
                                                                  <a:pt x="385116" y="254081"/>
                                                                  <a:pt x="393972" y="250309"/>
                                                                  <a:pt x="379161" y="255246"/>
                                                                </a:cubicBezTo>
                                                                <a:cubicBezTo>
                                                                  <a:pt x="376039" y="264615"/>
                                                                  <a:pt x="375899" y="264318"/>
                                                                  <a:pt x="373552" y="274881"/>
                                                                </a:cubicBezTo>
                                                                <a:cubicBezTo>
                                                                  <a:pt x="372518" y="279535"/>
                                                                  <a:pt x="373112" y="284766"/>
                                                                  <a:pt x="370747" y="288905"/>
                                                                </a:cubicBezTo>
                                                                <a:cubicBezTo>
                                                                  <a:pt x="369074" y="291832"/>
                                                                  <a:pt x="365137" y="292645"/>
                                                                  <a:pt x="362332" y="294515"/>
                                                                </a:cubicBezTo>
                                                                <a:cubicBezTo>
                                                                  <a:pt x="357657" y="293580"/>
                                                                  <a:pt x="352907" y="292964"/>
                                                                  <a:pt x="348307" y="291710"/>
                                                                </a:cubicBezTo>
                                                                <a:cubicBezTo>
                                                                  <a:pt x="342602" y="290154"/>
                                                                  <a:pt x="337367" y="286635"/>
                                                                  <a:pt x="331478" y="286100"/>
                                                                </a:cubicBezTo>
                                                                <a:lnTo>
                                                                  <a:pt x="300624" y="283295"/>
                                                                </a:lnTo>
                                                                <a:cubicBezTo>
                                                                  <a:pt x="287534" y="263661"/>
                                                                  <a:pt x="295014" y="270206"/>
                                                                  <a:pt x="280990" y="260856"/>
                                                                </a:cubicBezTo>
                                                                <a:cubicBezTo>
                                                                  <a:pt x="280055" y="258051"/>
                                                                  <a:pt x="279507" y="255086"/>
                                                                  <a:pt x="278185" y="252441"/>
                                                                </a:cubicBezTo>
                                                                <a:cubicBezTo>
                                                                  <a:pt x="275239" y="246549"/>
                                                                  <a:pt x="269234" y="239559"/>
                                                                  <a:pt x="264160" y="235612"/>
                                                                </a:cubicBezTo>
                                                                <a:cubicBezTo>
                                                                  <a:pt x="258838" y="231473"/>
                                                                  <a:pt x="247331" y="224392"/>
                                                                  <a:pt x="247331" y="224392"/>
                                                                </a:cubicBezTo>
                                                                <a:cubicBezTo>
                                                                  <a:pt x="245461" y="221587"/>
                                                                  <a:pt x="244580" y="217765"/>
                                                                  <a:pt x="241721" y="215978"/>
                                                                </a:cubicBezTo>
                                                                <a:cubicBezTo>
                                                                  <a:pt x="236707" y="212844"/>
                                                                  <a:pt x="230502" y="212238"/>
                                                                  <a:pt x="224892" y="210368"/>
                                                                </a:cubicBezTo>
                                                                <a:cubicBezTo>
                                                                  <a:pt x="206681" y="204297"/>
                                                                  <a:pt x="219418" y="207830"/>
                                                                  <a:pt x="185623" y="204758"/>
                                                                </a:cubicBezTo>
                                                                <a:cubicBezTo>
                                                                  <a:pt x="180013" y="199148"/>
                                                                  <a:pt x="173193" y="194530"/>
                                                                  <a:pt x="168793" y="187929"/>
                                                                </a:cubicBezTo>
                                                                <a:cubicBezTo>
                                                                  <a:pt x="166923" y="185124"/>
                                                                  <a:pt x="165721" y="181734"/>
                                                                  <a:pt x="163184" y="179514"/>
                                                                </a:cubicBezTo>
                                                                <a:cubicBezTo>
                                                                  <a:pt x="151314" y="169127"/>
                                                                  <a:pt x="149496" y="169341"/>
                                                                  <a:pt x="137939" y="165489"/>
                                                                </a:cubicBezTo>
                                                                <a:cubicBezTo>
                                                                  <a:pt x="135134" y="163619"/>
                                                                  <a:pt x="132605" y="161248"/>
                                                                  <a:pt x="129525" y="159879"/>
                                                                </a:cubicBezTo>
                                                                <a:cubicBezTo>
                                                                  <a:pt x="124121" y="157477"/>
                                                                  <a:pt x="117615" y="157550"/>
                                                                  <a:pt x="112695" y="154270"/>
                                                                </a:cubicBezTo>
                                                                <a:cubicBezTo>
                                                                  <a:pt x="101820" y="147020"/>
                                                                  <a:pt x="107478" y="149726"/>
                                                                  <a:pt x="95866" y="145855"/>
                                                                </a:cubicBezTo>
                                                                <a:cubicBezTo>
                                                                  <a:pt x="91727" y="139646"/>
                                                                  <a:pt x="88320" y="133344"/>
                                                                  <a:pt x="81841" y="129025"/>
                                                                </a:cubicBezTo>
                                                                <a:cubicBezTo>
                                                                  <a:pt x="79381" y="127385"/>
                                                                  <a:pt x="76231" y="127156"/>
                                                                  <a:pt x="73426" y="126221"/>
                                                                </a:cubicBezTo>
                                                                <a:cubicBezTo>
                                                                  <a:pt x="70621" y="124351"/>
                                                                  <a:pt x="68092" y="121980"/>
                                                                  <a:pt x="65012" y="120611"/>
                                                                </a:cubicBezTo>
                                                                <a:cubicBezTo>
                                                                  <a:pt x="59608" y="118209"/>
                                                                  <a:pt x="48182" y="115001"/>
                                                                  <a:pt x="48182" y="115001"/>
                                                                </a:cubicBezTo>
                                                                <a:cubicBezTo>
                                                                  <a:pt x="42572" y="111261"/>
                                                                  <a:pt x="37749" y="105913"/>
                                                                  <a:pt x="31353" y="103781"/>
                                                                </a:cubicBezTo>
                                                                <a:cubicBezTo>
                                                                  <a:pt x="19740" y="99910"/>
                                                                  <a:pt x="25398" y="102616"/>
                                                                  <a:pt x="14523" y="95367"/>
                                                                </a:cubicBezTo>
                                                                <a:cubicBezTo>
                                                                  <a:pt x="12653" y="92562"/>
                                                                  <a:pt x="11072" y="89542"/>
                                                                  <a:pt x="8914" y="86952"/>
                                                                </a:cubicBezTo>
                                                                <a:cubicBezTo>
                                                                  <a:pt x="6375" y="83904"/>
                                                                  <a:pt x="1060" y="82464"/>
                                                                  <a:pt x="499" y="78537"/>
                                                                </a:cubicBezTo>
                                                                <a:cubicBezTo>
                                                                  <a:pt x="-451" y="71888"/>
                                                                  <a:pt x="-1099" y="47278"/>
                                                                  <a:pt x="8914" y="39268"/>
                                                                </a:cubicBezTo>
                                                                <a:cubicBezTo>
                                                                  <a:pt x="11223" y="37421"/>
                                                                  <a:pt x="14523" y="37399"/>
                                                                  <a:pt x="17328" y="36464"/>
                                                                </a:cubicBezTo>
                                                                <a:cubicBezTo>
                                                                  <a:pt x="21208" y="24825"/>
                                                                  <a:pt x="20084" y="22456"/>
                                                                  <a:pt x="36963" y="16829"/>
                                                                </a:cubicBezTo>
                                                                <a:cubicBezTo>
                                                                  <a:pt x="46264" y="13728"/>
                                                                  <a:pt x="46312" y="2805"/>
                                                                  <a:pt x="48182" y="0"/>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4" name="Freeform 243"/>
                                                        <p:cNvSpPr/>
                                                        <p:nvPr/>
                                                      </p:nvSpPr>
                                                      <p:spPr>
                                                        <a:xfrm>
                                                          <a:off x="3085399" y="5292861"/>
                                                          <a:ext cx="137454" cy="291711"/>
                                                        </a:xfrm>
                                                        <a:custGeom>
                                                          <a:avLst/>
                                                          <a:gdLst>
                                                            <a:gd name="connsiteX0" fmla="*/ 131830 w 137454"/>
                                                            <a:gd name="connsiteY0" fmla="*/ 0 h 291711"/>
                                                            <a:gd name="connsiteX1" fmla="*/ 131830 w 137454"/>
                                                            <a:gd name="connsiteY1" fmla="*/ 0 h 291711"/>
                                                            <a:gd name="connsiteX2" fmla="*/ 123416 w 137454"/>
                                                            <a:gd name="connsiteY2" fmla="*/ 22440 h 291711"/>
                                                            <a:gd name="connsiteX3" fmla="*/ 117806 w 137454"/>
                                                            <a:gd name="connsiteY3" fmla="*/ 30854 h 291711"/>
                                                            <a:gd name="connsiteX4" fmla="*/ 109391 w 137454"/>
                                                            <a:gd name="connsiteY4" fmla="*/ 47684 h 291711"/>
                                                            <a:gd name="connsiteX5" fmla="*/ 106586 w 137454"/>
                                                            <a:gd name="connsiteY5" fmla="*/ 58903 h 291711"/>
                                                            <a:gd name="connsiteX6" fmla="*/ 100976 w 137454"/>
                                                            <a:gd name="connsiteY6" fmla="*/ 75733 h 291711"/>
                                                            <a:gd name="connsiteX7" fmla="*/ 92562 w 137454"/>
                                                            <a:gd name="connsiteY7" fmla="*/ 72928 h 291711"/>
                                                            <a:gd name="connsiteX8" fmla="*/ 86952 w 137454"/>
                                                            <a:gd name="connsiteY8" fmla="*/ 64513 h 291711"/>
                                                            <a:gd name="connsiteX9" fmla="*/ 72927 w 137454"/>
                                                            <a:gd name="connsiteY9" fmla="*/ 67318 h 291711"/>
                                                            <a:gd name="connsiteX10" fmla="*/ 36464 w 137454"/>
                                                            <a:gd name="connsiteY10" fmla="*/ 75733 h 291711"/>
                                                            <a:gd name="connsiteX11" fmla="*/ 22439 w 137454"/>
                                                            <a:gd name="connsiteY11" fmla="*/ 89757 h 291711"/>
                                                            <a:gd name="connsiteX12" fmla="*/ 19634 w 137454"/>
                                                            <a:gd name="connsiteY12" fmla="*/ 98172 h 291711"/>
                                                            <a:gd name="connsiteX13" fmla="*/ 2805 w 137454"/>
                                                            <a:gd name="connsiteY13" fmla="*/ 109392 h 291711"/>
                                                            <a:gd name="connsiteX14" fmla="*/ 5610 w 137454"/>
                                                            <a:gd name="connsiteY14" fmla="*/ 123416 h 291711"/>
                                                            <a:gd name="connsiteX15" fmla="*/ 8414 w 137454"/>
                                                            <a:gd name="connsiteY15" fmla="*/ 131831 h 291711"/>
                                                            <a:gd name="connsiteX16" fmla="*/ 5610 w 137454"/>
                                                            <a:gd name="connsiteY16" fmla="*/ 148660 h 291711"/>
                                                            <a:gd name="connsiteX17" fmla="*/ 0 w 137454"/>
                                                            <a:gd name="connsiteY17" fmla="*/ 157075 h 291711"/>
                                                            <a:gd name="connsiteX18" fmla="*/ 8414 w 137454"/>
                                                            <a:gd name="connsiteY18" fmla="*/ 162685 h 291711"/>
                                                            <a:gd name="connsiteX19" fmla="*/ 8414 w 137454"/>
                                                            <a:gd name="connsiteY19" fmla="*/ 182319 h 291711"/>
                                                            <a:gd name="connsiteX20" fmla="*/ 5610 w 137454"/>
                                                            <a:gd name="connsiteY20" fmla="*/ 190734 h 291711"/>
                                                            <a:gd name="connsiteX21" fmla="*/ 14024 w 137454"/>
                                                            <a:gd name="connsiteY21" fmla="*/ 210368 h 291711"/>
                                                            <a:gd name="connsiteX22" fmla="*/ 19634 w 137454"/>
                                                            <a:gd name="connsiteY22" fmla="*/ 227198 h 291711"/>
                                                            <a:gd name="connsiteX23" fmla="*/ 14024 w 137454"/>
                                                            <a:gd name="connsiteY23" fmla="*/ 235613 h 291711"/>
                                                            <a:gd name="connsiteX24" fmla="*/ 28049 w 137454"/>
                                                            <a:gd name="connsiteY24" fmla="*/ 266467 h 291711"/>
                                                            <a:gd name="connsiteX25" fmla="*/ 33659 w 137454"/>
                                                            <a:gd name="connsiteY25" fmla="*/ 274881 h 291711"/>
                                                            <a:gd name="connsiteX26" fmla="*/ 50488 w 137454"/>
                                                            <a:gd name="connsiteY26" fmla="*/ 288906 h 291711"/>
                                                            <a:gd name="connsiteX27" fmla="*/ 58903 w 137454"/>
                                                            <a:gd name="connsiteY27" fmla="*/ 291711 h 291711"/>
                                                            <a:gd name="connsiteX28" fmla="*/ 67318 w 137454"/>
                                                            <a:gd name="connsiteY28" fmla="*/ 286101 h 291711"/>
                                                            <a:gd name="connsiteX29" fmla="*/ 75732 w 137454"/>
                                                            <a:gd name="connsiteY29" fmla="*/ 269272 h 291711"/>
                                                            <a:gd name="connsiteX30" fmla="*/ 81342 w 137454"/>
                                                            <a:gd name="connsiteY30" fmla="*/ 260857 h 291711"/>
                                                            <a:gd name="connsiteX31" fmla="*/ 84147 w 137454"/>
                                                            <a:gd name="connsiteY31" fmla="*/ 252442 h 291711"/>
                                                            <a:gd name="connsiteX32" fmla="*/ 92562 w 137454"/>
                                                            <a:gd name="connsiteY32" fmla="*/ 246832 h 291711"/>
                                                            <a:gd name="connsiteX33" fmla="*/ 95367 w 137454"/>
                                                            <a:gd name="connsiteY33" fmla="*/ 238418 h 291711"/>
                                                            <a:gd name="connsiteX34" fmla="*/ 98172 w 137454"/>
                                                            <a:gd name="connsiteY34" fmla="*/ 204759 h 291711"/>
                                                            <a:gd name="connsiteX35" fmla="*/ 103781 w 137454"/>
                                                            <a:gd name="connsiteY35" fmla="*/ 196344 h 291711"/>
                                                            <a:gd name="connsiteX36" fmla="*/ 120611 w 137454"/>
                                                            <a:gd name="connsiteY36" fmla="*/ 190734 h 291711"/>
                                                            <a:gd name="connsiteX37" fmla="*/ 129026 w 137454"/>
                                                            <a:gd name="connsiteY37" fmla="*/ 182319 h 291711"/>
                                                            <a:gd name="connsiteX38" fmla="*/ 134635 w 137454"/>
                                                            <a:gd name="connsiteY38" fmla="*/ 165490 h 291711"/>
                                                            <a:gd name="connsiteX39" fmla="*/ 134635 w 137454"/>
                                                            <a:gd name="connsiteY39" fmla="*/ 81343 h 291711"/>
                                                            <a:gd name="connsiteX40" fmla="*/ 131830 w 137454"/>
                                                            <a:gd name="connsiteY40" fmla="*/ 72928 h 291711"/>
                                                            <a:gd name="connsiteX41" fmla="*/ 131830 w 137454"/>
                                                            <a:gd name="connsiteY41" fmla="*/ 0 h 29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7454" h="291711">
                                                              <a:moveTo>
                                                                <a:pt x="131830" y="0"/>
                                                              </a:moveTo>
                                                              <a:lnTo>
                                                                <a:pt x="131830" y="0"/>
                                                              </a:lnTo>
                                                              <a:cubicBezTo>
                                                                <a:pt x="129025" y="7480"/>
                                                                <a:pt x="126722" y="15167"/>
                                                                <a:pt x="123416" y="22440"/>
                                                              </a:cubicBezTo>
                                                              <a:cubicBezTo>
                                                                <a:pt x="122021" y="25509"/>
                                                                <a:pt x="119314" y="27839"/>
                                                                <a:pt x="117806" y="30854"/>
                                                              </a:cubicBezTo>
                                                              <a:cubicBezTo>
                                                                <a:pt x="106190" y="54085"/>
                                                                <a:pt x="125472" y="23563"/>
                                                                <a:pt x="109391" y="47684"/>
                                                              </a:cubicBezTo>
                                                              <a:cubicBezTo>
                                                                <a:pt x="108456" y="51424"/>
                                                                <a:pt x="107694" y="55211"/>
                                                                <a:pt x="106586" y="58903"/>
                                                              </a:cubicBezTo>
                                                              <a:cubicBezTo>
                                                                <a:pt x="104887" y="64567"/>
                                                                <a:pt x="100976" y="75733"/>
                                                                <a:pt x="100976" y="75733"/>
                                                              </a:cubicBezTo>
                                                              <a:cubicBezTo>
                                                                <a:pt x="98171" y="74798"/>
                                                                <a:pt x="94871" y="74775"/>
                                                                <a:pt x="92562" y="72928"/>
                                                              </a:cubicBezTo>
                                                              <a:cubicBezTo>
                                                                <a:pt x="89930" y="70822"/>
                                                                <a:pt x="90193" y="65439"/>
                                                                <a:pt x="86952" y="64513"/>
                                                              </a:cubicBezTo>
                                                              <a:cubicBezTo>
                                                                <a:pt x="82368" y="63203"/>
                                                                <a:pt x="77527" y="66064"/>
                                                                <a:pt x="72927" y="67318"/>
                                                              </a:cubicBezTo>
                                                              <a:cubicBezTo>
                                                                <a:pt x="39044" y="76559"/>
                                                                <a:pt x="74007" y="70369"/>
                                                                <a:pt x="36464" y="75733"/>
                                                              </a:cubicBezTo>
                                                              <a:cubicBezTo>
                                                                <a:pt x="28050" y="81342"/>
                                                                <a:pt x="27114" y="80409"/>
                                                                <a:pt x="22439" y="89757"/>
                                                              </a:cubicBezTo>
                                                              <a:cubicBezTo>
                                                                <a:pt x="21117" y="92402"/>
                                                                <a:pt x="21725" y="96081"/>
                                                                <a:pt x="19634" y="98172"/>
                                                              </a:cubicBezTo>
                                                              <a:cubicBezTo>
                                                                <a:pt x="14867" y="102940"/>
                                                                <a:pt x="2805" y="109392"/>
                                                                <a:pt x="2805" y="109392"/>
                                                              </a:cubicBezTo>
                                                              <a:cubicBezTo>
                                                                <a:pt x="3740" y="114067"/>
                                                                <a:pt x="4454" y="118791"/>
                                                                <a:pt x="5610" y="123416"/>
                                                              </a:cubicBezTo>
                                                              <a:cubicBezTo>
                                                                <a:pt x="6327" y="126284"/>
                                                                <a:pt x="8414" y="128874"/>
                                                                <a:pt x="8414" y="131831"/>
                                                              </a:cubicBezTo>
                                                              <a:cubicBezTo>
                                                                <a:pt x="8414" y="137518"/>
                                                                <a:pt x="7408" y="143265"/>
                                                                <a:pt x="5610" y="148660"/>
                                                              </a:cubicBezTo>
                                                              <a:cubicBezTo>
                                                                <a:pt x="4544" y="151858"/>
                                                                <a:pt x="1870" y="154270"/>
                                                                <a:pt x="0" y="157075"/>
                                                              </a:cubicBezTo>
                                                              <a:cubicBezTo>
                                                                <a:pt x="2805" y="158945"/>
                                                                <a:pt x="6308" y="160053"/>
                                                                <a:pt x="8414" y="162685"/>
                                                              </a:cubicBezTo>
                                                              <a:cubicBezTo>
                                                                <a:pt x="13636" y="169214"/>
                                                                <a:pt x="10374" y="175459"/>
                                                                <a:pt x="8414" y="182319"/>
                                                              </a:cubicBezTo>
                                                              <a:cubicBezTo>
                                                                <a:pt x="7602" y="185162"/>
                                                                <a:pt x="6545" y="187929"/>
                                                                <a:pt x="5610" y="190734"/>
                                                              </a:cubicBezTo>
                                                              <a:cubicBezTo>
                                                                <a:pt x="13026" y="220409"/>
                                                                <a:pt x="2957" y="185468"/>
                                                                <a:pt x="14024" y="210368"/>
                                                              </a:cubicBezTo>
                                                              <a:cubicBezTo>
                                                                <a:pt x="16426" y="215772"/>
                                                                <a:pt x="19634" y="227198"/>
                                                                <a:pt x="19634" y="227198"/>
                                                              </a:cubicBezTo>
                                                              <a:cubicBezTo>
                                                                <a:pt x="17764" y="230003"/>
                                                                <a:pt x="14442" y="232268"/>
                                                                <a:pt x="14024" y="235613"/>
                                                              </a:cubicBezTo>
                                                              <a:cubicBezTo>
                                                                <a:pt x="12504" y="247776"/>
                                                                <a:pt x="22172" y="257653"/>
                                                                <a:pt x="28049" y="266467"/>
                                                              </a:cubicBezTo>
                                                              <a:cubicBezTo>
                                                                <a:pt x="29919" y="269272"/>
                                                                <a:pt x="31276" y="272497"/>
                                                                <a:pt x="33659" y="274881"/>
                                                              </a:cubicBezTo>
                                                              <a:cubicBezTo>
                                                                <a:pt x="39863" y="281086"/>
                                                                <a:pt x="42677" y="285000"/>
                                                                <a:pt x="50488" y="288906"/>
                                                              </a:cubicBezTo>
                                                              <a:cubicBezTo>
                                                                <a:pt x="53133" y="290228"/>
                                                                <a:pt x="56098" y="290776"/>
                                                                <a:pt x="58903" y="291711"/>
                                                              </a:cubicBezTo>
                                                              <a:cubicBezTo>
                                                                <a:pt x="61708" y="289841"/>
                                                                <a:pt x="64934" y="288485"/>
                                                                <a:pt x="67318" y="286101"/>
                                                              </a:cubicBezTo>
                                                              <a:cubicBezTo>
                                                                <a:pt x="75354" y="278064"/>
                                                                <a:pt x="71170" y="278395"/>
                                                                <a:pt x="75732" y="269272"/>
                                                              </a:cubicBezTo>
                                                              <a:cubicBezTo>
                                                                <a:pt x="77240" y="266257"/>
                                                                <a:pt x="79834" y="263872"/>
                                                                <a:pt x="81342" y="260857"/>
                                                              </a:cubicBezTo>
                                                              <a:cubicBezTo>
                                                                <a:pt x="82664" y="258212"/>
                                                                <a:pt x="82300" y="254751"/>
                                                                <a:pt x="84147" y="252442"/>
                                                              </a:cubicBezTo>
                                                              <a:cubicBezTo>
                                                                <a:pt x="86253" y="249810"/>
                                                                <a:pt x="89757" y="248702"/>
                                                                <a:pt x="92562" y="246832"/>
                                                              </a:cubicBezTo>
                                                              <a:cubicBezTo>
                                                                <a:pt x="93497" y="244027"/>
                                                                <a:pt x="94976" y="241348"/>
                                                                <a:pt x="95367" y="238418"/>
                                                              </a:cubicBezTo>
                                                              <a:cubicBezTo>
                                                                <a:pt x="96855" y="227258"/>
                                                                <a:pt x="95964" y="215799"/>
                                                                <a:pt x="98172" y="204759"/>
                                                              </a:cubicBezTo>
                                                              <a:cubicBezTo>
                                                                <a:pt x="98833" y="201453"/>
                                                                <a:pt x="100922" y="198131"/>
                                                                <a:pt x="103781" y="196344"/>
                                                              </a:cubicBezTo>
                                                              <a:cubicBezTo>
                                                                <a:pt x="108796" y="193210"/>
                                                                <a:pt x="120611" y="190734"/>
                                                                <a:pt x="120611" y="190734"/>
                                                              </a:cubicBezTo>
                                                              <a:cubicBezTo>
                                                                <a:pt x="123416" y="187929"/>
                                                                <a:pt x="127100" y="185787"/>
                                                                <a:pt x="129026" y="182319"/>
                                                              </a:cubicBezTo>
                                                              <a:cubicBezTo>
                                                                <a:pt x="131898" y="177150"/>
                                                                <a:pt x="134635" y="165490"/>
                                                                <a:pt x="134635" y="165490"/>
                                                              </a:cubicBezTo>
                                                              <a:cubicBezTo>
                                                                <a:pt x="137266" y="123402"/>
                                                                <a:pt x="139377" y="121652"/>
                                                                <a:pt x="134635" y="81343"/>
                                                              </a:cubicBezTo>
                                                              <a:cubicBezTo>
                                                                <a:pt x="134290" y="78407"/>
                                                                <a:pt x="132765" y="75733"/>
                                                                <a:pt x="131830" y="72928"/>
                                                              </a:cubicBezTo>
                                                              <a:cubicBezTo>
                                                                <a:pt x="128957" y="18315"/>
                                                                <a:pt x="131830" y="12155"/>
                                                                <a:pt x="131830"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40" name="Freeform 239"/>
                                                    <p:cNvSpPr/>
                                                    <p:nvPr/>
                                                  </p:nvSpPr>
                                                  <p:spPr>
                                                    <a:xfrm>
                                                      <a:off x="4684196" y="4403706"/>
                                                      <a:ext cx="1180867" cy="861106"/>
                                                    </a:xfrm>
                                                    <a:custGeom>
                                                      <a:avLst/>
                                                      <a:gdLst>
                                                        <a:gd name="connsiteX0" fmla="*/ 291711 w 1180867"/>
                                                        <a:gd name="connsiteY0" fmla="*/ 86952 h 861106"/>
                                                        <a:gd name="connsiteX1" fmla="*/ 291711 w 1180867"/>
                                                        <a:gd name="connsiteY1" fmla="*/ 86952 h 861106"/>
                                                        <a:gd name="connsiteX2" fmla="*/ 272076 w 1180867"/>
                                                        <a:gd name="connsiteY2" fmla="*/ 115001 h 861106"/>
                                                        <a:gd name="connsiteX3" fmla="*/ 255247 w 1180867"/>
                                                        <a:gd name="connsiteY3" fmla="*/ 120611 h 861106"/>
                                                        <a:gd name="connsiteX4" fmla="*/ 235613 w 1180867"/>
                                                        <a:gd name="connsiteY4" fmla="*/ 126220 h 861106"/>
                                                        <a:gd name="connsiteX5" fmla="*/ 230003 w 1180867"/>
                                                        <a:gd name="connsiteY5" fmla="*/ 134635 h 861106"/>
                                                        <a:gd name="connsiteX6" fmla="*/ 227198 w 1180867"/>
                                                        <a:gd name="connsiteY6" fmla="*/ 143050 h 861106"/>
                                                        <a:gd name="connsiteX7" fmla="*/ 215978 w 1180867"/>
                                                        <a:gd name="connsiteY7" fmla="*/ 162684 h 861106"/>
                                                        <a:gd name="connsiteX8" fmla="*/ 196344 w 1180867"/>
                                                        <a:gd name="connsiteY8" fmla="*/ 171099 h 861106"/>
                                                        <a:gd name="connsiteX9" fmla="*/ 182319 w 1180867"/>
                                                        <a:gd name="connsiteY9" fmla="*/ 185123 h 861106"/>
                                                        <a:gd name="connsiteX10" fmla="*/ 176710 w 1180867"/>
                                                        <a:gd name="connsiteY10" fmla="*/ 201953 h 861106"/>
                                                        <a:gd name="connsiteX11" fmla="*/ 173905 w 1180867"/>
                                                        <a:gd name="connsiteY11" fmla="*/ 210368 h 861106"/>
                                                        <a:gd name="connsiteX12" fmla="*/ 165490 w 1180867"/>
                                                        <a:gd name="connsiteY12" fmla="*/ 215977 h 861106"/>
                                                        <a:gd name="connsiteX13" fmla="*/ 157075 w 1180867"/>
                                                        <a:gd name="connsiteY13" fmla="*/ 232807 h 861106"/>
                                                        <a:gd name="connsiteX14" fmla="*/ 154270 w 1180867"/>
                                                        <a:gd name="connsiteY14" fmla="*/ 241222 h 861106"/>
                                                        <a:gd name="connsiteX15" fmla="*/ 143051 w 1180867"/>
                                                        <a:gd name="connsiteY15" fmla="*/ 258051 h 861106"/>
                                                        <a:gd name="connsiteX16" fmla="*/ 137441 w 1180867"/>
                                                        <a:gd name="connsiteY16" fmla="*/ 266466 h 861106"/>
                                                        <a:gd name="connsiteX17" fmla="*/ 131831 w 1180867"/>
                                                        <a:gd name="connsiteY17" fmla="*/ 283295 h 861106"/>
                                                        <a:gd name="connsiteX18" fmla="*/ 123416 w 1180867"/>
                                                        <a:gd name="connsiteY18" fmla="*/ 325369 h 861106"/>
                                                        <a:gd name="connsiteX19" fmla="*/ 112197 w 1180867"/>
                                                        <a:gd name="connsiteY19" fmla="*/ 342198 h 861106"/>
                                                        <a:gd name="connsiteX20" fmla="*/ 103782 w 1180867"/>
                                                        <a:gd name="connsiteY20" fmla="*/ 347808 h 861106"/>
                                                        <a:gd name="connsiteX21" fmla="*/ 89757 w 1180867"/>
                                                        <a:gd name="connsiteY21" fmla="*/ 373052 h 861106"/>
                                                        <a:gd name="connsiteX22" fmla="*/ 81343 w 1180867"/>
                                                        <a:gd name="connsiteY22" fmla="*/ 378662 h 861106"/>
                                                        <a:gd name="connsiteX23" fmla="*/ 67318 w 1180867"/>
                                                        <a:gd name="connsiteY23" fmla="*/ 389882 h 861106"/>
                                                        <a:gd name="connsiteX24" fmla="*/ 61708 w 1180867"/>
                                                        <a:gd name="connsiteY24" fmla="*/ 398296 h 861106"/>
                                                        <a:gd name="connsiteX25" fmla="*/ 44879 w 1180867"/>
                                                        <a:gd name="connsiteY25" fmla="*/ 409516 h 861106"/>
                                                        <a:gd name="connsiteX26" fmla="*/ 36464 w 1180867"/>
                                                        <a:gd name="connsiteY26" fmla="*/ 415126 h 861106"/>
                                                        <a:gd name="connsiteX27" fmla="*/ 16830 w 1180867"/>
                                                        <a:gd name="connsiteY27" fmla="*/ 420736 h 861106"/>
                                                        <a:gd name="connsiteX28" fmla="*/ 0 w 1180867"/>
                                                        <a:gd name="connsiteY28" fmla="*/ 423541 h 861106"/>
                                                        <a:gd name="connsiteX29" fmla="*/ 2805 w 1180867"/>
                                                        <a:gd name="connsiteY29" fmla="*/ 448785 h 861106"/>
                                                        <a:gd name="connsiteX30" fmla="*/ 5610 w 1180867"/>
                                                        <a:gd name="connsiteY30" fmla="*/ 457200 h 861106"/>
                                                        <a:gd name="connsiteX31" fmla="*/ 22440 w 1180867"/>
                                                        <a:gd name="connsiteY31" fmla="*/ 468419 h 861106"/>
                                                        <a:gd name="connsiteX32" fmla="*/ 30854 w 1180867"/>
                                                        <a:gd name="connsiteY32" fmla="*/ 485249 h 861106"/>
                                                        <a:gd name="connsiteX33" fmla="*/ 36464 w 1180867"/>
                                                        <a:gd name="connsiteY33" fmla="*/ 493663 h 861106"/>
                                                        <a:gd name="connsiteX34" fmla="*/ 42074 w 1180867"/>
                                                        <a:gd name="connsiteY34" fmla="*/ 510493 h 861106"/>
                                                        <a:gd name="connsiteX35" fmla="*/ 47684 w 1180867"/>
                                                        <a:gd name="connsiteY35" fmla="*/ 544152 h 861106"/>
                                                        <a:gd name="connsiteX36" fmla="*/ 53294 w 1180867"/>
                                                        <a:gd name="connsiteY36" fmla="*/ 560981 h 861106"/>
                                                        <a:gd name="connsiteX37" fmla="*/ 72928 w 1180867"/>
                                                        <a:gd name="connsiteY37" fmla="*/ 586225 h 861106"/>
                                                        <a:gd name="connsiteX38" fmla="*/ 89757 w 1180867"/>
                                                        <a:gd name="connsiteY38" fmla="*/ 594640 h 861106"/>
                                                        <a:gd name="connsiteX39" fmla="*/ 98172 w 1180867"/>
                                                        <a:gd name="connsiteY39" fmla="*/ 600250 h 861106"/>
                                                        <a:gd name="connsiteX40" fmla="*/ 106587 w 1180867"/>
                                                        <a:gd name="connsiteY40" fmla="*/ 603055 h 861106"/>
                                                        <a:gd name="connsiteX41" fmla="*/ 123416 w 1180867"/>
                                                        <a:gd name="connsiteY41" fmla="*/ 611469 h 861106"/>
                                                        <a:gd name="connsiteX42" fmla="*/ 131831 w 1180867"/>
                                                        <a:gd name="connsiteY42" fmla="*/ 619884 h 861106"/>
                                                        <a:gd name="connsiteX43" fmla="*/ 134636 w 1180867"/>
                                                        <a:gd name="connsiteY43" fmla="*/ 664763 h 861106"/>
                                                        <a:gd name="connsiteX44" fmla="*/ 129026 w 1180867"/>
                                                        <a:gd name="connsiteY44" fmla="*/ 681592 h 861106"/>
                                                        <a:gd name="connsiteX45" fmla="*/ 131831 w 1180867"/>
                                                        <a:gd name="connsiteY45" fmla="*/ 690007 h 861106"/>
                                                        <a:gd name="connsiteX46" fmla="*/ 140246 w 1180867"/>
                                                        <a:gd name="connsiteY46" fmla="*/ 695617 h 861106"/>
                                                        <a:gd name="connsiteX47" fmla="*/ 168295 w 1180867"/>
                                                        <a:gd name="connsiteY47" fmla="*/ 701227 h 861106"/>
                                                        <a:gd name="connsiteX48" fmla="*/ 193539 w 1180867"/>
                                                        <a:gd name="connsiteY48" fmla="*/ 709641 h 861106"/>
                                                        <a:gd name="connsiteX49" fmla="*/ 201954 w 1180867"/>
                                                        <a:gd name="connsiteY49" fmla="*/ 712446 h 861106"/>
                                                        <a:gd name="connsiteX50" fmla="*/ 215978 w 1180867"/>
                                                        <a:gd name="connsiteY50" fmla="*/ 709641 h 861106"/>
                                                        <a:gd name="connsiteX51" fmla="*/ 224393 w 1180867"/>
                                                        <a:gd name="connsiteY51" fmla="*/ 704031 h 861106"/>
                                                        <a:gd name="connsiteX52" fmla="*/ 232808 w 1180867"/>
                                                        <a:gd name="connsiteY52" fmla="*/ 706836 h 861106"/>
                                                        <a:gd name="connsiteX53" fmla="*/ 238417 w 1180867"/>
                                                        <a:gd name="connsiteY53" fmla="*/ 695617 h 861106"/>
                                                        <a:gd name="connsiteX54" fmla="*/ 246832 w 1180867"/>
                                                        <a:gd name="connsiteY54" fmla="*/ 692812 h 861106"/>
                                                        <a:gd name="connsiteX55" fmla="*/ 286101 w 1180867"/>
                                                        <a:gd name="connsiteY55" fmla="*/ 701227 h 861106"/>
                                                        <a:gd name="connsiteX56" fmla="*/ 288906 w 1180867"/>
                                                        <a:gd name="connsiteY56" fmla="*/ 709641 h 861106"/>
                                                        <a:gd name="connsiteX57" fmla="*/ 286101 w 1180867"/>
                                                        <a:gd name="connsiteY57" fmla="*/ 718056 h 861106"/>
                                                        <a:gd name="connsiteX58" fmla="*/ 274881 w 1180867"/>
                                                        <a:gd name="connsiteY58" fmla="*/ 734885 h 861106"/>
                                                        <a:gd name="connsiteX59" fmla="*/ 286101 w 1180867"/>
                                                        <a:gd name="connsiteY59" fmla="*/ 751715 h 861106"/>
                                                        <a:gd name="connsiteX60" fmla="*/ 297321 w 1180867"/>
                                                        <a:gd name="connsiteY60" fmla="*/ 768544 h 861106"/>
                                                        <a:gd name="connsiteX61" fmla="*/ 305735 w 1180867"/>
                                                        <a:gd name="connsiteY61" fmla="*/ 771349 h 861106"/>
                                                        <a:gd name="connsiteX62" fmla="*/ 322565 w 1180867"/>
                                                        <a:gd name="connsiteY62" fmla="*/ 782569 h 861106"/>
                                                        <a:gd name="connsiteX63" fmla="*/ 325370 w 1180867"/>
                                                        <a:gd name="connsiteY63" fmla="*/ 790984 h 861106"/>
                                                        <a:gd name="connsiteX64" fmla="*/ 330979 w 1180867"/>
                                                        <a:gd name="connsiteY64" fmla="*/ 799398 h 861106"/>
                                                        <a:gd name="connsiteX65" fmla="*/ 328175 w 1180867"/>
                                                        <a:gd name="connsiteY65" fmla="*/ 807813 h 861106"/>
                                                        <a:gd name="connsiteX66" fmla="*/ 330979 w 1180867"/>
                                                        <a:gd name="connsiteY66" fmla="*/ 835862 h 861106"/>
                                                        <a:gd name="connsiteX67" fmla="*/ 339394 w 1180867"/>
                                                        <a:gd name="connsiteY67" fmla="*/ 841472 h 861106"/>
                                                        <a:gd name="connsiteX68" fmla="*/ 370248 w 1180867"/>
                                                        <a:gd name="connsiteY68" fmla="*/ 838667 h 861106"/>
                                                        <a:gd name="connsiteX69" fmla="*/ 401102 w 1180867"/>
                                                        <a:gd name="connsiteY69" fmla="*/ 841472 h 861106"/>
                                                        <a:gd name="connsiteX70" fmla="*/ 420737 w 1180867"/>
                                                        <a:gd name="connsiteY70" fmla="*/ 847082 h 861106"/>
                                                        <a:gd name="connsiteX71" fmla="*/ 445981 w 1180867"/>
                                                        <a:gd name="connsiteY71" fmla="*/ 861106 h 861106"/>
                                                        <a:gd name="connsiteX72" fmla="*/ 488054 w 1180867"/>
                                                        <a:gd name="connsiteY72" fmla="*/ 858301 h 861106"/>
                                                        <a:gd name="connsiteX73" fmla="*/ 499274 w 1180867"/>
                                                        <a:gd name="connsiteY73" fmla="*/ 844277 h 861106"/>
                                                        <a:gd name="connsiteX74" fmla="*/ 516103 w 1180867"/>
                                                        <a:gd name="connsiteY74" fmla="*/ 838667 h 861106"/>
                                                        <a:gd name="connsiteX75" fmla="*/ 535738 w 1180867"/>
                                                        <a:gd name="connsiteY75" fmla="*/ 833057 h 861106"/>
                                                        <a:gd name="connsiteX76" fmla="*/ 560982 w 1180867"/>
                                                        <a:gd name="connsiteY76" fmla="*/ 838667 h 861106"/>
                                                        <a:gd name="connsiteX77" fmla="*/ 575006 w 1180867"/>
                                                        <a:gd name="connsiteY77" fmla="*/ 841472 h 861106"/>
                                                        <a:gd name="connsiteX78" fmla="*/ 614275 w 1180867"/>
                                                        <a:gd name="connsiteY78" fmla="*/ 847082 h 861106"/>
                                                        <a:gd name="connsiteX79" fmla="*/ 631105 w 1180867"/>
                                                        <a:gd name="connsiteY79" fmla="*/ 849887 h 861106"/>
                                                        <a:gd name="connsiteX80" fmla="*/ 664764 w 1180867"/>
                                                        <a:gd name="connsiteY80" fmla="*/ 847082 h 861106"/>
                                                        <a:gd name="connsiteX81" fmla="*/ 684398 w 1180867"/>
                                                        <a:gd name="connsiteY81" fmla="*/ 841472 h 861106"/>
                                                        <a:gd name="connsiteX82" fmla="*/ 692813 w 1180867"/>
                                                        <a:gd name="connsiteY82" fmla="*/ 833057 h 861106"/>
                                                        <a:gd name="connsiteX83" fmla="*/ 709642 w 1180867"/>
                                                        <a:gd name="connsiteY83" fmla="*/ 821838 h 861106"/>
                                                        <a:gd name="connsiteX84" fmla="*/ 718057 w 1180867"/>
                                                        <a:gd name="connsiteY84" fmla="*/ 813423 h 861106"/>
                                                        <a:gd name="connsiteX85" fmla="*/ 726471 w 1180867"/>
                                                        <a:gd name="connsiteY85" fmla="*/ 810618 h 861106"/>
                                                        <a:gd name="connsiteX86" fmla="*/ 743301 w 1180867"/>
                                                        <a:gd name="connsiteY86" fmla="*/ 799398 h 861106"/>
                                                        <a:gd name="connsiteX87" fmla="*/ 743301 w 1180867"/>
                                                        <a:gd name="connsiteY87" fmla="*/ 799398 h 861106"/>
                                                        <a:gd name="connsiteX88" fmla="*/ 760130 w 1180867"/>
                                                        <a:gd name="connsiteY88" fmla="*/ 785374 h 861106"/>
                                                        <a:gd name="connsiteX89" fmla="*/ 771350 w 1180867"/>
                                                        <a:gd name="connsiteY89" fmla="*/ 768544 h 861106"/>
                                                        <a:gd name="connsiteX90" fmla="*/ 788179 w 1180867"/>
                                                        <a:gd name="connsiteY90" fmla="*/ 757325 h 861106"/>
                                                        <a:gd name="connsiteX91" fmla="*/ 824643 w 1180867"/>
                                                        <a:gd name="connsiteY91" fmla="*/ 751715 h 861106"/>
                                                        <a:gd name="connsiteX92" fmla="*/ 847083 w 1180867"/>
                                                        <a:gd name="connsiteY92" fmla="*/ 746105 h 861106"/>
                                                        <a:gd name="connsiteX93" fmla="*/ 894766 w 1180867"/>
                                                        <a:gd name="connsiteY93" fmla="*/ 748910 h 861106"/>
                                                        <a:gd name="connsiteX94" fmla="*/ 911595 w 1180867"/>
                                                        <a:gd name="connsiteY94" fmla="*/ 757325 h 861106"/>
                                                        <a:gd name="connsiteX95" fmla="*/ 931230 w 1180867"/>
                                                        <a:gd name="connsiteY95" fmla="*/ 765739 h 861106"/>
                                                        <a:gd name="connsiteX96" fmla="*/ 976108 w 1180867"/>
                                                        <a:gd name="connsiteY96" fmla="*/ 765739 h 861106"/>
                                                        <a:gd name="connsiteX97" fmla="*/ 984523 w 1180867"/>
                                                        <a:gd name="connsiteY97" fmla="*/ 771349 h 861106"/>
                                                        <a:gd name="connsiteX98" fmla="*/ 992938 w 1180867"/>
                                                        <a:gd name="connsiteY98" fmla="*/ 774154 h 861106"/>
                                                        <a:gd name="connsiteX99" fmla="*/ 1009767 w 1180867"/>
                                                        <a:gd name="connsiteY99" fmla="*/ 785374 h 861106"/>
                                                        <a:gd name="connsiteX100" fmla="*/ 1063060 w 1180867"/>
                                                        <a:gd name="connsiteY100" fmla="*/ 793788 h 861106"/>
                                                        <a:gd name="connsiteX101" fmla="*/ 1079890 w 1180867"/>
                                                        <a:gd name="connsiteY101" fmla="*/ 782569 h 861106"/>
                                                        <a:gd name="connsiteX102" fmla="*/ 1074280 w 1180867"/>
                                                        <a:gd name="connsiteY102" fmla="*/ 765739 h 861106"/>
                                                        <a:gd name="connsiteX103" fmla="*/ 1063060 w 1180867"/>
                                                        <a:gd name="connsiteY103" fmla="*/ 748910 h 861106"/>
                                                        <a:gd name="connsiteX104" fmla="*/ 1065865 w 1180867"/>
                                                        <a:gd name="connsiteY104" fmla="*/ 684397 h 861106"/>
                                                        <a:gd name="connsiteX105" fmla="*/ 1071475 w 1180867"/>
                                                        <a:gd name="connsiteY105" fmla="*/ 667568 h 861106"/>
                                                        <a:gd name="connsiteX106" fmla="*/ 1077085 w 1180867"/>
                                                        <a:gd name="connsiteY106" fmla="*/ 659153 h 861106"/>
                                                        <a:gd name="connsiteX107" fmla="*/ 1079890 w 1180867"/>
                                                        <a:gd name="connsiteY107" fmla="*/ 628299 h 861106"/>
                                                        <a:gd name="connsiteX108" fmla="*/ 1082695 w 1180867"/>
                                                        <a:gd name="connsiteY108" fmla="*/ 617079 h 861106"/>
                                                        <a:gd name="connsiteX109" fmla="*/ 1091110 w 1180867"/>
                                                        <a:gd name="connsiteY109" fmla="*/ 614274 h 861106"/>
                                                        <a:gd name="connsiteX110" fmla="*/ 1088305 w 1180867"/>
                                                        <a:gd name="connsiteY110" fmla="*/ 580615 h 861106"/>
                                                        <a:gd name="connsiteX111" fmla="*/ 1088305 w 1180867"/>
                                                        <a:gd name="connsiteY111" fmla="*/ 563786 h 861106"/>
                                                        <a:gd name="connsiteX112" fmla="*/ 1096719 w 1180867"/>
                                                        <a:gd name="connsiteY112" fmla="*/ 560981 h 861106"/>
                                                        <a:gd name="connsiteX113" fmla="*/ 1119159 w 1180867"/>
                                                        <a:gd name="connsiteY113" fmla="*/ 569396 h 861106"/>
                                                        <a:gd name="connsiteX114" fmla="*/ 1121964 w 1180867"/>
                                                        <a:gd name="connsiteY114" fmla="*/ 577811 h 861106"/>
                                                        <a:gd name="connsiteX115" fmla="*/ 1138793 w 1180867"/>
                                                        <a:gd name="connsiteY115" fmla="*/ 589030 h 861106"/>
                                                        <a:gd name="connsiteX116" fmla="*/ 1180867 w 1180867"/>
                                                        <a:gd name="connsiteY116" fmla="*/ 577811 h 861106"/>
                                                        <a:gd name="connsiteX117" fmla="*/ 1178062 w 1180867"/>
                                                        <a:gd name="connsiteY117" fmla="*/ 502078 h 861106"/>
                                                        <a:gd name="connsiteX118" fmla="*/ 1169647 w 1180867"/>
                                                        <a:gd name="connsiteY118" fmla="*/ 485249 h 861106"/>
                                                        <a:gd name="connsiteX119" fmla="*/ 1152817 w 1180867"/>
                                                        <a:gd name="connsiteY119" fmla="*/ 479639 h 861106"/>
                                                        <a:gd name="connsiteX120" fmla="*/ 1116354 w 1180867"/>
                                                        <a:gd name="connsiteY120" fmla="*/ 490858 h 861106"/>
                                                        <a:gd name="connsiteX121" fmla="*/ 1110744 w 1180867"/>
                                                        <a:gd name="connsiteY121" fmla="*/ 499273 h 861106"/>
                                                        <a:gd name="connsiteX122" fmla="*/ 1102329 w 1180867"/>
                                                        <a:gd name="connsiteY122" fmla="*/ 504883 h 861106"/>
                                                        <a:gd name="connsiteX123" fmla="*/ 1085500 w 1180867"/>
                                                        <a:gd name="connsiteY123" fmla="*/ 510493 h 861106"/>
                                                        <a:gd name="connsiteX124" fmla="*/ 1046231 w 1180867"/>
                                                        <a:gd name="connsiteY124" fmla="*/ 507688 h 861106"/>
                                                        <a:gd name="connsiteX125" fmla="*/ 1037816 w 1180867"/>
                                                        <a:gd name="connsiteY125" fmla="*/ 504883 h 861106"/>
                                                        <a:gd name="connsiteX126" fmla="*/ 1023792 w 1180867"/>
                                                        <a:gd name="connsiteY126" fmla="*/ 502078 h 861106"/>
                                                        <a:gd name="connsiteX127" fmla="*/ 1015377 w 1180867"/>
                                                        <a:gd name="connsiteY127" fmla="*/ 496468 h 861106"/>
                                                        <a:gd name="connsiteX128" fmla="*/ 1001352 w 1180867"/>
                                                        <a:gd name="connsiteY128" fmla="*/ 479639 h 861106"/>
                                                        <a:gd name="connsiteX129" fmla="*/ 992938 w 1180867"/>
                                                        <a:gd name="connsiteY129" fmla="*/ 476834 h 861106"/>
                                                        <a:gd name="connsiteX130" fmla="*/ 984523 w 1180867"/>
                                                        <a:gd name="connsiteY130" fmla="*/ 471224 h 861106"/>
                                                        <a:gd name="connsiteX131" fmla="*/ 981718 w 1180867"/>
                                                        <a:gd name="connsiteY131" fmla="*/ 462809 h 861106"/>
                                                        <a:gd name="connsiteX132" fmla="*/ 976108 w 1180867"/>
                                                        <a:gd name="connsiteY132" fmla="*/ 454395 h 861106"/>
                                                        <a:gd name="connsiteX133" fmla="*/ 973303 w 1180867"/>
                                                        <a:gd name="connsiteY133" fmla="*/ 443175 h 861106"/>
                                                        <a:gd name="connsiteX134" fmla="*/ 970498 w 1180867"/>
                                                        <a:gd name="connsiteY134" fmla="*/ 387077 h 861106"/>
                                                        <a:gd name="connsiteX135" fmla="*/ 962084 w 1180867"/>
                                                        <a:gd name="connsiteY135" fmla="*/ 361833 h 861106"/>
                                                        <a:gd name="connsiteX136" fmla="*/ 959279 w 1180867"/>
                                                        <a:gd name="connsiteY136" fmla="*/ 353418 h 861106"/>
                                                        <a:gd name="connsiteX137" fmla="*/ 956474 w 1180867"/>
                                                        <a:gd name="connsiteY137" fmla="*/ 345003 h 861106"/>
                                                        <a:gd name="connsiteX138" fmla="*/ 959279 w 1180867"/>
                                                        <a:gd name="connsiteY138" fmla="*/ 322564 h 861106"/>
                                                        <a:gd name="connsiteX139" fmla="*/ 962084 w 1180867"/>
                                                        <a:gd name="connsiteY139" fmla="*/ 305734 h 861106"/>
                                                        <a:gd name="connsiteX140" fmla="*/ 959279 w 1180867"/>
                                                        <a:gd name="connsiteY140" fmla="*/ 263661 h 861106"/>
                                                        <a:gd name="connsiteX141" fmla="*/ 953669 w 1180867"/>
                                                        <a:gd name="connsiteY141" fmla="*/ 255246 h 861106"/>
                                                        <a:gd name="connsiteX142" fmla="*/ 945254 w 1180867"/>
                                                        <a:gd name="connsiteY142" fmla="*/ 238417 h 861106"/>
                                                        <a:gd name="connsiteX143" fmla="*/ 936840 w 1180867"/>
                                                        <a:gd name="connsiteY143" fmla="*/ 221587 h 861106"/>
                                                        <a:gd name="connsiteX144" fmla="*/ 928425 w 1180867"/>
                                                        <a:gd name="connsiteY144" fmla="*/ 204758 h 861106"/>
                                                        <a:gd name="connsiteX145" fmla="*/ 920010 w 1180867"/>
                                                        <a:gd name="connsiteY145" fmla="*/ 199148 h 861106"/>
                                                        <a:gd name="connsiteX146" fmla="*/ 914400 w 1180867"/>
                                                        <a:gd name="connsiteY146" fmla="*/ 190733 h 861106"/>
                                                        <a:gd name="connsiteX147" fmla="*/ 905986 w 1180867"/>
                                                        <a:gd name="connsiteY147" fmla="*/ 185123 h 861106"/>
                                                        <a:gd name="connsiteX148" fmla="*/ 894766 w 1180867"/>
                                                        <a:gd name="connsiteY148" fmla="*/ 171099 h 861106"/>
                                                        <a:gd name="connsiteX149" fmla="*/ 891961 w 1180867"/>
                                                        <a:gd name="connsiteY149" fmla="*/ 162684 h 861106"/>
                                                        <a:gd name="connsiteX150" fmla="*/ 883546 w 1180867"/>
                                                        <a:gd name="connsiteY150" fmla="*/ 157074 h 861106"/>
                                                        <a:gd name="connsiteX151" fmla="*/ 866717 w 1180867"/>
                                                        <a:gd name="connsiteY151" fmla="*/ 143050 h 861106"/>
                                                        <a:gd name="connsiteX152" fmla="*/ 858302 w 1180867"/>
                                                        <a:gd name="connsiteY152" fmla="*/ 126220 h 861106"/>
                                                        <a:gd name="connsiteX153" fmla="*/ 852692 w 1180867"/>
                                                        <a:gd name="connsiteY153" fmla="*/ 103781 h 861106"/>
                                                        <a:gd name="connsiteX154" fmla="*/ 838668 w 1180867"/>
                                                        <a:gd name="connsiteY154" fmla="*/ 84147 h 861106"/>
                                                        <a:gd name="connsiteX155" fmla="*/ 830253 w 1180867"/>
                                                        <a:gd name="connsiteY155" fmla="*/ 67317 h 861106"/>
                                                        <a:gd name="connsiteX156" fmla="*/ 821838 w 1180867"/>
                                                        <a:gd name="connsiteY156" fmla="*/ 58903 h 861106"/>
                                                        <a:gd name="connsiteX157" fmla="*/ 807814 w 1180867"/>
                                                        <a:gd name="connsiteY157" fmla="*/ 44878 h 861106"/>
                                                        <a:gd name="connsiteX158" fmla="*/ 793789 w 1180867"/>
                                                        <a:gd name="connsiteY158" fmla="*/ 19634 h 861106"/>
                                                        <a:gd name="connsiteX159" fmla="*/ 788179 w 1180867"/>
                                                        <a:gd name="connsiteY159" fmla="*/ 11219 h 861106"/>
                                                        <a:gd name="connsiteX160" fmla="*/ 779765 w 1180867"/>
                                                        <a:gd name="connsiteY160" fmla="*/ 8414 h 861106"/>
                                                        <a:gd name="connsiteX161" fmla="*/ 771350 w 1180867"/>
                                                        <a:gd name="connsiteY161" fmla="*/ 2804 h 861106"/>
                                                        <a:gd name="connsiteX162" fmla="*/ 751716 w 1180867"/>
                                                        <a:gd name="connsiteY162" fmla="*/ 0 h 861106"/>
                                                        <a:gd name="connsiteX163" fmla="*/ 718057 w 1180867"/>
                                                        <a:gd name="connsiteY163" fmla="*/ 16829 h 861106"/>
                                                        <a:gd name="connsiteX164" fmla="*/ 709642 w 1180867"/>
                                                        <a:gd name="connsiteY164" fmla="*/ 19634 h 861106"/>
                                                        <a:gd name="connsiteX165" fmla="*/ 704032 w 1180867"/>
                                                        <a:gd name="connsiteY165" fmla="*/ 36463 h 861106"/>
                                                        <a:gd name="connsiteX166" fmla="*/ 687203 w 1180867"/>
                                                        <a:gd name="connsiteY166" fmla="*/ 47683 h 861106"/>
                                                        <a:gd name="connsiteX167" fmla="*/ 667568 w 1180867"/>
                                                        <a:gd name="connsiteY167" fmla="*/ 56098 h 861106"/>
                                                        <a:gd name="connsiteX168" fmla="*/ 617080 w 1180867"/>
                                                        <a:gd name="connsiteY168" fmla="*/ 58903 h 861106"/>
                                                        <a:gd name="connsiteX169" fmla="*/ 600251 w 1180867"/>
                                                        <a:gd name="connsiteY169" fmla="*/ 64512 h 861106"/>
                                                        <a:gd name="connsiteX170" fmla="*/ 591836 w 1180867"/>
                                                        <a:gd name="connsiteY170" fmla="*/ 67317 h 861106"/>
                                                        <a:gd name="connsiteX171" fmla="*/ 572202 w 1180867"/>
                                                        <a:gd name="connsiteY171" fmla="*/ 92561 h 861106"/>
                                                        <a:gd name="connsiteX172" fmla="*/ 555372 w 1180867"/>
                                                        <a:gd name="connsiteY172" fmla="*/ 98171 h 861106"/>
                                                        <a:gd name="connsiteX173" fmla="*/ 546957 w 1180867"/>
                                                        <a:gd name="connsiteY173" fmla="*/ 100976 h 861106"/>
                                                        <a:gd name="connsiteX174" fmla="*/ 527323 w 1180867"/>
                                                        <a:gd name="connsiteY174" fmla="*/ 98171 h 861106"/>
                                                        <a:gd name="connsiteX175" fmla="*/ 510494 w 1180867"/>
                                                        <a:gd name="connsiteY175" fmla="*/ 86952 h 861106"/>
                                                        <a:gd name="connsiteX176" fmla="*/ 504884 w 1180867"/>
                                                        <a:gd name="connsiteY176" fmla="*/ 78537 h 861106"/>
                                                        <a:gd name="connsiteX177" fmla="*/ 485249 w 1180867"/>
                                                        <a:gd name="connsiteY177" fmla="*/ 70122 h 861106"/>
                                                        <a:gd name="connsiteX178" fmla="*/ 445981 w 1180867"/>
                                                        <a:gd name="connsiteY178" fmla="*/ 78537 h 861106"/>
                                                        <a:gd name="connsiteX179" fmla="*/ 437566 w 1180867"/>
                                                        <a:gd name="connsiteY179" fmla="*/ 84147 h 861106"/>
                                                        <a:gd name="connsiteX180" fmla="*/ 403907 w 1180867"/>
                                                        <a:gd name="connsiteY180" fmla="*/ 78537 h 861106"/>
                                                        <a:gd name="connsiteX181" fmla="*/ 387078 w 1180867"/>
                                                        <a:gd name="connsiteY181" fmla="*/ 67317 h 861106"/>
                                                        <a:gd name="connsiteX182" fmla="*/ 378663 w 1180867"/>
                                                        <a:gd name="connsiteY182" fmla="*/ 61707 h 861106"/>
                                                        <a:gd name="connsiteX183" fmla="*/ 370248 w 1180867"/>
                                                        <a:gd name="connsiteY183" fmla="*/ 58903 h 861106"/>
                                                        <a:gd name="connsiteX184" fmla="*/ 316955 w 1180867"/>
                                                        <a:gd name="connsiteY184" fmla="*/ 61707 h 861106"/>
                                                        <a:gd name="connsiteX185" fmla="*/ 314150 w 1180867"/>
                                                        <a:gd name="connsiteY185" fmla="*/ 70122 h 861106"/>
                                                        <a:gd name="connsiteX186" fmla="*/ 297321 w 1180867"/>
                                                        <a:gd name="connsiteY186" fmla="*/ 78537 h 861106"/>
                                                        <a:gd name="connsiteX187" fmla="*/ 291711 w 1180867"/>
                                                        <a:gd name="connsiteY187" fmla="*/ 86952 h 86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180867" h="861106">
                                                          <a:moveTo>
                                                            <a:pt x="291711" y="86952"/>
                                                          </a:moveTo>
                                                          <a:lnTo>
                                                            <a:pt x="291711" y="86952"/>
                                                          </a:lnTo>
                                                          <a:cubicBezTo>
                                                            <a:pt x="285166" y="96302"/>
                                                            <a:pt x="282903" y="111392"/>
                                                            <a:pt x="272076" y="115001"/>
                                                          </a:cubicBezTo>
                                                          <a:cubicBezTo>
                                                            <a:pt x="266466" y="116871"/>
                                                            <a:pt x="260984" y="119177"/>
                                                            <a:pt x="255247" y="120611"/>
                                                          </a:cubicBezTo>
                                                          <a:cubicBezTo>
                                                            <a:pt x="241159" y="124132"/>
                                                            <a:pt x="247684" y="122196"/>
                                                            <a:pt x="235613" y="126220"/>
                                                          </a:cubicBezTo>
                                                          <a:cubicBezTo>
                                                            <a:pt x="233743" y="129025"/>
                                                            <a:pt x="231511" y="131620"/>
                                                            <a:pt x="230003" y="134635"/>
                                                          </a:cubicBezTo>
                                                          <a:cubicBezTo>
                                                            <a:pt x="228681" y="137280"/>
                                                            <a:pt x="228363" y="140332"/>
                                                            <a:pt x="227198" y="143050"/>
                                                          </a:cubicBezTo>
                                                          <a:cubicBezTo>
                                                            <a:pt x="225548" y="146899"/>
                                                            <a:pt x="219499" y="159163"/>
                                                            <a:pt x="215978" y="162684"/>
                                                          </a:cubicBezTo>
                                                          <a:cubicBezTo>
                                                            <a:pt x="209521" y="169141"/>
                                                            <a:pt x="204928" y="168953"/>
                                                            <a:pt x="196344" y="171099"/>
                                                          </a:cubicBezTo>
                                                          <a:cubicBezTo>
                                                            <a:pt x="188669" y="176216"/>
                                                            <a:pt x="186255" y="176267"/>
                                                            <a:pt x="182319" y="185123"/>
                                                          </a:cubicBezTo>
                                                          <a:cubicBezTo>
                                                            <a:pt x="179917" y="190527"/>
                                                            <a:pt x="178580" y="196343"/>
                                                            <a:pt x="176710" y="201953"/>
                                                          </a:cubicBezTo>
                                                          <a:cubicBezTo>
                                                            <a:pt x="175775" y="204758"/>
                                                            <a:pt x="176365" y="208728"/>
                                                            <a:pt x="173905" y="210368"/>
                                                          </a:cubicBezTo>
                                                          <a:lnTo>
                                                            <a:pt x="165490" y="215977"/>
                                                          </a:lnTo>
                                                          <a:cubicBezTo>
                                                            <a:pt x="158440" y="237128"/>
                                                            <a:pt x="167950" y="211057"/>
                                                            <a:pt x="157075" y="232807"/>
                                                          </a:cubicBezTo>
                                                          <a:cubicBezTo>
                                                            <a:pt x="155753" y="235452"/>
                                                            <a:pt x="155706" y="238637"/>
                                                            <a:pt x="154270" y="241222"/>
                                                          </a:cubicBezTo>
                                                          <a:cubicBezTo>
                                                            <a:pt x="150996" y="247116"/>
                                                            <a:pt x="146791" y="252441"/>
                                                            <a:pt x="143051" y="258051"/>
                                                          </a:cubicBezTo>
                                                          <a:cubicBezTo>
                                                            <a:pt x="141181" y="260856"/>
                                                            <a:pt x="138507" y="263268"/>
                                                            <a:pt x="137441" y="266466"/>
                                                          </a:cubicBezTo>
                                                          <a:lnTo>
                                                            <a:pt x="131831" y="283295"/>
                                                          </a:lnTo>
                                                          <a:cubicBezTo>
                                                            <a:pt x="130746" y="293059"/>
                                                            <a:pt x="130046" y="315424"/>
                                                            <a:pt x="123416" y="325369"/>
                                                          </a:cubicBezTo>
                                                          <a:cubicBezTo>
                                                            <a:pt x="119676" y="330979"/>
                                                            <a:pt x="117807" y="338458"/>
                                                            <a:pt x="112197" y="342198"/>
                                                          </a:cubicBezTo>
                                                          <a:lnTo>
                                                            <a:pt x="103782" y="347808"/>
                                                          </a:lnTo>
                                                          <a:cubicBezTo>
                                                            <a:pt x="100859" y="356578"/>
                                                            <a:pt x="98025" y="367539"/>
                                                            <a:pt x="89757" y="373052"/>
                                                          </a:cubicBezTo>
                                                          <a:lnTo>
                                                            <a:pt x="81343" y="378662"/>
                                                          </a:lnTo>
                                                          <a:cubicBezTo>
                                                            <a:pt x="65268" y="402775"/>
                                                            <a:pt x="86671" y="374401"/>
                                                            <a:pt x="67318" y="389882"/>
                                                          </a:cubicBezTo>
                                                          <a:cubicBezTo>
                                                            <a:pt x="64686" y="391988"/>
                                                            <a:pt x="64245" y="396076"/>
                                                            <a:pt x="61708" y="398296"/>
                                                          </a:cubicBezTo>
                                                          <a:cubicBezTo>
                                                            <a:pt x="56634" y="402736"/>
                                                            <a:pt x="50489" y="405776"/>
                                                            <a:pt x="44879" y="409516"/>
                                                          </a:cubicBezTo>
                                                          <a:cubicBezTo>
                                                            <a:pt x="42074" y="411386"/>
                                                            <a:pt x="39662" y="414060"/>
                                                            <a:pt x="36464" y="415126"/>
                                                          </a:cubicBezTo>
                                                          <a:cubicBezTo>
                                                            <a:pt x="28446" y="417799"/>
                                                            <a:pt x="25633" y="418975"/>
                                                            <a:pt x="16830" y="420736"/>
                                                          </a:cubicBezTo>
                                                          <a:cubicBezTo>
                                                            <a:pt x="11253" y="421851"/>
                                                            <a:pt x="5610" y="422606"/>
                                                            <a:pt x="0" y="423541"/>
                                                          </a:cubicBezTo>
                                                          <a:cubicBezTo>
                                                            <a:pt x="-4675" y="437565"/>
                                                            <a:pt x="-3740" y="429150"/>
                                                            <a:pt x="2805" y="448785"/>
                                                          </a:cubicBezTo>
                                                          <a:cubicBezTo>
                                                            <a:pt x="3740" y="451590"/>
                                                            <a:pt x="3150" y="455560"/>
                                                            <a:pt x="5610" y="457200"/>
                                                          </a:cubicBezTo>
                                                          <a:lnTo>
                                                            <a:pt x="22440" y="468419"/>
                                                          </a:lnTo>
                                                          <a:cubicBezTo>
                                                            <a:pt x="38524" y="492549"/>
                                                            <a:pt x="19234" y="462011"/>
                                                            <a:pt x="30854" y="485249"/>
                                                          </a:cubicBezTo>
                                                          <a:cubicBezTo>
                                                            <a:pt x="32362" y="488264"/>
                                                            <a:pt x="34594" y="490858"/>
                                                            <a:pt x="36464" y="493663"/>
                                                          </a:cubicBezTo>
                                                          <a:cubicBezTo>
                                                            <a:pt x="38334" y="499273"/>
                                                            <a:pt x="41340" y="504625"/>
                                                            <a:pt x="42074" y="510493"/>
                                                          </a:cubicBezTo>
                                                          <a:cubicBezTo>
                                                            <a:pt x="44063" y="526402"/>
                                                            <a:pt x="43713" y="530915"/>
                                                            <a:pt x="47684" y="544152"/>
                                                          </a:cubicBezTo>
                                                          <a:cubicBezTo>
                                                            <a:pt x="49383" y="549816"/>
                                                            <a:pt x="50014" y="556061"/>
                                                            <a:pt x="53294" y="560981"/>
                                                          </a:cubicBezTo>
                                                          <a:cubicBezTo>
                                                            <a:pt x="61115" y="572714"/>
                                                            <a:pt x="63039" y="577985"/>
                                                            <a:pt x="72928" y="586225"/>
                                                          </a:cubicBezTo>
                                                          <a:cubicBezTo>
                                                            <a:pt x="84988" y="596274"/>
                                                            <a:pt x="77106" y="588314"/>
                                                            <a:pt x="89757" y="594640"/>
                                                          </a:cubicBezTo>
                                                          <a:cubicBezTo>
                                                            <a:pt x="92772" y="596148"/>
                                                            <a:pt x="95157" y="598742"/>
                                                            <a:pt x="98172" y="600250"/>
                                                          </a:cubicBezTo>
                                                          <a:cubicBezTo>
                                                            <a:pt x="100817" y="601572"/>
                                                            <a:pt x="103942" y="601733"/>
                                                            <a:pt x="106587" y="603055"/>
                                                          </a:cubicBezTo>
                                                          <a:cubicBezTo>
                                                            <a:pt x="128331" y="613927"/>
                                                            <a:pt x="102272" y="604423"/>
                                                            <a:pt x="123416" y="611469"/>
                                                          </a:cubicBezTo>
                                                          <a:cubicBezTo>
                                                            <a:pt x="126221" y="614274"/>
                                                            <a:pt x="129291" y="616837"/>
                                                            <a:pt x="131831" y="619884"/>
                                                          </a:cubicBezTo>
                                                          <a:cubicBezTo>
                                                            <a:pt x="143946" y="634422"/>
                                                            <a:pt x="138629" y="639475"/>
                                                            <a:pt x="134636" y="664763"/>
                                                          </a:cubicBezTo>
                                                          <a:cubicBezTo>
                                                            <a:pt x="133714" y="670604"/>
                                                            <a:pt x="129026" y="681592"/>
                                                            <a:pt x="129026" y="681592"/>
                                                          </a:cubicBezTo>
                                                          <a:cubicBezTo>
                                                            <a:pt x="129961" y="684397"/>
                                                            <a:pt x="129984" y="687698"/>
                                                            <a:pt x="131831" y="690007"/>
                                                          </a:cubicBezTo>
                                                          <a:cubicBezTo>
                                                            <a:pt x="133937" y="692639"/>
                                                            <a:pt x="137231" y="694109"/>
                                                            <a:pt x="140246" y="695617"/>
                                                          </a:cubicBezTo>
                                                          <a:cubicBezTo>
                                                            <a:pt x="148080" y="699534"/>
                                                            <a:pt x="161058" y="700193"/>
                                                            <a:pt x="168295" y="701227"/>
                                                          </a:cubicBezTo>
                                                          <a:lnTo>
                                                            <a:pt x="193539" y="709641"/>
                                                          </a:lnTo>
                                                          <a:lnTo>
                                                            <a:pt x="201954" y="712446"/>
                                                          </a:lnTo>
                                                          <a:cubicBezTo>
                                                            <a:pt x="206629" y="711511"/>
                                                            <a:pt x="211514" y="711315"/>
                                                            <a:pt x="215978" y="709641"/>
                                                          </a:cubicBezTo>
                                                          <a:cubicBezTo>
                                                            <a:pt x="219135" y="708457"/>
                                                            <a:pt x="221068" y="704585"/>
                                                            <a:pt x="224393" y="704031"/>
                                                          </a:cubicBezTo>
                                                          <a:cubicBezTo>
                                                            <a:pt x="227310" y="703545"/>
                                                            <a:pt x="230003" y="705901"/>
                                                            <a:pt x="232808" y="706836"/>
                                                          </a:cubicBezTo>
                                                          <a:cubicBezTo>
                                                            <a:pt x="238986" y="731548"/>
                                                            <a:pt x="232114" y="709799"/>
                                                            <a:pt x="238417" y="695617"/>
                                                          </a:cubicBezTo>
                                                          <a:cubicBezTo>
                                                            <a:pt x="239618" y="692915"/>
                                                            <a:pt x="244027" y="693747"/>
                                                            <a:pt x="246832" y="692812"/>
                                                          </a:cubicBezTo>
                                                          <a:cubicBezTo>
                                                            <a:pt x="254825" y="693539"/>
                                                            <a:pt x="277652" y="690667"/>
                                                            <a:pt x="286101" y="701227"/>
                                                          </a:cubicBezTo>
                                                          <a:cubicBezTo>
                                                            <a:pt x="287948" y="703536"/>
                                                            <a:pt x="287971" y="706836"/>
                                                            <a:pt x="288906" y="709641"/>
                                                          </a:cubicBezTo>
                                                          <a:cubicBezTo>
                                                            <a:pt x="287971" y="712446"/>
                                                            <a:pt x="287741" y="715596"/>
                                                            <a:pt x="286101" y="718056"/>
                                                          </a:cubicBezTo>
                                                          <a:cubicBezTo>
                                                            <a:pt x="272093" y="739068"/>
                                                            <a:pt x="281551" y="714877"/>
                                                            <a:pt x="274881" y="734885"/>
                                                          </a:cubicBezTo>
                                                          <a:cubicBezTo>
                                                            <a:pt x="280719" y="758235"/>
                                                            <a:pt x="272541" y="736219"/>
                                                            <a:pt x="286101" y="751715"/>
                                                          </a:cubicBezTo>
                                                          <a:cubicBezTo>
                                                            <a:pt x="290541" y="756789"/>
                                                            <a:pt x="293581" y="762934"/>
                                                            <a:pt x="297321" y="768544"/>
                                                          </a:cubicBezTo>
                                                          <a:cubicBezTo>
                                                            <a:pt x="298961" y="771004"/>
                                                            <a:pt x="303151" y="769913"/>
                                                            <a:pt x="305735" y="771349"/>
                                                          </a:cubicBezTo>
                                                          <a:cubicBezTo>
                                                            <a:pt x="311629" y="774623"/>
                                                            <a:pt x="322565" y="782569"/>
                                                            <a:pt x="322565" y="782569"/>
                                                          </a:cubicBezTo>
                                                          <a:cubicBezTo>
                                                            <a:pt x="323500" y="785374"/>
                                                            <a:pt x="324048" y="788339"/>
                                                            <a:pt x="325370" y="790984"/>
                                                          </a:cubicBezTo>
                                                          <a:cubicBezTo>
                                                            <a:pt x="326877" y="793999"/>
                                                            <a:pt x="330425" y="796073"/>
                                                            <a:pt x="330979" y="799398"/>
                                                          </a:cubicBezTo>
                                                          <a:cubicBezTo>
                                                            <a:pt x="331465" y="802314"/>
                                                            <a:pt x="329110" y="805008"/>
                                                            <a:pt x="328175" y="807813"/>
                                                          </a:cubicBezTo>
                                                          <a:cubicBezTo>
                                                            <a:pt x="329110" y="817163"/>
                                                            <a:pt x="328008" y="826948"/>
                                                            <a:pt x="330979" y="835862"/>
                                                          </a:cubicBezTo>
                                                          <a:cubicBezTo>
                                                            <a:pt x="332045" y="839060"/>
                                                            <a:pt x="336031" y="841232"/>
                                                            <a:pt x="339394" y="841472"/>
                                                          </a:cubicBezTo>
                                                          <a:cubicBezTo>
                                                            <a:pt x="349695" y="842208"/>
                                                            <a:pt x="359963" y="839602"/>
                                                            <a:pt x="370248" y="838667"/>
                                                          </a:cubicBezTo>
                                                          <a:cubicBezTo>
                                                            <a:pt x="380533" y="839602"/>
                                                            <a:pt x="390866" y="840107"/>
                                                            <a:pt x="401102" y="841472"/>
                                                          </a:cubicBezTo>
                                                          <a:cubicBezTo>
                                                            <a:pt x="406972" y="842255"/>
                                                            <a:pt x="414968" y="845159"/>
                                                            <a:pt x="420737" y="847082"/>
                                                          </a:cubicBezTo>
                                                          <a:cubicBezTo>
                                                            <a:pt x="440026" y="859941"/>
                                                            <a:pt x="431170" y="856169"/>
                                                            <a:pt x="445981" y="861106"/>
                                                          </a:cubicBezTo>
                                                          <a:cubicBezTo>
                                                            <a:pt x="460005" y="860171"/>
                                                            <a:pt x="474190" y="860612"/>
                                                            <a:pt x="488054" y="858301"/>
                                                          </a:cubicBezTo>
                                                          <a:cubicBezTo>
                                                            <a:pt x="507422" y="855073"/>
                                                            <a:pt x="487954" y="852363"/>
                                                            <a:pt x="499274" y="844277"/>
                                                          </a:cubicBezTo>
                                                          <a:cubicBezTo>
                                                            <a:pt x="504086" y="840840"/>
                                                            <a:pt x="510366" y="840101"/>
                                                            <a:pt x="516103" y="838667"/>
                                                          </a:cubicBezTo>
                                                          <a:cubicBezTo>
                                                            <a:pt x="530191" y="835145"/>
                                                            <a:pt x="523666" y="837081"/>
                                                            <a:pt x="535738" y="833057"/>
                                                          </a:cubicBezTo>
                                                          <a:cubicBezTo>
                                                            <a:pt x="550574" y="838003"/>
                                                            <a:pt x="539261" y="834718"/>
                                                            <a:pt x="560982" y="838667"/>
                                                          </a:cubicBezTo>
                                                          <a:cubicBezTo>
                                                            <a:pt x="565672" y="839520"/>
                                                            <a:pt x="570297" y="840728"/>
                                                            <a:pt x="575006" y="841472"/>
                                                          </a:cubicBezTo>
                                                          <a:cubicBezTo>
                                                            <a:pt x="588067" y="843534"/>
                                                            <a:pt x="601232" y="844908"/>
                                                            <a:pt x="614275" y="847082"/>
                                                          </a:cubicBezTo>
                                                          <a:lnTo>
                                                            <a:pt x="631105" y="849887"/>
                                                          </a:lnTo>
                                                          <a:cubicBezTo>
                                                            <a:pt x="642325" y="848952"/>
                                                            <a:pt x="653592" y="848479"/>
                                                            <a:pt x="664764" y="847082"/>
                                                          </a:cubicBezTo>
                                                          <a:cubicBezTo>
                                                            <a:pt x="670398" y="846378"/>
                                                            <a:pt x="678810" y="843335"/>
                                                            <a:pt x="684398" y="841472"/>
                                                          </a:cubicBezTo>
                                                          <a:cubicBezTo>
                                                            <a:pt x="687203" y="838667"/>
                                                            <a:pt x="689682" y="835492"/>
                                                            <a:pt x="692813" y="833057"/>
                                                          </a:cubicBezTo>
                                                          <a:cubicBezTo>
                                                            <a:pt x="698135" y="828918"/>
                                                            <a:pt x="704875" y="826605"/>
                                                            <a:pt x="709642" y="821838"/>
                                                          </a:cubicBezTo>
                                                          <a:cubicBezTo>
                                                            <a:pt x="712447" y="819033"/>
                                                            <a:pt x="714756" y="815624"/>
                                                            <a:pt x="718057" y="813423"/>
                                                          </a:cubicBezTo>
                                                          <a:cubicBezTo>
                                                            <a:pt x="720517" y="811783"/>
                                                            <a:pt x="723887" y="812054"/>
                                                            <a:pt x="726471" y="810618"/>
                                                          </a:cubicBezTo>
                                                          <a:cubicBezTo>
                                                            <a:pt x="732365" y="807344"/>
                                                            <a:pt x="737691" y="803138"/>
                                                            <a:pt x="743301" y="799398"/>
                                                          </a:cubicBezTo>
                                                          <a:lnTo>
                                                            <a:pt x="743301" y="799398"/>
                                                          </a:lnTo>
                                                          <a:cubicBezTo>
                                                            <a:pt x="754100" y="788601"/>
                                                            <a:pt x="748416" y="793184"/>
                                                            <a:pt x="760130" y="785374"/>
                                                          </a:cubicBezTo>
                                                          <a:cubicBezTo>
                                                            <a:pt x="763870" y="779764"/>
                                                            <a:pt x="765740" y="772284"/>
                                                            <a:pt x="771350" y="768544"/>
                                                          </a:cubicBezTo>
                                                          <a:cubicBezTo>
                                                            <a:pt x="776960" y="764804"/>
                                                            <a:pt x="781638" y="758960"/>
                                                            <a:pt x="788179" y="757325"/>
                                                          </a:cubicBezTo>
                                                          <a:cubicBezTo>
                                                            <a:pt x="807613" y="752467"/>
                                                            <a:pt x="795567" y="754946"/>
                                                            <a:pt x="824643" y="751715"/>
                                                          </a:cubicBezTo>
                                                          <a:cubicBezTo>
                                                            <a:pt x="831283" y="749502"/>
                                                            <a:pt x="840313" y="746105"/>
                                                            <a:pt x="847083" y="746105"/>
                                                          </a:cubicBezTo>
                                                          <a:cubicBezTo>
                                                            <a:pt x="863005" y="746105"/>
                                                            <a:pt x="878872" y="747975"/>
                                                            <a:pt x="894766" y="748910"/>
                                                          </a:cubicBezTo>
                                                          <a:cubicBezTo>
                                                            <a:pt x="910199" y="754054"/>
                                                            <a:pt x="896366" y="748623"/>
                                                            <a:pt x="911595" y="757325"/>
                                                          </a:cubicBezTo>
                                                          <a:cubicBezTo>
                                                            <a:pt x="921296" y="762868"/>
                                                            <a:pt x="921793" y="762593"/>
                                                            <a:pt x="931230" y="765739"/>
                                                          </a:cubicBezTo>
                                                          <a:cubicBezTo>
                                                            <a:pt x="949331" y="763728"/>
                                                            <a:pt x="958801" y="760547"/>
                                                            <a:pt x="976108" y="765739"/>
                                                          </a:cubicBezTo>
                                                          <a:cubicBezTo>
                                                            <a:pt x="979337" y="766708"/>
                                                            <a:pt x="981508" y="769841"/>
                                                            <a:pt x="984523" y="771349"/>
                                                          </a:cubicBezTo>
                                                          <a:cubicBezTo>
                                                            <a:pt x="987168" y="772671"/>
                                                            <a:pt x="990133" y="773219"/>
                                                            <a:pt x="992938" y="774154"/>
                                                          </a:cubicBezTo>
                                                          <a:lnTo>
                                                            <a:pt x="1009767" y="785374"/>
                                                          </a:lnTo>
                                                          <a:cubicBezTo>
                                                            <a:pt x="1030652" y="799298"/>
                                                            <a:pt x="1014821" y="790774"/>
                                                            <a:pt x="1063060" y="793788"/>
                                                          </a:cubicBezTo>
                                                          <a:cubicBezTo>
                                                            <a:pt x="1070914" y="792218"/>
                                                            <a:pt x="1081203" y="794382"/>
                                                            <a:pt x="1079890" y="782569"/>
                                                          </a:cubicBezTo>
                                                          <a:cubicBezTo>
                                                            <a:pt x="1079237" y="776692"/>
                                                            <a:pt x="1076925" y="771028"/>
                                                            <a:pt x="1074280" y="765739"/>
                                                          </a:cubicBezTo>
                                                          <a:cubicBezTo>
                                                            <a:pt x="1071265" y="759709"/>
                                                            <a:pt x="1063060" y="748910"/>
                                                            <a:pt x="1063060" y="748910"/>
                                                          </a:cubicBezTo>
                                                          <a:cubicBezTo>
                                                            <a:pt x="1063995" y="727406"/>
                                                            <a:pt x="1063650" y="705807"/>
                                                            <a:pt x="1065865" y="684397"/>
                                                          </a:cubicBezTo>
                                                          <a:cubicBezTo>
                                                            <a:pt x="1066473" y="678515"/>
                                                            <a:pt x="1068195" y="672488"/>
                                                            <a:pt x="1071475" y="667568"/>
                                                          </a:cubicBezTo>
                                                          <a:lnTo>
                                                            <a:pt x="1077085" y="659153"/>
                                                          </a:lnTo>
                                                          <a:cubicBezTo>
                                                            <a:pt x="1072483" y="636141"/>
                                                            <a:pt x="1073563" y="653606"/>
                                                            <a:pt x="1079890" y="628299"/>
                                                          </a:cubicBezTo>
                                                          <a:cubicBezTo>
                                                            <a:pt x="1080825" y="624559"/>
                                                            <a:pt x="1080287" y="620089"/>
                                                            <a:pt x="1082695" y="617079"/>
                                                          </a:cubicBezTo>
                                                          <a:cubicBezTo>
                                                            <a:pt x="1084542" y="614770"/>
                                                            <a:pt x="1088305" y="615209"/>
                                                            <a:pt x="1091110" y="614274"/>
                                                          </a:cubicBezTo>
                                                          <a:cubicBezTo>
                                                            <a:pt x="1090175" y="603054"/>
                                                            <a:pt x="1089793" y="591775"/>
                                                            <a:pt x="1088305" y="580615"/>
                                                          </a:cubicBezTo>
                                                          <a:cubicBezTo>
                                                            <a:pt x="1087425" y="574014"/>
                                                            <a:pt x="1081705" y="570387"/>
                                                            <a:pt x="1088305" y="563786"/>
                                                          </a:cubicBezTo>
                                                          <a:cubicBezTo>
                                                            <a:pt x="1090395" y="561695"/>
                                                            <a:pt x="1093914" y="561916"/>
                                                            <a:pt x="1096719" y="560981"/>
                                                          </a:cubicBezTo>
                                                          <a:cubicBezTo>
                                                            <a:pt x="1104322" y="562502"/>
                                                            <a:pt x="1113656" y="562517"/>
                                                            <a:pt x="1119159" y="569396"/>
                                                          </a:cubicBezTo>
                                                          <a:cubicBezTo>
                                                            <a:pt x="1121006" y="571705"/>
                                                            <a:pt x="1120324" y="575351"/>
                                                            <a:pt x="1121964" y="577811"/>
                                                          </a:cubicBezTo>
                                                          <a:cubicBezTo>
                                                            <a:pt x="1127966" y="586815"/>
                                                            <a:pt x="1129971" y="586089"/>
                                                            <a:pt x="1138793" y="589030"/>
                                                          </a:cubicBezTo>
                                                          <a:cubicBezTo>
                                                            <a:pt x="1150137" y="588220"/>
                                                            <a:pt x="1180867" y="598178"/>
                                                            <a:pt x="1180867" y="577811"/>
                                                          </a:cubicBezTo>
                                                          <a:cubicBezTo>
                                                            <a:pt x="1180867" y="552549"/>
                                                            <a:pt x="1179742" y="527284"/>
                                                            <a:pt x="1178062" y="502078"/>
                                                          </a:cubicBezTo>
                                                          <a:cubicBezTo>
                                                            <a:pt x="1177809" y="498290"/>
                                                            <a:pt x="1172772" y="487202"/>
                                                            <a:pt x="1169647" y="485249"/>
                                                          </a:cubicBezTo>
                                                          <a:cubicBezTo>
                                                            <a:pt x="1164632" y="482115"/>
                                                            <a:pt x="1152817" y="479639"/>
                                                            <a:pt x="1152817" y="479639"/>
                                                          </a:cubicBezTo>
                                                          <a:cubicBezTo>
                                                            <a:pt x="1127308" y="482190"/>
                                                            <a:pt x="1128674" y="476074"/>
                                                            <a:pt x="1116354" y="490858"/>
                                                          </a:cubicBezTo>
                                                          <a:cubicBezTo>
                                                            <a:pt x="1114196" y="493448"/>
                                                            <a:pt x="1113128" y="496889"/>
                                                            <a:pt x="1110744" y="499273"/>
                                                          </a:cubicBezTo>
                                                          <a:cubicBezTo>
                                                            <a:pt x="1108360" y="501657"/>
                                                            <a:pt x="1105410" y="503514"/>
                                                            <a:pt x="1102329" y="504883"/>
                                                          </a:cubicBezTo>
                                                          <a:cubicBezTo>
                                                            <a:pt x="1096926" y="507285"/>
                                                            <a:pt x="1085500" y="510493"/>
                                                            <a:pt x="1085500" y="510493"/>
                                                          </a:cubicBezTo>
                                                          <a:cubicBezTo>
                                                            <a:pt x="1072410" y="509558"/>
                                                            <a:pt x="1059264" y="509221"/>
                                                            <a:pt x="1046231" y="507688"/>
                                                          </a:cubicBezTo>
                                                          <a:cubicBezTo>
                                                            <a:pt x="1043295" y="507343"/>
                                                            <a:pt x="1040684" y="505600"/>
                                                            <a:pt x="1037816" y="504883"/>
                                                          </a:cubicBezTo>
                                                          <a:cubicBezTo>
                                                            <a:pt x="1033191" y="503727"/>
                                                            <a:pt x="1028467" y="503013"/>
                                                            <a:pt x="1023792" y="502078"/>
                                                          </a:cubicBezTo>
                                                          <a:cubicBezTo>
                                                            <a:pt x="1020987" y="500208"/>
                                                            <a:pt x="1017761" y="498852"/>
                                                            <a:pt x="1015377" y="496468"/>
                                                          </a:cubicBezTo>
                                                          <a:cubicBezTo>
                                                            <a:pt x="1005027" y="486119"/>
                                                            <a:pt x="1015139" y="488831"/>
                                                            <a:pt x="1001352" y="479639"/>
                                                          </a:cubicBezTo>
                                                          <a:cubicBezTo>
                                                            <a:pt x="998892" y="477999"/>
                                                            <a:pt x="995582" y="478156"/>
                                                            <a:pt x="992938" y="476834"/>
                                                          </a:cubicBezTo>
                                                          <a:cubicBezTo>
                                                            <a:pt x="989923" y="475326"/>
                                                            <a:pt x="987328" y="473094"/>
                                                            <a:pt x="984523" y="471224"/>
                                                          </a:cubicBezTo>
                                                          <a:cubicBezTo>
                                                            <a:pt x="983588" y="468419"/>
                                                            <a:pt x="983040" y="465454"/>
                                                            <a:pt x="981718" y="462809"/>
                                                          </a:cubicBezTo>
                                                          <a:cubicBezTo>
                                                            <a:pt x="980210" y="459794"/>
                                                            <a:pt x="977436" y="457493"/>
                                                            <a:pt x="976108" y="454395"/>
                                                          </a:cubicBezTo>
                                                          <a:cubicBezTo>
                                                            <a:pt x="974589" y="450852"/>
                                                            <a:pt x="974238" y="446915"/>
                                                            <a:pt x="973303" y="443175"/>
                                                          </a:cubicBezTo>
                                                          <a:cubicBezTo>
                                                            <a:pt x="972368" y="424476"/>
                                                            <a:pt x="972644" y="405676"/>
                                                            <a:pt x="970498" y="387077"/>
                                                          </a:cubicBezTo>
                                                          <a:cubicBezTo>
                                                            <a:pt x="970497" y="387067"/>
                                                            <a:pt x="963488" y="366045"/>
                                                            <a:pt x="962084" y="361833"/>
                                                          </a:cubicBezTo>
                                                          <a:lnTo>
                                                            <a:pt x="959279" y="353418"/>
                                                          </a:lnTo>
                                                          <a:lnTo>
                                                            <a:pt x="956474" y="345003"/>
                                                          </a:lnTo>
                                                          <a:cubicBezTo>
                                                            <a:pt x="957409" y="337523"/>
                                                            <a:pt x="958213" y="330026"/>
                                                            <a:pt x="959279" y="322564"/>
                                                          </a:cubicBezTo>
                                                          <a:cubicBezTo>
                                                            <a:pt x="960083" y="316934"/>
                                                            <a:pt x="962084" y="311421"/>
                                                            <a:pt x="962084" y="305734"/>
                                                          </a:cubicBezTo>
                                                          <a:cubicBezTo>
                                                            <a:pt x="962084" y="291679"/>
                                                            <a:pt x="961590" y="277525"/>
                                                            <a:pt x="959279" y="263661"/>
                                                          </a:cubicBezTo>
                                                          <a:cubicBezTo>
                                                            <a:pt x="958725" y="260336"/>
                                                            <a:pt x="955177" y="258261"/>
                                                            <a:pt x="953669" y="255246"/>
                                                          </a:cubicBezTo>
                                                          <a:cubicBezTo>
                                                            <a:pt x="942059" y="232026"/>
                                                            <a:pt x="961328" y="262524"/>
                                                            <a:pt x="945254" y="238417"/>
                                                          </a:cubicBezTo>
                                                          <a:cubicBezTo>
                                                            <a:pt x="938205" y="217269"/>
                                                            <a:pt x="947713" y="243334"/>
                                                            <a:pt x="936840" y="221587"/>
                                                          </a:cubicBezTo>
                                                          <a:cubicBezTo>
                                                            <a:pt x="932279" y="212464"/>
                                                            <a:pt x="936462" y="212795"/>
                                                            <a:pt x="928425" y="204758"/>
                                                          </a:cubicBezTo>
                                                          <a:cubicBezTo>
                                                            <a:pt x="926041" y="202374"/>
                                                            <a:pt x="922815" y="201018"/>
                                                            <a:pt x="920010" y="199148"/>
                                                          </a:cubicBezTo>
                                                          <a:cubicBezTo>
                                                            <a:pt x="918140" y="196343"/>
                                                            <a:pt x="916784" y="193117"/>
                                                            <a:pt x="914400" y="190733"/>
                                                          </a:cubicBezTo>
                                                          <a:cubicBezTo>
                                                            <a:pt x="912016" y="188349"/>
                                                            <a:pt x="908092" y="187755"/>
                                                            <a:pt x="905986" y="185123"/>
                                                          </a:cubicBezTo>
                                                          <a:cubicBezTo>
                                                            <a:pt x="890504" y="165770"/>
                                                            <a:pt x="918880" y="187175"/>
                                                            <a:pt x="894766" y="171099"/>
                                                          </a:cubicBezTo>
                                                          <a:cubicBezTo>
                                                            <a:pt x="893831" y="168294"/>
                                                            <a:pt x="893808" y="164993"/>
                                                            <a:pt x="891961" y="162684"/>
                                                          </a:cubicBezTo>
                                                          <a:cubicBezTo>
                                                            <a:pt x="889855" y="160052"/>
                                                            <a:pt x="886136" y="159232"/>
                                                            <a:pt x="883546" y="157074"/>
                                                          </a:cubicBezTo>
                                                          <a:cubicBezTo>
                                                            <a:pt x="861949" y="139077"/>
                                                            <a:pt x="887611" y="156979"/>
                                                            <a:pt x="866717" y="143050"/>
                                                          </a:cubicBezTo>
                                                          <a:cubicBezTo>
                                                            <a:pt x="861232" y="134823"/>
                                                            <a:pt x="860625" y="135511"/>
                                                            <a:pt x="858302" y="126220"/>
                                                          </a:cubicBezTo>
                                                          <a:cubicBezTo>
                                                            <a:pt x="856701" y="119817"/>
                                                            <a:pt x="855898" y="110194"/>
                                                            <a:pt x="852692" y="103781"/>
                                                          </a:cubicBezTo>
                                                          <a:cubicBezTo>
                                                            <a:pt x="850638" y="99672"/>
                                                            <a:pt x="840580" y="86697"/>
                                                            <a:pt x="838668" y="84147"/>
                                                          </a:cubicBezTo>
                                                          <a:cubicBezTo>
                                                            <a:pt x="835857" y="75714"/>
                                                            <a:pt x="836295" y="74566"/>
                                                            <a:pt x="830253" y="67317"/>
                                                          </a:cubicBezTo>
                                                          <a:cubicBezTo>
                                                            <a:pt x="827714" y="64270"/>
                                                            <a:pt x="824377" y="61950"/>
                                                            <a:pt x="821838" y="58903"/>
                                                          </a:cubicBezTo>
                                                          <a:cubicBezTo>
                                                            <a:pt x="810149" y="44876"/>
                                                            <a:pt x="823244" y="55165"/>
                                                            <a:pt x="807814" y="44878"/>
                                                          </a:cubicBezTo>
                                                          <a:cubicBezTo>
                                                            <a:pt x="802877" y="30067"/>
                                                            <a:pt x="806649" y="38924"/>
                                                            <a:pt x="793789" y="19634"/>
                                                          </a:cubicBezTo>
                                                          <a:cubicBezTo>
                                                            <a:pt x="791919" y="16829"/>
                                                            <a:pt x="791377" y="12285"/>
                                                            <a:pt x="788179" y="11219"/>
                                                          </a:cubicBezTo>
                                                          <a:cubicBezTo>
                                                            <a:pt x="785374" y="10284"/>
                                                            <a:pt x="782409" y="9736"/>
                                                            <a:pt x="779765" y="8414"/>
                                                          </a:cubicBezTo>
                                                          <a:cubicBezTo>
                                                            <a:pt x="776750" y="6906"/>
                                                            <a:pt x="774579" y="3773"/>
                                                            <a:pt x="771350" y="2804"/>
                                                          </a:cubicBezTo>
                                                          <a:cubicBezTo>
                                                            <a:pt x="765018" y="904"/>
                                                            <a:pt x="758261" y="935"/>
                                                            <a:pt x="751716" y="0"/>
                                                          </a:cubicBezTo>
                                                          <a:cubicBezTo>
                                                            <a:pt x="729966" y="14498"/>
                                                            <a:pt x="741282" y="9087"/>
                                                            <a:pt x="718057" y="16829"/>
                                                          </a:cubicBezTo>
                                                          <a:lnTo>
                                                            <a:pt x="709642" y="19634"/>
                                                          </a:lnTo>
                                                          <a:cubicBezTo>
                                                            <a:pt x="707772" y="25244"/>
                                                            <a:pt x="708952" y="33183"/>
                                                            <a:pt x="704032" y="36463"/>
                                                          </a:cubicBezTo>
                                                          <a:lnTo>
                                                            <a:pt x="687203" y="47683"/>
                                                          </a:lnTo>
                                                          <a:cubicBezTo>
                                                            <a:pt x="679082" y="53097"/>
                                                            <a:pt x="678054" y="55145"/>
                                                            <a:pt x="667568" y="56098"/>
                                                          </a:cubicBezTo>
                                                          <a:cubicBezTo>
                                                            <a:pt x="650782" y="57624"/>
                                                            <a:pt x="633909" y="57968"/>
                                                            <a:pt x="617080" y="58903"/>
                                                          </a:cubicBezTo>
                                                          <a:lnTo>
                                                            <a:pt x="600251" y="64512"/>
                                                          </a:lnTo>
                                                          <a:lnTo>
                                                            <a:pt x="591836" y="67317"/>
                                                          </a:lnTo>
                                                          <a:cubicBezTo>
                                                            <a:pt x="588961" y="71630"/>
                                                            <a:pt x="579180" y="88684"/>
                                                            <a:pt x="572202" y="92561"/>
                                                          </a:cubicBezTo>
                                                          <a:cubicBezTo>
                                                            <a:pt x="567033" y="95433"/>
                                                            <a:pt x="560982" y="96301"/>
                                                            <a:pt x="555372" y="98171"/>
                                                          </a:cubicBezTo>
                                                          <a:lnTo>
                                                            <a:pt x="546957" y="100976"/>
                                                          </a:lnTo>
                                                          <a:cubicBezTo>
                                                            <a:pt x="540412" y="100041"/>
                                                            <a:pt x="533493" y="100544"/>
                                                            <a:pt x="527323" y="98171"/>
                                                          </a:cubicBezTo>
                                                          <a:cubicBezTo>
                                                            <a:pt x="521030" y="95751"/>
                                                            <a:pt x="510494" y="86952"/>
                                                            <a:pt x="510494" y="86952"/>
                                                          </a:cubicBezTo>
                                                          <a:cubicBezTo>
                                                            <a:pt x="508624" y="84147"/>
                                                            <a:pt x="507268" y="80921"/>
                                                            <a:pt x="504884" y="78537"/>
                                                          </a:cubicBezTo>
                                                          <a:cubicBezTo>
                                                            <a:pt x="498427" y="72080"/>
                                                            <a:pt x="493832" y="72268"/>
                                                            <a:pt x="485249" y="70122"/>
                                                          </a:cubicBezTo>
                                                          <a:cubicBezTo>
                                                            <a:pt x="475753" y="71309"/>
                                                            <a:pt x="455205" y="72388"/>
                                                            <a:pt x="445981" y="78537"/>
                                                          </a:cubicBezTo>
                                                          <a:lnTo>
                                                            <a:pt x="437566" y="84147"/>
                                                          </a:lnTo>
                                                          <a:cubicBezTo>
                                                            <a:pt x="436437" y="83986"/>
                                                            <a:pt x="407666" y="80246"/>
                                                            <a:pt x="403907" y="78537"/>
                                                          </a:cubicBezTo>
                                                          <a:cubicBezTo>
                                                            <a:pt x="397769" y="75747"/>
                                                            <a:pt x="392688" y="71057"/>
                                                            <a:pt x="387078" y="67317"/>
                                                          </a:cubicBezTo>
                                                          <a:cubicBezTo>
                                                            <a:pt x="384273" y="65447"/>
                                                            <a:pt x="381861" y="62773"/>
                                                            <a:pt x="378663" y="61707"/>
                                                          </a:cubicBezTo>
                                                          <a:lnTo>
                                                            <a:pt x="370248" y="58903"/>
                                                          </a:lnTo>
                                                          <a:cubicBezTo>
                                                            <a:pt x="352484" y="59838"/>
                                                            <a:pt x="334398" y="58218"/>
                                                            <a:pt x="316955" y="61707"/>
                                                          </a:cubicBezTo>
                                                          <a:cubicBezTo>
                                                            <a:pt x="314056" y="62287"/>
                                                            <a:pt x="315997" y="67813"/>
                                                            <a:pt x="314150" y="70122"/>
                                                          </a:cubicBezTo>
                                                          <a:cubicBezTo>
                                                            <a:pt x="308791" y="76820"/>
                                                            <a:pt x="304096" y="75149"/>
                                                            <a:pt x="297321" y="78537"/>
                                                          </a:cubicBezTo>
                                                          <a:cubicBezTo>
                                                            <a:pt x="288128" y="83134"/>
                                                            <a:pt x="292646" y="85549"/>
                                                            <a:pt x="291711" y="86952"/>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8" name="Freeform 237"/>
                                                  <p:cNvSpPr/>
                                                  <p:nvPr/>
                                                </p:nvSpPr>
                                                <p:spPr>
                                                  <a:xfrm>
                                                    <a:off x="4947266" y="5149811"/>
                                                    <a:ext cx="819625" cy="541347"/>
                                                  </a:xfrm>
                                                  <a:custGeom>
                                                    <a:avLst/>
                                                    <a:gdLst>
                                                      <a:gd name="connsiteX0" fmla="*/ 93154 w 819625"/>
                                                      <a:gd name="connsiteY0" fmla="*/ 535737 h 541347"/>
                                                      <a:gd name="connsiteX1" fmla="*/ 93154 w 819625"/>
                                                      <a:gd name="connsiteY1" fmla="*/ 535737 h 541347"/>
                                                      <a:gd name="connsiteX2" fmla="*/ 87544 w 819625"/>
                                                      <a:gd name="connsiteY2" fmla="*/ 510493 h 541347"/>
                                                      <a:gd name="connsiteX3" fmla="*/ 93154 w 819625"/>
                                                      <a:gd name="connsiteY3" fmla="*/ 476834 h 541347"/>
                                                      <a:gd name="connsiteX4" fmla="*/ 90349 w 819625"/>
                                                      <a:gd name="connsiteY4" fmla="*/ 454395 h 541347"/>
                                                      <a:gd name="connsiteX5" fmla="*/ 84739 w 819625"/>
                                                      <a:gd name="connsiteY5" fmla="*/ 437566 h 541347"/>
                                                      <a:gd name="connsiteX6" fmla="*/ 81934 w 819625"/>
                                                      <a:gd name="connsiteY6" fmla="*/ 429151 h 541347"/>
                                                      <a:gd name="connsiteX7" fmla="*/ 79129 w 819625"/>
                                                      <a:gd name="connsiteY7" fmla="*/ 420736 h 541347"/>
                                                      <a:gd name="connsiteX8" fmla="*/ 48275 w 819625"/>
                                                      <a:gd name="connsiteY8" fmla="*/ 415126 h 541347"/>
                                                      <a:gd name="connsiteX9" fmla="*/ 39860 w 819625"/>
                                                      <a:gd name="connsiteY9" fmla="*/ 412322 h 541347"/>
                                                      <a:gd name="connsiteX10" fmla="*/ 28641 w 819625"/>
                                                      <a:gd name="connsiteY10" fmla="*/ 395492 h 541347"/>
                                                      <a:gd name="connsiteX11" fmla="*/ 11811 w 819625"/>
                                                      <a:gd name="connsiteY11" fmla="*/ 387077 h 541347"/>
                                                      <a:gd name="connsiteX12" fmla="*/ 11811 w 819625"/>
                                                      <a:gd name="connsiteY12" fmla="*/ 359028 h 541347"/>
                                                      <a:gd name="connsiteX13" fmla="*/ 20226 w 819625"/>
                                                      <a:gd name="connsiteY13" fmla="*/ 353418 h 541347"/>
                                                      <a:gd name="connsiteX14" fmla="*/ 11811 w 819625"/>
                                                      <a:gd name="connsiteY14" fmla="*/ 322564 h 541347"/>
                                                      <a:gd name="connsiteX15" fmla="*/ 9006 w 819625"/>
                                                      <a:gd name="connsiteY15" fmla="*/ 314150 h 541347"/>
                                                      <a:gd name="connsiteX16" fmla="*/ 3397 w 819625"/>
                                                      <a:gd name="connsiteY16" fmla="*/ 305735 h 541347"/>
                                                      <a:gd name="connsiteX17" fmla="*/ 6201 w 819625"/>
                                                      <a:gd name="connsiteY17" fmla="*/ 288906 h 541347"/>
                                                      <a:gd name="connsiteX18" fmla="*/ 23031 w 819625"/>
                                                      <a:gd name="connsiteY18" fmla="*/ 277686 h 541347"/>
                                                      <a:gd name="connsiteX19" fmla="*/ 31446 w 819625"/>
                                                      <a:gd name="connsiteY19" fmla="*/ 272076 h 541347"/>
                                                      <a:gd name="connsiteX20" fmla="*/ 45470 w 819625"/>
                                                      <a:gd name="connsiteY20" fmla="*/ 258052 h 541347"/>
                                                      <a:gd name="connsiteX21" fmla="*/ 51080 w 819625"/>
                                                      <a:gd name="connsiteY21" fmla="*/ 249637 h 541347"/>
                                                      <a:gd name="connsiteX22" fmla="*/ 67909 w 819625"/>
                                                      <a:gd name="connsiteY22" fmla="*/ 238417 h 541347"/>
                                                      <a:gd name="connsiteX23" fmla="*/ 70714 w 819625"/>
                                                      <a:gd name="connsiteY23" fmla="*/ 230002 h 541347"/>
                                                      <a:gd name="connsiteX24" fmla="*/ 76324 w 819625"/>
                                                      <a:gd name="connsiteY24" fmla="*/ 221588 h 541347"/>
                                                      <a:gd name="connsiteX25" fmla="*/ 67909 w 819625"/>
                                                      <a:gd name="connsiteY25" fmla="*/ 199149 h 541347"/>
                                                      <a:gd name="connsiteX26" fmla="*/ 42665 w 819625"/>
                                                      <a:gd name="connsiteY26" fmla="*/ 182319 h 541347"/>
                                                      <a:gd name="connsiteX27" fmla="*/ 34251 w 819625"/>
                                                      <a:gd name="connsiteY27" fmla="*/ 176709 h 541347"/>
                                                      <a:gd name="connsiteX28" fmla="*/ 25836 w 819625"/>
                                                      <a:gd name="connsiteY28" fmla="*/ 159880 h 541347"/>
                                                      <a:gd name="connsiteX29" fmla="*/ 23031 w 819625"/>
                                                      <a:gd name="connsiteY29" fmla="*/ 151465 h 541347"/>
                                                      <a:gd name="connsiteX30" fmla="*/ 11811 w 819625"/>
                                                      <a:gd name="connsiteY30" fmla="*/ 115001 h 541347"/>
                                                      <a:gd name="connsiteX31" fmla="*/ 3397 w 819625"/>
                                                      <a:gd name="connsiteY31" fmla="*/ 109391 h 541347"/>
                                                      <a:gd name="connsiteX32" fmla="*/ 3397 w 819625"/>
                                                      <a:gd name="connsiteY32" fmla="*/ 84147 h 541347"/>
                                                      <a:gd name="connsiteX33" fmla="*/ 14616 w 819625"/>
                                                      <a:gd name="connsiteY33" fmla="*/ 67318 h 541347"/>
                                                      <a:gd name="connsiteX34" fmla="*/ 25836 w 819625"/>
                                                      <a:gd name="connsiteY34" fmla="*/ 42074 h 541347"/>
                                                      <a:gd name="connsiteX35" fmla="*/ 37055 w 819625"/>
                                                      <a:gd name="connsiteY35" fmla="*/ 30854 h 541347"/>
                                                      <a:gd name="connsiteX36" fmla="*/ 39860 w 819625"/>
                                                      <a:gd name="connsiteY36" fmla="*/ 39269 h 541347"/>
                                                      <a:gd name="connsiteX37" fmla="*/ 56690 w 819625"/>
                                                      <a:gd name="connsiteY37" fmla="*/ 50488 h 541347"/>
                                                      <a:gd name="connsiteX38" fmla="*/ 62300 w 819625"/>
                                                      <a:gd name="connsiteY38" fmla="*/ 67318 h 541347"/>
                                                      <a:gd name="connsiteX39" fmla="*/ 73519 w 819625"/>
                                                      <a:gd name="connsiteY39" fmla="*/ 81342 h 541347"/>
                                                      <a:gd name="connsiteX40" fmla="*/ 81934 w 819625"/>
                                                      <a:gd name="connsiteY40" fmla="*/ 84147 h 541347"/>
                                                      <a:gd name="connsiteX41" fmla="*/ 101568 w 819625"/>
                                                      <a:gd name="connsiteY41" fmla="*/ 86952 h 541347"/>
                                                      <a:gd name="connsiteX42" fmla="*/ 129617 w 819625"/>
                                                      <a:gd name="connsiteY42" fmla="*/ 95367 h 541347"/>
                                                      <a:gd name="connsiteX43" fmla="*/ 138032 w 819625"/>
                                                      <a:gd name="connsiteY43" fmla="*/ 98172 h 541347"/>
                                                      <a:gd name="connsiteX44" fmla="*/ 152057 w 819625"/>
                                                      <a:gd name="connsiteY44" fmla="*/ 100977 h 541347"/>
                                                      <a:gd name="connsiteX45" fmla="*/ 168886 w 819625"/>
                                                      <a:gd name="connsiteY45" fmla="*/ 106587 h 541347"/>
                                                      <a:gd name="connsiteX46" fmla="*/ 177301 w 819625"/>
                                                      <a:gd name="connsiteY46" fmla="*/ 109391 h 541347"/>
                                                      <a:gd name="connsiteX47" fmla="*/ 185716 w 819625"/>
                                                      <a:gd name="connsiteY47" fmla="*/ 112196 h 541347"/>
                                                      <a:gd name="connsiteX48" fmla="*/ 208155 w 819625"/>
                                                      <a:gd name="connsiteY48" fmla="*/ 115001 h 541347"/>
                                                      <a:gd name="connsiteX49" fmla="*/ 222179 w 819625"/>
                                                      <a:gd name="connsiteY49" fmla="*/ 112196 h 541347"/>
                                                      <a:gd name="connsiteX50" fmla="*/ 239009 w 819625"/>
                                                      <a:gd name="connsiteY50" fmla="*/ 106587 h 541347"/>
                                                      <a:gd name="connsiteX51" fmla="*/ 247424 w 819625"/>
                                                      <a:gd name="connsiteY51" fmla="*/ 100977 h 541347"/>
                                                      <a:gd name="connsiteX52" fmla="*/ 401694 w 819625"/>
                                                      <a:gd name="connsiteY52" fmla="*/ 92562 h 541347"/>
                                                      <a:gd name="connsiteX53" fmla="*/ 426938 w 819625"/>
                                                      <a:gd name="connsiteY53" fmla="*/ 86952 h 541347"/>
                                                      <a:gd name="connsiteX54" fmla="*/ 435352 w 819625"/>
                                                      <a:gd name="connsiteY54" fmla="*/ 81342 h 541347"/>
                                                      <a:gd name="connsiteX55" fmla="*/ 443767 w 819625"/>
                                                      <a:gd name="connsiteY55" fmla="*/ 78537 h 541347"/>
                                                      <a:gd name="connsiteX56" fmla="*/ 460597 w 819625"/>
                                                      <a:gd name="connsiteY56" fmla="*/ 70123 h 541347"/>
                                                      <a:gd name="connsiteX57" fmla="*/ 485841 w 819625"/>
                                                      <a:gd name="connsiteY57" fmla="*/ 53293 h 541347"/>
                                                      <a:gd name="connsiteX58" fmla="*/ 494255 w 819625"/>
                                                      <a:gd name="connsiteY58" fmla="*/ 47683 h 541347"/>
                                                      <a:gd name="connsiteX59" fmla="*/ 502670 w 819625"/>
                                                      <a:gd name="connsiteY59" fmla="*/ 42074 h 541347"/>
                                                      <a:gd name="connsiteX60" fmla="*/ 516695 w 819625"/>
                                                      <a:gd name="connsiteY60" fmla="*/ 28049 h 541347"/>
                                                      <a:gd name="connsiteX61" fmla="*/ 533524 w 819625"/>
                                                      <a:gd name="connsiteY61" fmla="*/ 22439 h 541347"/>
                                                      <a:gd name="connsiteX62" fmla="*/ 541939 w 819625"/>
                                                      <a:gd name="connsiteY62" fmla="*/ 16829 h 541347"/>
                                                      <a:gd name="connsiteX63" fmla="*/ 558768 w 819625"/>
                                                      <a:gd name="connsiteY63" fmla="*/ 11220 h 541347"/>
                                                      <a:gd name="connsiteX64" fmla="*/ 567183 w 819625"/>
                                                      <a:gd name="connsiteY64" fmla="*/ 8415 h 541347"/>
                                                      <a:gd name="connsiteX65" fmla="*/ 575598 w 819625"/>
                                                      <a:gd name="connsiteY65" fmla="*/ 5610 h 541347"/>
                                                      <a:gd name="connsiteX66" fmla="*/ 584013 w 819625"/>
                                                      <a:gd name="connsiteY66" fmla="*/ 2805 h 541347"/>
                                                      <a:gd name="connsiteX67" fmla="*/ 614867 w 819625"/>
                                                      <a:gd name="connsiteY67" fmla="*/ 0 h 541347"/>
                                                      <a:gd name="connsiteX68" fmla="*/ 679379 w 819625"/>
                                                      <a:gd name="connsiteY68" fmla="*/ 5610 h 541347"/>
                                                      <a:gd name="connsiteX69" fmla="*/ 687794 w 819625"/>
                                                      <a:gd name="connsiteY69" fmla="*/ 8415 h 541347"/>
                                                      <a:gd name="connsiteX70" fmla="*/ 696209 w 819625"/>
                                                      <a:gd name="connsiteY70" fmla="*/ 14025 h 541347"/>
                                                      <a:gd name="connsiteX71" fmla="*/ 724258 w 819625"/>
                                                      <a:gd name="connsiteY71" fmla="*/ 16829 h 541347"/>
                                                      <a:gd name="connsiteX72" fmla="*/ 741087 w 819625"/>
                                                      <a:gd name="connsiteY72" fmla="*/ 28049 h 541347"/>
                                                      <a:gd name="connsiteX73" fmla="*/ 749502 w 819625"/>
                                                      <a:gd name="connsiteY73" fmla="*/ 30854 h 541347"/>
                                                      <a:gd name="connsiteX74" fmla="*/ 757917 w 819625"/>
                                                      <a:gd name="connsiteY74" fmla="*/ 36464 h 541347"/>
                                                      <a:gd name="connsiteX75" fmla="*/ 805600 w 819625"/>
                                                      <a:gd name="connsiteY75" fmla="*/ 44879 h 541347"/>
                                                      <a:gd name="connsiteX76" fmla="*/ 811210 w 819625"/>
                                                      <a:gd name="connsiteY76" fmla="*/ 53293 h 541347"/>
                                                      <a:gd name="connsiteX77" fmla="*/ 819625 w 819625"/>
                                                      <a:gd name="connsiteY77" fmla="*/ 81342 h 541347"/>
                                                      <a:gd name="connsiteX78" fmla="*/ 816820 w 819625"/>
                                                      <a:gd name="connsiteY78" fmla="*/ 100977 h 541347"/>
                                                      <a:gd name="connsiteX79" fmla="*/ 780356 w 819625"/>
                                                      <a:gd name="connsiteY79" fmla="*/ 115001 h 541347"/>
                                                      <a:gd name="connsiteX80" fmla="*/ 771941 w 819625"/>
                                                      <a:gd name="connsiteY80" fmla="*/ 117806 h 541347"/>
                                                      <a:gd name="connsiteX81" fmla="*/ 757917 w 819625"/>
                                                      <a:gd name="connsiteY81" fmla="*/ 134636 h 541347"/>
                                                      <a:gd name="connsiteX82" fmla="*/ 755112 w 819625"/>
                                                      <a:gd name="connsiteY82" fmla="*/ 143050 h 541347"/>
                                                      <a:gd name="connsiteX83" fmla="*/ 741087 w 819625"/>
                                                      <a:gd name="connsiteY83" fmla="*/ 159880 h 541347"/>
                                                      <a:gd name="connsiteX84" fmla="*/ 738282 w 819625"/>
                                                      <a:gd name="connsiteY84" fmla="*/ 168295 h 541347"/>
                                                      <a:gd name="connsiteX85" fmla="*/ 729868 w 819625"/>
                                                      <a:gd name="connsiteY85" fmla="*/ 232807 h 541347"/>
                                                      <a:gd name="connsiteX86" fmla="*/ 721453 w 819625"/>
                                                      <a:gd name="connsiteY86" fmla="*/ 238417 h 541347"/>
                                                      <a:gd name="connsiteX87" fmla="*/ 715843 w 819625"/>
                                                      <a:gd name="connsiteY87" fmla="*/ 246832 h 541347"/>
                                                      <a:gd name="connsiteX88" fmla="*/ 699014 w 819625"/>
                                                      <a:gd name="connsiteY88" fmla="*/ 258052 h 541347"/>
                                                      <a:gd name="connsiteX89" fmla="*/ 696209 w 819625"/>
                                                      <a:gd name="connsiteY89" fmla="*/ 266466 h 541347"/>
                                                      <a:gd name="connsiteX90" fmla="*/ 690599 w 819625"/>
                                                      <a:gd name="connsiteY90" fmla="*/ 274881 h 541347"/>
                                                      <a:gd name="connsiteX91" fmla="*/ 699014 w 819625"/>
                                                      <a:gd name="connsiteY91" fmla="*/ 294515 h 541347"/>
                                                      <a:gd name="connsiteX92" fmla="*/ 710233 w 819625"/>
                                                      <a:gd name="connsiteY92" fmla="*/ 297320 h 541347"/>
                                                      <a:gd name="connsiteX93" fmla="*/ 727063 w 819625"/>
                                                      <a:gd name="connsiteY93" fmla="*/ 305735 h 541347"/>
                                                      <a:gd name="connsiteX94" fmla="*/ 729868 w 819625"/>
                                                      <a:gd name="connsiteY94" fmla="*/ 316955 h 541347"/>
                                                      <a:gd name="connsiteX95" fmla="*/ 732673 w 819625"/>
                                                      <a:gd name="connsiteY95" fmla="*/ 330979 h 541347"/>
                                                      <a:gd name="connsiteX96" fmla="*/ 735478 w 819625"/>
                                                      <a:gd name="connsiteY96" fmla="*/ 339394 h 541347"/>
                                                      <a:gd name="connsiteX97" fmla="*/ 743892 w 819625"/>
                                                      <a:gd name="connsiteY97" fmla="*/ 345004 h 541347"/>
                                                      <a:gd name="connsiteX98" fmla="*/ 755112 w 819625"/>
                                                      <a:gd name="connsiteY98" fmla="*/ 361833 h 541347"/>
                                                      <a:gd name="connsiteX99" fmla="*/ 760722 w 819625"/>
                                                      <a:gd name="connsiteY99" fmla="*/ 370248 h 541347"/>
                                                      <a:gd name="connsiteX100" fmla="*/ 763527 w 819625"/>
                                                      <a:gd name="connsiteY100" fmla="*/ 378663 h 541347"/>
                                                      <a:gd name="connsiteX101" fmla="*/ 760722 w 819625"/>
                                                      <a:gd name="connsiteY101" fmla="*/ 387077 h 541347"/>
                                                      <a:gd name="connsiteX102" fmla="*/ 724258 w 819625"/>
                                                      <a:gd name="connsiteY102" fmla="*/ 389882 h 541347"/>
                                                      <a:gd name="connsiteX103" fmla="*/ 707428 w 819625"/>
                                                      <a:gd name="connsiteY103" fmla="*/ 403907 h 541347"/>
                                                      <a:gd name="connsiteX104" fmla="*/ 699014 w 819625"/>
                                                      <a:gd name="connsiteY104" fmla="*/ 406712 h 541347"/>
                                                      <a:gd name="connsiteX105" fmla="*/ 687794 w 819625"/>
                                                      <a:gd name="connsiteY105" fmla="*/ 403907 h 541347"/>
                                                      <a:gd name="connsiteX106" fmla="*/ 682184 w 819625"/>
                                                      <a:gd name="connsiteY106" fmla="*/ 392687 h 541347"/>
                                                      <a:gd name="connsiteX107" fmla="*/ 676574 w 819625"/>
                                                      <a:gd name="connsiteY107" fmla="*/ 384272 h 541347"/>
                                                      <a:gd name="connsiteX108" fmla="*/ 651330 w 819625"/>
                                                      <a:gd name="connsiteY108" fmla="*/ 370248 h 541347"/>
                                                      <a:gd name="connsiteX109" fmla="*/ 631696 w 819625"/>
                                                      <a:gd name="connsiteY109" fmla="*/ 375858 h 541347"/>
                                                      <a:gd name="connsiteX110" fmla="*/ 623281 w 819625"/>
                                                      <a:gd name="connsiteY110" fmla="*/ 381468 h 541347"/>
                                                      <a:gd name="connsiteX111" fmla="*/ 617671 w 819625"/>
                                                      <a:gd name="connsiteY111" fmla="*/ 389882 h 541347"/>
                                                      <a:gd name="connsiteX112" fmla="*/ 598037 w 819625"/>
                                                      <a:gd name="connsiteY112" fmla="*/ 398297 h 541347"/>
                                                      <a:gd name="connsiteX113" fmla="*/ 589622 w 819625"/>
                                                      <a:gd name="connsiteY113" fmla="*/ 401102 h 541347"/>
                                                      <a:gd name="connsiteX114" fmla="*/ 567183 w 819625"/>
                                                      <a:gd name="connsiteY114" fmla="*/ 420736 h 541347"/>
                                                      <a:gd name="connsiteX115" fmla="*/ 555963 w 819625"/>
                                                      <a:gd name="connsiteY115" fmla="*/ 440371 h 541347"/>
                                                      <a:gd name="connsiteX116" fmla="*/ 547549 w 819625"/>
                                                      <a:gd name="connsiteY116" fmla="*/ 443176 h 541347"/>
                                                      <a:gd name="connsiteX117" fmla="*/ 519500 w 819625"/>
                                                      <a:gd name="connsiteY117" fmla="*/ 448785 h 541347"/>
                                                      <a:gd name="connsiteX118" fmla="*/ 516695 w 819625"/>
                                                      <a:gd name="connsiteY118" fmla="*/ 474029 h 541347"/>
                                                      <a:gd name="connsiteX119" fmla="*/ 519500 w 819625"/>
                                                      <a:gd name="connsiteY119" fmla="*/ 485249 h 541347"/>
                                                      <a:gd name="connsiteX120" fmla="*/ 508280 w 819625"/>
                                                      <a:gd name="connsiteY120" fmla="*/ 510493 h 541347"/>
                                                      <a:gd name="connsiteX121" fmla="*/ 502670 w 819625"/>
                                                      <a:gd name="connsiteY121" fmla="*/ 518908 h 541347"/>
                                                      <a:gd name="connsiteX122" fmla="*/ 485841 w 819625"/>
                                                      <a:gd name="connsiteY122" fmla="*/ 524518 h 541347"/>
                                                      <a:gd name="connsiteX123" fmla="*/ 477426 w 819625"/>
                                                      <a:gd name="connsiteY123" fmla="*/ 527323 h 541347"/>
                                                      <a:gd name="connsiteX124" fmla="*/ 432547 w 819625"/>
                                                      <a:gd name="connsiteY124" fmla="*/ 527323 h 541347"/>
                                                      <a:gd name="connsiteX125" fmla="*/ 421328 w 819625"/>
                                                      <a:gd name="connsiteY125" fmla="*/ 532933 h 541347"/>
                                                      <a:gd name="connsiteX126" fmla="*/ 404498 w 819625"/>
                                                      <a:gd name="connsiteY126" fmla="*/ 538542 h 541347"/>
                                                      <a:gd name="connsiteX127" fmla="*/ 384864 w 819625"/>
                                                      <a:gd name="connsiteY127" fmla="*/ 535737 h 541347"/>
                                                      <a:gd name="connsiteX128" fmla="*/ 376449 w 819625"/>
                                                      <a:gd name="connsiteY128" fmla="*/ 524518 h 541347"/>
                                                      <a:gd name="connsiteX129" fmla="*/ 368035 w 819625"/>
                                                      <a:gd name="connsiteY129" fmla="*/ 516103 h 541347"/>
                                                      <a:gd name="connsiteX130" fmla="*/ 359620 w 819625"/>
                                                      <a:gd name="connsiteY130" fmla="*/ 513298 h 541347"/>
                                                      <a:gd name="connsiteX131" fmla="*/ 323156 w 819625"/>
                                                      <a:gd name="connsiteY131" fmla="*/ 507688 h 541347"/>
                                                      <a:gd name="connsiteX132" fmla="*/ 306327 w 819625"/>
                                                      <a:gd name="connsiteY132" fmla="*/ 499274 h 541347"/>
                                                      <a:gd name="connsiteX133" fmla="*/ 297912 w 819625"/>
                                                      <a:gd name="connsiteY133" fmla="*/ 493664 h 541347"/>
                                                      <a:gd name="connsiteX134" fmla="*/ 275473 w 819625"/>
                                                      <a:gd name="connsiteY134" fmla="*/ 482444 h 541347"/>
                                                      <a:gd name="connsiteX135" fmla="*/ 244619 w 819625"/>
                                                      <a:gd name="connsiteY135" fmla="*/ 485249 h 541347"/>
                                                      <a:gd name="connsiteX136" fmla="*/ 222179 w 819625"/>
                                                      <a:gd name="connsiteY136" fmla="*/ 496469 h 541347"/>
                                                      <a:gd name="connsiteX137" fmla="*/ 205350 w 819625"/>
                                                      <a:gd name="connsiteY137" fmla="*/ 507688 h 541347"/>
                                                      <a:gd name="connsiteX138" fmla="*/ 163276 w 819625"/>
                                                      <a:gd name="connsiteY138" fmla="*/ 510493 h 541347"/>
                                                      <a:gd name="connsiteX139" fmla="*/ 154862 w 819625"/>
                                                      <a:gd name="connsiteY139" fmla="*/ 516103 h 541347"/>
                                                      <a:gd name="connsiteX140" fmla="*/ 138032 w 819625"/>
                                                      <a:gd name="connsiteY140" fmla="*/ 530128 h 541347"/>
                                                      <a:gd name="connsiteX141" fmla="*/ 109983 w 819625"/>
                                                      <a:gd name="connsiteY141" fmla="*/ 538542 h 541347"/>
                                                      <a:gd name="connsiteX142" fmla="*/ 101568 w 819625"/>
                                                      <a:gd name="connsiteY142" fmla="*/ 541347 h 541347"/>
                                                      <a:gd name="connsiteX143" fmla="*/ 93154 w 819625"/>
                                                      <a:gd name="connsiteY143" fmla="*/ 535737 h 54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19625" h="541347">
                                                        <a:moveTo>
                                                          <a:pt x="93154" y="535737"/>
                                                        </a:moveTo>
                                                        <a:lnTo>
                                                          <a:pt x="93154" y="535737"/>
                                                        </a:lnTo>
                                                        <a:cubicBezTo>
                                                          <a:pt x="91284" y="527322"/>
                                                          <a:pt x="88022" y="519100"/>
                                                          <a:pt x="87544" y="510493"/>
                                                        </a:cubicBezTo>
                                                        <a:cubicBezTo>
                                                          <a:pt x="86649" y="494389"/>
                                                          <a:pt x="89078" y="489063"/>
                                                          <a:pt x="93154" y="476834"/>
                                                        </a:cubicBezTo>
                                                        <a:cubicBezTo>
                                                          <a:pt x="92219" y="469354"/>
                                                          <a:pt x="91928" y="461766"/>
                                                          <a:pt x="90349" y="454395"/>
                                                        </a:cubicBezTo>
                                                        <a:cubicBezTo>
                                                          <a:pt x="89110" y="448613"/>
                                                          <a:pt x="86609" y="443176"/>
                                                          <a:pt x="84739" y="437566"/>
                                                        </a:cubicBezTo>
                                                        <a:lnTo>
                                                          <a:pt x="81934" y="429151"/>
                                                        </a:lnTo>
                                                        <a:cubicBezTo>
                                                          <a:pt x="80999" y="426346"/>
                                                          <a:pt x="81934" y="421671"/>
                                                          <a:pt x="79129" y="420736"/>
                                                        </a:cubicBezTo>
                                                        <a:cubicBezTo>
                                                          <a:pt x="63563" y="415547"/>
                                                          <a:pt x="73648" y="418298"/>
                                                          <a:pt x="48275" y="415126"/>
                                                        </a:cubicBezTo>
                                                        <a:cubicBezTo>
                                                          <a:pt x="45470" y="414191"/>
                                                          <a:pt x="41951" y="414413"/>
                                                          <a:pt x="39860" y="412322"/>
                                                        </a:cubicBezTo>
                                                        <a:cubicBezTo>
                                                          <a:pt x="35093" y="407555"/>
                                                          <a:pt x="34251" y="399232"/>
                                                          <a:pt x="28641" y="395492"/>
                                                        </a:cubicBezTo>
                                                        <a:cubicBezTo>
                                                          <a:pt x="17766" y="388242"/>
                                                          <a:pt x="23424" y="390948"/>
                                                          <a:pt x="11811" y="387077"/>
                                                        </a:cubicBezTo>
                                                        <a:cubicBezTo>
                                                          <a:pt x="8219" y="376303"/>
                                                          <a:pt x="5672" y="372842"/>
                                                          <a:pt x="11811" y="359028"/>
                                                        </a:cubicBezTo>
                                                        <a:cubicBezTo>
                                                          <a:pt x="13180" y="355947"/>
                                                          <a:pt x="17421" y="355288"/>
                                                          <a:pt x="20226" y="353418"/>
                                                        </a:cubicBezTo>
                                                        <a:cubicBezTo>
                                                          <a:pt x="16262" y="333597"/>
                                                          <a:pt x="18928" y="343915"/>
                                                          <a:pt x="11811" y="322564"/>
                                                        </a:cubicBezTo>
                                                        <a:cubicBezTo>
                                                          <a:pt x="10876" y="319759"/>
                                                          <a:pt x="10646" y="316610"/>
                                                          <a:pt x="9006" y="314150"/>
                                                        </a:cubicBezTo>
                                                        <a:lnTo>
                                                          <a:pt x="3397" y="305735"/>
                                                        </a:lnTo>
                                                        <a:cubicBezTo>
                                                          <a:pt x="4332" y="300125"/>
                                                          <a:pt x="2940" y="293565"/>
                                                          <a:pt x="6201" y="288906"/>
                                                        </a:cubicBezTo>
                                                        <a:cubicBezTo>
                                                          <a:pt x="10067" y="283382"/>
                                                          <a:pt x="17421" y="281426"/>
                                                          <a:pt x="23031" y="277686"/>
                                                        </a:cubicBezTo>
                                                        <a:lnTo>
                                                          <a:pt x="31446" y="272076"/>
                                                        </a:lnTo>
                                                        <a:cubicBezTo>
                                                          <a:pt x="46401" y="249640"/>
                                                          <a:pt x="26774" y="276747"/>
                                                          <a:pt x="45470" y="258052"/>
                                                        </a:cubicBezTo>
                                                        <a:cubicBezTo>
                                                          <a:pt x="47854" y="255668"/>
                                                          <a:pt x="48543" y="251857"/>
                                                          <a:pt x="51080" y="249637"/>
                                                        </a:cubicBezTo>
                                                        <a:cubicBezTo>
                                                          <a:pt x="56154" y="245197"/>
                                                          <a:pt x="67909" y="238417"/>
                                                          <a:pt x="67909" y="238417"/>
                                                        </a:cubicBezTo>
                                                        <a:cubicBezTo>
                                                          <a:pt x="68844" y="235612"/>
                                                          <a:pt x="69392" y="232647"/>
                                                          <a:pt x="70714" y="230002"/>
                                                        </a:cubicBezTo>
                                                        <a:cubicBezTo>
                                                          <a:pt x="72222" y="226987"/>
                                                          <a:pt x="75906" y="224933"/>
                                                          <a:pt x="76324" y="221588"/>
                                                        </a:cubicBezTo>
                                                        <a:cubicBezTo>
                                                          <a:pt x="77113" y="215276"/>
                                                          <a:pt x="73155" y="203739"/>
                                                          <a:pt x="67909" y="199149"/>
                                                        </a:cubicBezTo>
                                                        <a:cubicBezTo>
                                                          <a:pt x="67904" y="199144"/>
                                                          <a:pt x="46875" y="185126"/>
                                                          <a:pt x="42665" y="182319"/>
                                                        </a:cubicBezTo>
                                                        <a:lnTo>
                                                          <a:pt x="34251" y="176709"/>
                                                        </a:lnTo>
                                                        <a:cubicBezTo>
                                                          <a:pt x="27200" y="155558"/>
                                                          <a:pt x="36712" y="181632"/>
                                                          <a:pt x="25836" y="159880"/>
                                                        </a:cubicBezTo>
                                                        <a:cubicBezTo>
                                                          <a:pt x="24514" y="157235"/>
                                                          <a:pt x="23966" y="154270"/>
                                                          <a:pt x="23031" y="151465"/>
                                                        </a:cubicBezTo>
                                                        <a:cubicBezTo>
                                                          <a:pt x="21321" y="139494"/>
                                                          <a:pt x="21228" y="124419"/>
                                                          <a:pt x="11811" y="115001"/>
                                                        </a:cubicBezTo>
                                                        <a:cubicBezTo>
                                                          <a:pt x="9427" y="112617"/>
                                                          <a:pt x="6202" y="111261"/>
                                                          <a:pt x="3397" y="109391"/>
                                                        </a:cubicBezTo>
                                                        <a:cubicBezTo>
                                                          <a:pt x="-66" y="99003"/>
                                                          <a:pt x="-2088" y="97312"/>
                                                          <a:pt x="3397" y="84147"/>
                                                        </a:cubicBezTo>
                                                        <a:cubicBezTo>
                                                          <a:pt x="5990" y="77924"/>
                                                          <a:pt x="12484" y="73714"/>
                                                          <a:pt x="14616" y="67318"/>
                                                        </a:cubicBezTo>
                                                        <a:cubicBezTo>
                                                          <a:pt x="21292" y="47290"/>
                                                          <a:pt x="16946" y="55408"/>
                                                          <a:pt x="25836" y="42074"/>
                                                        </a:cubicBezTo>
                                                        <a:cubicBezTo>
                                                          <a:pt x="26904" y="38869"/>
                                                          <a:pt x="28507" y="26580"/>
                                                          <a:pt x="37055" y="30854"/>
                                                        </a:cubicBezTo>
                                                        <a:cubicBezTo>
                                                          <a:pt x="39700" y="32176"/>
                                                          <a:pt x="37769" y="37178"/>
                                                          <a:pt x="39860" y="39269"/>
                                                        </a:cubicBezTo>
                                                        <a:cubicBezTo>
                                                          <a:pt x="44628" y="44036"/>
                                                          <a:pt x="56690" y="50488"/>
                                                          <a:pt x="56690" y="50488"/>
                                                        </a:cubicBezTo>
                                                        <a:lnTo>
                                                          <a:pt x="62300" y="67318"/>
                                                        </a:lnTo>
                                                        <a:cubicBezTo>
                                                          <a:pt x="65535" y="77023"/>
                                                          <a:pt x="63370" y="76268"/>
                                                          <a:pt x="73519" y="81342"/>
                                                        </a:cubicBezTo>
                                                        <a:cubicBezTo>
                                                          <a:pt x="76164" y="82664"/>
                                                          <a:pt x="79035" y="83567"/>
                                                          <a:pt x="81934" y="84147"/>
                                                        </a:cubicBezTo>
                                                        <a:cubicBezTo>
                                                          <a:pt x="88417" y="85444"/>
                                                          <a:pt x="95023" y="86017"/>
                                                          <a:pt x="101568" y="86952"/>
                                                        </a:cubicBezTo>
                                                        <a:cubicBezTo>
                                                          <a:pt x="141565" y="100284"/>
                                                          <a:pt x="99943" y="86888"/>
                                                          <a:pt x="129617" y="95367"/>
                                                        </a:cubicBezTo>
                                                        <a:cubicBezTo>
                                                          <a:pt x="132460" y="96179"/>
                                                          <a:pt x="135164" y="97455"/>
                                                          <a:pt x="138032" y="98172"/>
                                                        </a:cubicBezTo>
                                                        <a:cubicBezTo>
                                                          <a:pt x="142657" y="99328"/>
                                                          <a:pt x="147457" y="99723"/>
                                                          <a:pt x="152057" y="100977"/>
                                                        </a:cubicBezTo>
                                                        <a:cubicBezTo>
                                                          <a:pt x="157762" y="102533"/>
                                                          <a:pt x="163276" y="104717"/>
                                                          <a:pt x="168886" y="106587"/>
                                                        </a:cubicBezTo>
                                                        <a:lnTo>
                                                          <a:pt x="177301" y="109391"/>
                                                        </a:lnTo>
                                                        <a:cubicBezTo>
                                                          <a:pt x="180106" y="110326"/>
                                                          <a:pt x="182782" y="111829"/>
                                                          <a:pt x="185716" y="112196"/>
                                                        </a:cubicBezTo>
                                                        <a:lnTo>
                                                          <a:pt x="208155" y="115001"/>
                                                        </a:lnTo>
                                                        <a:cubicBezTo>
                                                          <a:pt x="212830" y="114066"/>
                                                          <a:pt x="217580" y="113450"/>
                                                          <a:pt x="222179" y="112196"/>
                                                        </a:cubicBezTo>
                                                        <a:cubicBezTo>
                                                          <a:pt x="227884" y="110640"/>
                                                          <a:pt x="239009" y="106587"/>
                                                          <a:pt x="239009" y="106587"/>
                                                        </a:cubicBezTo>
                                                        <a:cubicBezTo>
                                                          <a:pt x="241814" y="104717"/>
                                                          <a:pt x="244343" y="102346"/>
                                                          <a:pt x="247424" y="100977"/>
                                                        </a:cubicBezTo>
                                                        <a:cubicBezTo>
                                                          <a:pt x="291925" y="81198"/>
                                                          <a:pt x="380779" y="92989"/>
                                                          <a:pt x="401694" y="92562"/>
                                                        </a:cubicBezTo>
                                                        <a:cubicBezTo>
                                                          <a:pt x="408156" y="91485"/>
                                                          <a:pt x="420034" y="90404"/>
                                                          <a:pt x="426938" y="86952"/>
                                                        </a:cubicBezTo>
                                                        <a:cubicBezTo>
                                                          <a:pt x="429953" y="85444"/>
                                                          <a:pt x="432337" y="82850"/>
                                                          <a:pt x="435352" y="81342"/>
                                                        </a:cubicBezTo>
                                                        <a:cubicBezTo>
                                                          <a:pt x="437997" y="80020"/>
                                                          <a:pt x="441122" y="79859"/>
                                                          <a:pt x="443767" y="78537"/>
                                                        </a:cubicBezTo>
                                                        <a:cubicBezTo>
                                                          <a:pt x="465518" y="67663"/>
                                                          <a:pt x="439445" y="77174"/>
                                                          <a:pt x="460597" y="70123"/>
                                                        </a:cubicBezTo>
                                                        <a:lnTo>
                                                          <a:pt x="485841" y="53293"/>
                                                        </a:lnTo>
                                                        <a:lnTo>
                                                          <a:pt x="494255" y="47683"/>
                                                        </a:lnTo>
                                                        <a:lnTo>
                                                          <a:pt x="502670" y="42074"/>
                                                        </a:lnTo>
                                                        <a:cubicBezTo>
                                                          <a:pt x="507788" y="34397"/>
                                                          <a:pt x="507837" y="31986"/>
                                                          <a:pt x="516695" y="28049"/>
                                                        </a:cubicBezTo>
                                                        <a:cubicBezTo>
                                                          <a:pt x="522098" y="25647"/>
                                                          <a:pt x="528604" y="25719"/>
                                                          <a:pt x="533524" y="22439"/>
                                                        </a:cubicBezTo>
                                                        <a:cubicBezTo>
                                                          <a:pt x="536329" y="20569"/>
                                                          <a:pt x="538858" y="18198"/>
                                                          <a:pt x="541939" y="16829"/>
                                                        </a:cubicBezTo>
                                                        <a:cubicBezTo>
                                                          <a:pt x="547342" y="14428"/>
                                                          <a:pt x="553158" y="13090"/>
                                                          <a:pt x="558768" y="11220"/>
                                                        </a:cubicBezTo>
                                                        <a:lnTo>
                                                          <a:pt x="567183" y="8415"/>
                                                        </a:lnTo>
                                                        <a:lnTo>
                                                          <a:pt x="575598" y="5610"/>
                                                        </a:lnTo>
                                                        <a:cubicBezTo>
                                                          <a:pt x="578403" y="4675"/>
                                                          <a:pt x="581068" y="3073"/>
                                                          <a:pt x="584013" y="2805"/>
                                                        </a:cubicBezTo>
                                                        <a:lnTo>
                                                          <a:pt x="614867" y="0"/>
                                                        </a:lnTo>
                                                        <a:cubicBezTo>
                                                          <a:pt x="637260" y="1317"/>
                                                          <a:pt x="657906" y="838"/>
                                                          <a:pt x="679379" y="5610"/>
                                                        </a:cubicBezTo>
                                                        <a:cubicBezTo>
                                                          <a:pt x="682265" y="6251"/>
                                                          <a:pt x="685149" y="7093"/>
                                                          <a:pt x="687794" y="8415"/>
                                                        </a:cubicBezTo>
                                                        <a:cubicBezTo>
                                                          <a:pt x="690809" y="9923"/>
                                                          <a:pt x="692924" y="13267"/>
                                                          <a:pt x="696209" y="14025"/>
                                                        </a:cubicBezTo>
                                                        <a:cubicBezTo>
                                                          <a:pt x="705365" y="16138"/>
                                                          <a:pt x="714908" y="15894"/>
                                                          <a:pt x="724258" y="16829"/>
                                                        </a:cubicBezTo>
                                                        <a:cubicBezTo>
                                                          <a:pt x="744267" y="23499"/>
                                                          <a:pt x="720077" y="14041"/>
                                                          <a:pt x="741087" y="28049"/>
                                                        </a:cubicBezTo>
                                                        <a:cubicBezTo>
                                                          <a:pt x="743547" y="29689"/>
                                                          <a:pt x="746857" y="29532"/>
                                                          <a:pt x="749502" y="30854"/>
                                                        </a:cubicBezTo>
                                                        <a:cubicBezTo>
                                                          <a:pt x="752517" y="32362"/>
                                                          <a:pt x="754836" y="35095"/>
                                                          <a:pt x="757917" y="36464"/>
                                                        </a:cubicBezTo>
                                                        <a:cubicBezTo>
                                                          <a:pt x="776175" y="44579"/>
                                                          <a:pt x="783471" y="42867"/>
                                                          <a:pt x="805600" y="44879"/>
                                                        </a:cubicBezTo>
                                                        <a:cubicBezTo>
                                                          <a:pt x="807470" y="47684"/>
                                                          <a:pt x="809841" y="50213"/>
                                                          <a:pt x="811210" y="53293"/>
                                                        </a:cubicBezTo>
                                                        <a:cubicBezTo>
                                                          <a:pt x="815111" y="62071"/>
                                                          <a:pt x="817294" y="72019"/>
                                                          <a:pt x="819625" y="81342"/>
                                                        </a:cubicBezTo>
                                                        <a:cubicBezTo>
                                                          <a:pt x="818690" y="87887"/>
                                                          <a:pt x="820370" y="95399"/>
                                                          <a:pt x="816820" y="100977"/>
                                                        </a:cubicBezTo>
                                                        <a:cubicBezTo>
                                                          <a:pt x="808633" y="113842"/>
                                                          <a:pt x="792796" y="113224"/>
                                                          <a:pt x="780356" y="115001"/>
                                                        </a:cubicBezTo>
                                                        <a:cubicBezTo>
                                                          <a:pt x="777551" y="115936"/>
                                                          <a:pt x="774401" y="116166"/>
                                                          <a:pt x="771941" y="117806"/>
                                                        </a:cubicBezTo>
                                                        <a:cubicBezTo>
                                                          <a:pt x="767289" y="120907"/>
                                                          <a:pt x="760504" y="129463"/>
                                                          <a:pt x="757917" y="134636"/>
                                                        </a:cubicBezTo>
                                                        <a:cubicBezTo>
                                                          <a:pt x="756595" y="137280"/>
                                                          <a:pt x="756434" y="140406"/>
                                                          <a:pt x="755112" y="143050"/>
                                                        </a:cubicBezTo>
                                                        <a:cubicBezTo>
                                                          <a:pt x="751206" y="150861"/>
                                                          <a:pt x="747291" y="153676"/>
                                                          <a:pt x="741087" y="159880"/>
                                                        </a:cubicBezTo>
                                                        <a:cubicBezTo>
                                                          <a:pt x="740152" y="162685"/>
                                                          <a:pt x="738538" y="165349"/>
                                                          <a:pt x="738282" y="168295"/>
                                                        </a:cubicBezTo>
                                                        <a:cubicBezTo>
                                                          <a:pt x="737132" y="181524"/>
                                                          <a:pt x="745536" y="217140"/>
                                                          <a:pt x="729868" y="232807"/>
                                                        </a:cubicBezTo>
                                                        <a:cubicBezTo>
                                                          <a:pt x="727484" y="235191"/>
                                                          <a:pt x="724258" y="236547"/>
                                                          <a:pt x="721453" y="238417"/>
                                                        </a:cubicBezTo>
                                                        <a:cubicBezTo>
                                                          <a:pt x="719583" y="241222"/>
                                                          <a:pt x="718380" y="244612"/>
                                                          <a:pt x="715843" y="246832"/>
                                                        </a:cubicBezTo>
                                                        <a:cubicBezTo>
                                                          <a:pt x="710769" y="251272"/>
                                                          <a:pt x="699014" y="258052"/>
                                                          <a:pt x="699014" y="258052"/>
                                                        </a:cubicBezTo>
                                                        <a:cubicBezTo>
                                                          <a:pt x="698079" y="260857"/>
                                                          <a:pt x="697531" y="263822"/>
                                                          <a:pt x="696209" y="266466"/>
                                                        </a:cubicBezTo>
                                                        <a:cubicBezTo>
                                                          <a:pt x="694701" y="269481"/>
                                                          <a:pt x="691076" y="271544"/>
                                                          <a:pt x="690599" y="274881"/>
                                                        </a:cubicBezTo>
                                                        <a:cubicBezTo>
                                                          <a:pt x="689987" y="279165"/>
                                                          <a:pt x="694968" y="291818"/>
                                                          <a:pt x="699014" y="294515"/>
                                                        </a:cubicBezTo>
                                                        <a:cubicBezTo>
                                                          <a:pt x="702221" y="296653"/>
                                                          <a:pt x="706527" y="296261"/>
                                                          <a:pt x="710233" y="297320"/>
                                                        </a:cubicBezTo>
                                                        <a:cubicBezTo>
                                                          <a:pt x="720395" y="300224"/>
                                                          <a:pt x="717843" y="299588"/>
                                                          <a:pt x="727063" y="305735"/>
                                                        </a:cubicBezTo>
                                                        <a:cubicBezTo>
                                                          <a:pt x="727998" y="309475"/>
                                                          <a:pt x="729032" y="313192"/>
                                                          <a:pt x="729868" y="316955"/>
                                                        </a:cubicBezTo>
                                                        <a:cubicBezTo>
                                                          <a:pt x="730902" y="321609"/>
                                                          <a:pt x="731517" y="326354"/>
                                                          <a:pt x="732673" y="330979"/>
                                                        </a:cubicBezTo>
                                                        <a:cubicBezTo>
                                                          <a:pt x="733390" y="333847"/>
                                                          <a:pt x="733631" y="337085"/>
                                                          <a:pt x="735478" y="339394"/>
                                                        </a:cubicBezTo>
                                                        <a:cubicBezTo>
                                                          <a:pt x="737584" y="342026"/>
                                                          <a:pt x="741087" y="343134"/>
                                                          <a:pt x="743892" y="345004"/>
                                                        </a:cubicBezTo>
                                                        <a:lnTo>
                                                          <a:pt x="755112" y="361833"/>
                                                        </a:lnTo>
                                                        <a:cubicBezTo>
                                                          <a:pt x="756982" y="364638"/>
                                                          <a:pt x="759656" y="367050"/>
                                                          <a:pt x="760722" y="370248"/>
                                                        </a:cubicBezTo>
                                                        <a:lnTo>
                                                          <a:pt x="763527" y="378663"/>
                                                        </a:lnTo>
                                                        <a:cubicBezTo>
                                                          <a:pt x="762592" y="381468"/>
                                                          <a:pt x="763565" y="386265"/>
                                                          <a:pt x="760722" y="387077"/>
                                                        </a:cubicBezTo>
                                                        <a:cubicBezTo>
                                                          <a:pt x="749000" y="390426"/>
                                                          <a:pt x="736240" y="387635"/>
                                                          <a:pt x="724258" y="389882"/>
                                                        </a:cubicBezTo>
                                                        <a:cubicBezTo>
                                                          <a:pt x="717874" y="391079"/>
                                                          <a:pt x="711953" y="400890"/>
                                                          <a:pt x="707428" y="403907"/>
                                                        </a:cubicBezTo>
                                                        <a:cubicBezTo>
                                                          <a:pt x="704968" y="405547"/>
                                                          <a:pt x="701819" y="405777"/>
                                                          <a:pt x="699014" y="406712"/>
                                                        </a:cubicBezTo>
                                                        <a:cubicBezTo>
                                                          <a:pt x="695274" y="405777"/>
                                                          <a:pt x="690756" y="406375"/>
                                                          <a:pt x="687794" y="403907"/>
                                                        </a:cubicBezTo>
                                                        <a:cubicBezTo>
                                                          <a:pt x="684582" y="401230"/>
                                                          <a:pt x="684259" y="396318"/>
                                                          <a:pt x="682184" y="392687"/>
                                                        </a:cubicBezTo>
                                                        <a:cubicBezTo>
                                                          <a:pt x="680511" y="389760"/>
                                                          <a:pt x="679111" y="386492"/>
                                                          <a:pt x="676574" y="384272"/>
                                                        </a:cubicBezTo>
                                                        <a:cubicBezTo>
                                                          <a:pt x="664704" y="373886"/>
                                                          <a:pt x="662887" y="374100"/>
                                                          <a:pt x="651330" y="370248"/>
                                                        </a:cubicBezTo>
                                                        <a:cubicBezTo>
                                                          <a:pt x="647736" y="371147"/>
                                                          <a:pt x="635719" y="373846"/>
                                                          <a:pt x="631696" y="375858"/>
                                                        </a:cubicBezTo>
                                                        <a:cubicBezTo>
                                                          <a:pt x="628681" y="377366"/>
                                                          <a:pt x="626086" y="379598"/>
                                                          <a:pt x="623281" y="381468"/>
                                                        </a:cubicBezTo>
                                                        <a:cubicBezTo>
                                                          <a:pt x="621411" y="384273"/>
                                                          <a:pt x="620055" y="387498"/>
                                                          <a:pt x="617671" y="389882"/>
                                                        </a:cubicBezTo>
                                                        <a:cubicBezTo>
                                                          <a:pt x="610838" y="396715"/>
                                                          <a:pt x="607051" y="395722"/>
                                                          <a:pt x="598037" y="398297"/>
                                                        </a:cubicBezTo>
                                                        <a:cubicBezTo>
                                                          <a:pt x="595194" y="399109"/>
                                                          <a:pt x="592427" y="400167"/>
                                                          <a:pt x="589622" y="401102"/>
                                                        </a:cubicBezTo>
                                                        <a:cubicBezTo>
                                                          <a:pt x="569988" y="414192"/>
                                                          <a:pt x="576533" y="406712"/>
                                                          <a:pt x="567183" y="420736"/>
                                                        </a:cubicBezTo>
                                                        <a:cubicBezTo>
                                                          <a:pt x="564387" y="429125"/>
                                                          <a:pt x="563801" y="433839"/>
                                                          <a:pt x="555963" y="440371"/>
                                                        </a:cubicBezTo>
                                                        <a:cubicBezTo>
                                                          <a:pt x="553692" y="442264"/>
                                                          <a:pt x="550430" y="442511"/>
                                                          <a:pt x="547549" y="443176"/>
                                                        </a:cubicBezTo>
                                                        <a:cubicBezTo>
                                                          <a:pt x="538258" y="445320"/>
                                                          <a:pt x="519500" y="448785"/>
                                                          <a:pt x="519500" y="448785"/>
                                                        </a:cubicBezTo>
                                                        <a:cubicBezTo>
                                                          <a:pt x="512235" y="470579"/>
                                                          <a:pt x="512380" y="458926"/>
                                                          <a:pt x="516695" y="474029"/>
                                                        </a:cubicBezTo>
                                                        <a:cubicBezTo>
                                                          <a:pt x="517754" y="477736"/>
                                                          <a:pt x="518565" y="481509"/>
                                                          <a:pt x="519500" y="485249"/>
                                                        </a:cubicBezTo>
                                                        <a:cubicBezTo>
                                                          <a:pt x="515300" y="510451"/>
                                                          <a:pt x="521235" y="494948"/>
                                                          <a:pt x="508280" y="510493"/>
                                                        </a:cubicBezTo>
                                                        <a:cubicBezTo>
                                                          <a:pt x="506122" y="513083"/>
                                                          <a:pt x="505529" y="517121"/>
                                                          <a:pt x="502670" y="518908"/>
                                                        </a:cubicBezTo>
                                                        <a:cubicBezTo>
                                                          <a:pt x="497656" y="522042"/>
                                                          <a:pt x="491451" y="522648"/>
                                                          <a:pt x="485841" y="524518"/>
                                                        </a:cubicBezTo>
                                                        <a:lnTo>
                                                          <a:pt x="477426" y="527323"/>
                                                        </a:lnTo>
                                                        <a:cubicBezTo>
                                                          <a:pt x="458341" y="522552"/>
                                                          <a:pt x="461119" y="521966"/>
                                                          <a:pt x="432547" y="527323"/>
                                                        </a:cubicBezTo>
                                                        <a:cubicBezTo>
                                                          <a:pt x="428437" y="528094"/>
                                                          <a:pt x="425210" y="531380"/>
                                                          <a:pt x="421328" y="532933"/>
                                                        </a:cubicBezTo>
                                                        <a:cubicBezTo>
                                                          <a:pt x="415838" y="535129"/>
                                                          <a:pt x="404498" y="538542"/>
                                                          <a:pt x="404498" y="538542"/>
                                                        </a:cubicBezTo>
                                                        <a:cubicBezTo>
                                                          <a:pt x="397953" y="537607"/>
                                                          <a:pt x="390777" y="538693"/>
                                                          <a:pt x="384864" y="535737"/>
                                                        </a:cubicBezTo>
                                                        <a:cubicBezTo>
                                                          <a:pt x="380683" y="533646"/>
                                                          <a:pt x="379491" y="528067"/>
                                                          <a:pt x="376449" y="524518"/>
                                                        </a:cubicBezTo>
                                                        <a:cubicBezTo>
                                                          <a:pt x="373868" y="521506"/>
                                                          <a:pt x="371335" y="518303"/>
                                                          <a:pt x="368035" y="516103"/>
                                                        </a:cubicBezTo>
                                                        <a:cubicBezTo>
                                                          <a:pt x="365575" y="514463"/>
                                                          <a:pt x="362463" y="514110"/>
                                                          <a:pt x="359620" y="513298"/>
                                                        </a:cubicBezTo>
                                                        <a:cubicBezTo>
                                                          <a:pt x="344162" y="508881"/>
                                                          <a:pt x="343501" y="509949"/>
                                                          <a:pt x="323156" y="507688"/>
                                                        </a:cubicBezTo>
                                                        <a:cubicBezTo>
                                                          <a:pt x="299030" y="491607"/>
                                                          <a:pt x="329561" y="510892"/>
                                                          <a:pt x="306327" y="499274"/>
                                                        </a:cubicBezTo>
                                                        <a:cubicBezTo>
                                                          <a:pt x="303312" y="497766"/>
                                                          <a:pt x="300872" y="495278"/>
                                                          <a:pt x="297912" y="493664"/>
                                                        </a:cubicBezTo>
                                                        <a:cubicBezTo>
                                                          <a:pt x="290571" y="489659"/>
                                                          <a:pt x="275473" y="482444"/>
                                                          <a:pt x="275473" y="482444"/>
                                                        </a:cubicBezTo>
                                                        <a:cubicBezTo>
                                                          <a:pt x="265188" y="483379"/>
                                                          <a:pt x="254606" y="482621"/>
                                                          <a:pt x="244619" y="485249"/>
                                                        </a:cubicBezTo>
                                                        <a:cubicBezTo>
                                                          <a:pt x="236531" y="487377"/>
                                                          <a:pt x="229137" y="491830"/>
                                                          <a:pt x="222179" y="496469"/>
                                                        </a:cubicBezTo>
                                                        <a:cubicBezTo>
                                                          <a:pt x="216569" y="500209"/>
                                                          <a:pt x="212077" y="507240"/>
                                                          <a:pt x="205350" y="507688"/>
                                                        </a:cubicBezTo>
                                                        <a:lnTo>
                                                          <a:pt x="163276" y="510493"/>
                                                        </a:lnTo>
                                                        <a:cubicBezTo>
                                                          <a:pt x="160471" y="512363"/>
                                                          <a:pt x="157452" y="513945"/>
                                                          <a:pt x="154862" y="516103"/>
                                                        </a:cubicBezTo>
                                                        <a:cubicBezTo>
                                                          <a:pt x="147314" y="522393"/>
                                                          <a:pt x="146985" y="526149"/>
                                                          <a:pt x="138032" y="530128"/>
                                                        </a:cubicBezTo>
                                                        <a:cubicBezTo>
                                                          <a:pt x="126038" y="535459"/>
                                                          <a:pt x="121403" y="535279"/>
                                                          <a:pt x="109983" y="538542"/>
                                                        </a:cubicBezTo>
                                                        <a:cubicBezTo>
                                                          <a:pt x="107140" y="539354"/>
                                                          <a:pt x="104373" y="540412"/>
                                                          <a:pt x="101568" y="541347"/>
                                                        </a:cubicBezTo>
                                                        <a:cubicBezTo>
                                                          <a:pt x="81972" y="538081"/>
                                                          <a:pt x="94556" y="536672"/>
                                                          <a:pt x="93154" y="535737"/>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6" name="Freeform 235"/>
                                                <p:cNvSpPr/>
                                                <p:nvPr/>
                                              </p:nvSpPr>
                                              <p:spPr>
                                                <a:xfrm>
                                                  <a:off x="5447050" y="4358827"/>
                                                  <a:ext cx="452296" cy="535737"/>
                                                </a:xfrm>
                                                <a:custGeom>
                                                  <a:avLst/>
                                                  <a:gdLst>
                                                    <a:gd name="connsiteX0" fmla="*/ 81 w 452296"/>
                                                    <a:gd name="connsiteY0" fmla="*/ 30854 h 535737"/>
                                                    <a:gd name="connsiteX1" fmla="*/ 81 w 452296"/>
                                                    <a:gd name="connsiteY1" fmla="*/ 30854 h 535737"/>
                                                    <a:gd name="connsiteX2" fmla="*/ 16911 w 452296"/>
                                                    <a:gd name="connsiteY2" fmla="*/ 50488 h 535737"/>
                                                    <a:gd name="connsiteX3" fmla="*/ 36545 w 452296"/>
                                                    <a:gd name="connsiteY3" fmla="*/ 72928 h 535737"/>
                                                    <a:gd name="connsiteX4" fmla="*/ 47765 w 452296"/>
                                                    <a:gd name="connsiteY4" fmla="*/ 98172 h 535737"/>
                                                    <a:gd name="connsiteX5" fmla="*/ 56179 w 452296"/>
                                                    <a:gd name="connsiteY5" fmla="*/ 103782 h 535737"/>
                                                    <a:gd name="connsiteX6" fmla="*/ 64594 w 452296"/>
                                                    <a:gd name="connsiteY6" fmla="*/ 120611 h 535737"/>
                                                    <a:gd name="connsiteX7" fmla="*/ 73009 w 452296"/>
                                                    <a:gd name="connsiteY7" fmla="*/ 129026 h 535737"/>
                                                    <a:gd name="connsiteX8" fmla="*/ 87033 w 452296"/>
                                                    <a:gd name="connsiteY8" fmla="*/ 143050 h 535737"/>
                                                    <a:gd name="connsiteX9" fmla="*/ 89838 w 452296"/>
                                                    <a:gd name="connsiteY9" fmla="*/ 151465 h 535737"/>
                                                    <a:gd name="connsiteX10" fmla="*/ 98253 w 452296"/>
                                                    <a:gd name="connsiteY10" fmla="*/ 196344 h 535737"/>
                                                    <a:gd name="connsiteX11" fmla="*/ 106668 w 452296"/>
                                                    <a:gd name="connsiteY11" fmla="*/ 199148 h 535737"/>
                                                    <a:gd name="connsiteX12" fmla="*/ 117887 w 452296"/>
                                                    <a:gd name="connsiteY12" fmla="*/ 210368 h 535737"/>
                                                    <a:gd name="connsiteX13" fmla="*/ 123497 w 452296"/>
                                                    <a:gd name="connsiteY13" fmla="*/ 218783 h 535737"/>
                                                    <a:gd name="connsiteX14" fmla="*/ 140327 w 452296"/>
                                                    <a:gd name="connsiteY14" fmla="*/ 230002 h 535737"/>
                                                    <a:gd name="connsiteX15" fmla="*/ 145937 w 452296"/>
                                                    <a:gd name="connsiteY15" fmla="*/ 238417 h 535737"/>
                                                    <a:gd name="connsiteX16" fmla="*/ 148741 w 452296"/>
                                                    <a:gd name="connsiteY16" fmla="*/ 246832 h 535737"/>
                                                    <a:gd name="connsiteX17" fmla="*/ 154351 w 452296"/>
                                                    <a:gd name="connsiteY17" fmla="*/ 258052 h 535737"/>
                                                    <a:gd name="connsiteX18" fmla="*/ 157156 w 452296"/>
                                                    <a:gd name="connsiteY18" fmla="*/ 266466 h 535737"/>
                                                    <a:gd name="connsiteX19" fmla="*/ 168376 w 452296"/>
                                                    <a:gd name="connsiteY19" fmla="*/ 286101 h 535737"/>
                                                    <a:gd name="connsiteX20" fmla="*/ 176790 w 452296"/>
                                                    <a:gd name="connsiteY20" fmla="*/ 294515 h 535737"/>
                                                    <a:gd name="connsiteX21" fmla="*/ 190815 w 452296"/>
                                                    <a:gd name="connsiteY21" fmla="*/ 314150 h 535737"/>
                                                    <a:gd name="connsiteX22" fmla="*/ 196425 w 452296"/>
                                                    <a:gd name="connsiteY22" fmla="*/ 330979 h 535737"/>
                                                    <a:gd name="connsiteX23" fmla="*/ 199230 w 452296"/>
                                                    <a:gd name="connsiteY23" fmla="*/ 339394 h 535737"/>
                                                    <a:gd name="connsiteX24" fmla="*/ 202035 w 452296"/>
                                                    <a:gd name="connsiteY24" fmla="*/ 403907 h 535737"/>
                                                    <a:gd name="connsiteX25" fmla="*/ 204840 w 452296"/>
                                                    <a:gd name="connsiteY25" fmla="*/ 415126 h 535737"/>
                                                    <a:gd name="connsiteX26" fmla="*/ 207644 w 452296"/>
                                                    <a:gd name="connsiteY26" fmla="*/ 434761 h 535737"/>
                                                    <a:gd name="connsiteX27" fmla="*/ 210449 w 452296"/>
                                                    <a:gd name="connsiteY27" fmla="*/ 474029 h 535737"/>
                                                    <a:gd name="connsiteX28" fmla="*/ 221669 w 452296"/>
                                                    <a:gd name="connsiteY28" fmla="*/ 490859 h 535737"/>
                                                    <a:gd name="connsiteX29" fmla="*/ 230084 w 452296"/>
                                                    <a:gd name="connsiteY29" fmla="*/ 507688 h 535737"/>
                                                    <a:gd name="connsiteX30" fmla="*/ 244108 w 452296"/>
                                                    <a:gd name="connsiteY30" fmla="*/ 532933 h 535737"/>
                                                    <a:gd name="connsiteX31" fmla="*/ 252523 w 452296"/>
                                                    <a:gd name="connsiteY31" fmla="*/ 535737 h 535737"/>
                                                    <a:gd name="connsiteX32" fmla="*/ 255328 w 452296"/>
                                                    <a:gd name="connsiteY32" fmla="*/ 527323 h 535737"/>
                                                    <a:gd name="connsiteX33" fmla="*/ 260938 w 452296"/>
                                                    <a:gd name="connsiteY33" fmla="*/ 507688 h 535737"/>
                                                    <a:gd name="connsiteX34" fmla="*/ 266548 w 452296"/>
                                                    <a:gd name="connsiteY34" fmla="*/ 479639 h 535737"/>
                                                    <a:gd name="connsiteX35" fmla="*/ 272157 w 452296"/>
                                                    <a:gd name="connsiteY35" fmla="*/ 471225 h 535737"/>
                                                    <a:gd name="connsiteX36" fmla="*/ 274962 w 452296"/>
                                                    <a:gd name="connsiteY36" fmla="*/ 462810 h 535737"/>
                                                    <a:gd name="connsiteX37" fmla="*/ 283377 w 452296"/>
                                                    <a:gd name="connsiteY37" fmla="*/ 457200 h 535737"/>
                                                    <a:gd name="connsiteX38" fmla="*/ 286182 w 452296"/>
                                                    <a:gd name="connsiteY38" fmla="*/ 443175 h 535737"/>
                                                    <a:gd name="connsiteX39" fmla="*/ 303011 w 452296"/>
                                                    <a:gd name="connsiteY39" fmla="*/ 434761 h 535737"/>
                                                    <a:gd name="connsiteX40" fmla="*/ 311426 w 452296"/>
                                                    <a:gd name="connsiteY40" fmla="*/ 426346 h 535737"/>
                                                    <a:gd name="connsiteX41" fmla="*/ 317036 w 452296"/>
                                                    <a:gd name="connsiteY41" fmla="*/ 409517 h 535737"/>
                                                    <a:gd name="connsiteX42" fmla="*/ 314231 w 452296"/>
                                                    <a:gd name="connsiteY42" fmla="*/ 375858 h 535737"/>
                                                    <a:gd name="connsiteX43" fmla="*/ 308621 w 452296"/>
                                                    <a:gd name="connsiteY43" fmla="*/ 367443 h 535737"/>
                                                    <a:gd name="connsiteX44" fmla="*/ 305816 w 452296"/>
                                                    <a:gd name="connsiteY44" fmla="*/ 359028 h 535737"/>
                                                    <a:gd name="connsiteX45" fmla="*/ 308621 w 452296"/>
                                                    <a:gd name="connsiteY45" fmla="*/ 333784 h 535737"/>
                                                    <a:gd name="connsiteX46" fmla="*/ 317036 w 452296"/>
                                                    <a:gd name="connsiteY46" fmla="*/ 330979 h 535737"/>
                                                    <a:gd name="connsiteX47" fmla="*/ 333865 w 452296"/>
                                                    <a:gd name="connsiteY47" fmla="*/ 336589 h 535737"/>
                                                    <a:gd name="connsiteX48" fmla="*/ 359110 w 452296"/>
                                                    <a:gd name="connsiteY48" fmla="*/ 342199 h 535737"/>
                                                    <a:gd name="connsiteX49" fmla="*/ 387159 w 452296"/>
                                                    <a:gd name="connsiteY49" fmla="*/ 350613 h 535737"/>
                                                    <a:gd name="connsiteX50" fmla="*/ 401183 w 452296"/>
                                                    <a:gd name="connsiteY50" fmla="*/ 347809 h 535737"/>
                                                    <a:gd name="connsiteX51" fmla="*/ 412403 w 452296"/>
                                                    <a:gd name="connsiteY51" fmla="*/ 345004 h 535737"/>
                                                    <a:gd name="connsiteX52" fmla="*/ 432037 w 452296"/>
                                                    <a:gd name="connsiteY52" fmla="*/ 347809 h 535737"/>
                                                    <a:gd name="connsiteX53" fmla="*/ 448867 w 452296"/>
                                                    <a:gd name="connsiteY53" fmla="*/ 342199 h 535737"/>
                                                    <a:gd name="connsiteX54" fmla="*/ 451671 w 452296"/>
                                                    <a:gd name="connsiteY54" fmla="*/ 333784 h 535737"/>
                                                    <a:gd name="connsiteX55" fmla="*/ 426427 w 452296"/>
                                                    <a:gd name="connsiteY55" fmla="*/ 319760 h 535737"/>
                                                    <a:gd name="connsiteX56" fmla="*/ 423622 w 452296"/>
                                                    <a:gd name="connsiteY56" fmla="*/ 308540 h 535737"/>
                                                    <a:gd name="connsiteX57" fmla="*/ 420817 w 452296"/>
                                                    <a:gd name="connsiteY57" fmla="*/ 274881 h 535737"/>
                                                    <a:gd name="connsiteX58" fmla="*/ 412403 w 452296"/>
                                                    <a:gd name="connsiteY58" fmla="*/ 269271 h 535737"/>
                                                    <a:gd name="connsiteX59" fmla="*/ 395573 w 452296"/>
                                                    <a:gd name="connsiteY59" fmla="*/ 258052 h 535737"/>
                                                    <a:gd name="connsiteX60" fmla="*/ 387159 w 452296"/>
                                                    <a:gd name="connsiteY60" fmla="*/ 252442 h 535737"/>
                                                    <a:gd name="connsiteX61" fmla="*/ 364719 w 452296"/>
                                                    <a:gd name="connsiteY61" fmla="*/ 227198 h 535737"/>
                                                    <a:gd name="connsiteX62" fmla="*/ 359110 w 452296"/>
                                                    <a:gd name="connsiteY62" fmla="*/ 210368 h 535737"/>
                                                    <a:gd name="connsiteX63" fmla="*/ 356305 w 452296"/>
                                                    <a:gd name="connsiteY63" fmla="*/ 179514 h 535737"/>
                                                    <a:gd name="connsiteX64" fmla="*/ 333865 w 452296"/>
                                                    <a:gd name="connsiteY64" fmla="*/ 171099 h 535737"/>
                                                    <a:gd name="connsiteX65" fmla="*/ 328256 w 452296"/>
                                                    <a:gd name="connsiteY65" fmla="*/ 159880 h 535737"/>
                                                    <a:gd name="connsiteX66" fmla="*/ 311426 w 452296"/>
                                                    <a:gd name="connsiteY66" fmla="*/ 151465 h 535737"/>
                                                    <a:gd name="connsiteX67" fmla="*/ 300206 w 452296"/>
                                                    <a:gd name="connsiteY67" fmla="*/ 98172 h 535737"/>
                                                    <a:gd name="connsiteX68" fmla="*/ 297402 w 452296"/>
                                                    <a:gd name="connsiteY68" fmla="*/ 86952 h 535737"/>
                                                    <a:gd name="connsiteX69" fmla="*/ 288987 w 452296"/>
                                                    <a:gd name="connsiteY69" fmla="*/ 75733 h 535737"/>
                                                    <a:gd name="connsiteX70" fmla="*/ 260938 w 452296"/>
                                                    <a:gd name="connsiteY70" fmla="*/ 64513 h 535737"/>
                                                    <a:gd name="connsiteX71" fmla="*/ 246913 w 452296"/>
                                                    <a:gd name="connsiteY71" fmla="*/ 47683 h 535737"/>
                                                    <a:gd name="connsiteX72" fmla="*/ 230084 w 452296"/>
                                                    <a:gd name="connsiteY72" fmla="*/ 42074 h 535737"/>
                                                    <a:gd name="connsiteX73" fmla="*/ 221669 w 452296"/>
                                                    <a:gd name="connsiteY73" fmla="*/ 44879 h 535737"/>
                                                    <a:gd name="connsiteX74" fmla="*/ 216059 w 452296"/>
                                                    <a:gd name="connsiteY74" fmla="*/ 53293 h 535737"/>
                                                    <a:gd name="connsiteX75" fmla="*/ 207644 w 452296"/>
                                                    <a:gd name="connsiteY75" fmla="*/ 61708 h 535737"/>
                                                    <a:gd name="connsiteX76" fmla="*/ 188010 w 452296"/>
                                                    <a:gd name="connsiteY76" fmla="*/ 47683 h 535737"/>
                                                    <a:gd name="connsiteX77" fmla="*/ 185205 w 452296"/>
                                                    <a:gd name="connsiteY77" fmla="*/ 36464 h 535737"/>
                                                    <a:gd name="connsiteX78" fmla="*/ 176790 w 452296"/>
                                                    <a:gd name="connsiteY78" fmla="*/ 33659 h 535737"/>
                                                    <a:gd name="connsiteX79" fmla="*/ 162766 w 452296"/>
                                                    <a:gd name="connsiteY79" fmla="*/ 30854 h 535737"/>
                                                    <a:gd name="connsiteX80" fmla="*/ 151546 w 452296"/>
                                                    <a:gd name="connsiteY80" fmla="*/ 25244 h 535737"/>
                                                    <a:gd name="connsiteX81" fmla="*/ 140327 w 452296"/>
                                                    <a:gd name="connsiteY81" fmla="*/ 14025 h 535737"/>
                                                    <a:gd name="connsiteX82" fmla="*/ 131912 w 452296"/>
                                                    <a:gd name="connsiteY82" fmla="*/ 8415 h 535737"/>
                                                    <a:gd name="connsiteX83" fmla="*/ 103863 w 452296"/>
                                                    <a:gd name="connsiteY83" fmla="*/ 0 h 535737"/>
                                                    <a:gd name="connsiteX84" fmla="*/ 81424 w 452296"/>
                                                    <a:gd name="connsiteY84" fmla="*/ 2805 h 535737"/>
                                                    <a:gd name="connsiteX85" fmla="*/ 73009 w 452296"/>
                                                    <a:gd name="connsiteY85" fmla="*/ 11220 h 535737"/>
                                                    <a:gd name="connsiteX86" fmla="*/ 61789 w 452296"/>
                                                    <a:gd name="connsiteY86" fmla="*/ 14025 h 535737"/>
                                                    <a:gd name="connsiteX87" fmla="*/ 53375 w 452296"/>
                                                    <a:gd name="connsiteY87" fmla="*/ 16829 h 535737"/>
                                                    <a:gd name="connsiteX88" fmla="*/ 30935 w 452296"/>
                                                    <a:gd name="connsiteY88" fmla="*/ 14025 h 535737"/>
                                                    <a:gd name="connsiteX89" fmla="*/ 14106 w 452296"/>
                                                    <a:gd name="connsiteY89" fmla="*/ 8415 h 535737"/>
                                                    <a:gd name="connsiteX90" fmla="*/ 5691 w 452296"/>
                                                    <a:gd name="connsiteY90" fmla="*/ 11220 h 535737"/>
                                                    <a:gd name="connsiteX91" fmla="*/ 5691 w 452296"/>
                                                    <a:gd name="connsiteY91" fmla="*/ 39269 h 535737"/>
                                                    <a:gd name="connsiteX92" fmla="*/ 8496 w 452296"/>
                                                    <a:gd name="connsiteY92" fmla="*/ 53293 h 535737"/>
                                                    <a:gd name="connsiteX93" fmla="*/ 81 w 452296"/>
                                                    <a:gd name="connsiteY93" fmla="*/ 30854 h 53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52296" h="535737">
                                                      <a:moveTo>
                                                        <a:pt x="81" y="30854"/>
                                                      </a:moveTo>
                                                      <a:lnTo>
                                                        <a:pt x="81" y="30854"/>
                                                      </a:lnTo>
                                                      <a:cubicBezTo>
                                                        <a:pt x="5691" y="37399"/>
                                                        <a:pt x="10816" y="44393"/>
                                                        <a:pt x="16911" y="50488"/>
                                                      </a:cubicBezTo>
                                                      <a:cubicBezTo>
                                                        <a:pt x="28364" y="61941"/>
                                                        <a:pt x="28598" y="49088"/>
                                                        <a:pt x="36545" y="72928"/>
                                                      </a:cubicBezTo>
                                                      <a:cubicBezTo>
                                                        <a:pt x="39323" y="81261"/>
                                                        <a:pt x="41097" y="91504"/>
                                                        <a:pt x="47765" y="98172"/>
                                                      </a:cubicBezTo>
                                                      <a:cubicBezTo>
                                                        <a:pt x="50149" y="100556"/>
                                                        <a:pt x="53374" y="101912"/>
                                                        <a:pt x="56179" y="103782"/>
                                                      </a:cubicBezTo>
                                                      <a:cubicBezTo>
                                                        <a:pt x="58990" y="112215"/>
                                                        <a:pt x="58553" y="113361"/>
                                                        <a:pt x="64594" y="120611"/>
                                                      </a:cubicBezTo>
                                                      <a:cubicBezTo>
                                                        <a:pt x="67134" y="123658"/>
                                                        <a:pt x="70469" y="125979"/>
                                                        <a:pt x="73009" y="129026"/>
                                                      </a:cubicBezTo>
                                                      <a:cubicBezTo>
                                                        <a:pt x="84696" y="143050"/>
                                                        <a:pt x="71607" y="132765"/>
                                                        <a:pt x="87033" y="143050"/>
                                                      </a:cubicBezTo>
                                                      <a:cubicBezTo>
                                                        <a:pt x="87968" y="145855"/>
                                                        <a:pt x="89471" y="148531"/>
                                                        <a:pt x="89838" y="151465"/>
                                                      </a:cubicBezTo>
                                                      <a:cubicBezTo>
                                                        <a:pt x="90679" y="158192"/>
                                                        <a:pt x="86496" y="186939"/>
                                                        <a:pt x="98253" y="196344"/>
                                                      </a:cubicBezTo>
                                                      <a:cubicBezTo>
                                                        <a:pt x="100562" y="198191"/>
                                                        <a:pt x="103863" y="198213"/>
                                                        <a:pt x="106668" y="199148"/>
                                                      </a:cubicBezTo>
                                                      <a:cubicBezTo>
                                                        <a:pt x="112788" y="217508"/>
                                                        <a:pt x="104288" y="199488"/>
                                                        <a:pt x="117887" y="210368"/>
                                                      </a:cubicBezTo>
                                                      <a:cubicBezTo>
                                                        <a:pt x="120519" y="212474"/>
                                                        <a:pt x="121339" y="216193"/>
                                                        <a:pt x="123497" y="218783"/>
                                                      </a:cubicBezTo>
                                                      <a:cubicBezTo>
                                                        <a:pt x="131579" y="228481"/>
                                                        <a:pt x="129955" y="226546"/>
                                                        <a:pt x="140327" y="230002"/>
                                                      </a:cubicBezTo>
                                                      <a:cubicBezTo>
                                                        <a:pt x="142197" y="232807"/>
                                                        <a:pt x="144430" y="235402"/>
                                                        <a:pt x="145937" y="238417"/>
                                                      </a:cubicBezTo>
                                                      <a:cubicBezTo>
                                                        <a:pt x="147259" y="241062"/>
                                                        <a:pt x="147576" y="244114"/>
                                                        <a:pt x="148741" y="246832"/>
                                                      </a:cubicBezTo>
                                                      <a:cubicBezTo>
                                                        <a:pt x="150388" y="250675"/>
                                                        <a:pt x="152704" y="254209"/>
                                                        <a:pt x="154351" y="258052"/>
                                                      </a:cubicBezTo>
                                                      <a:cubicBezTo>
                                                        <a:pt x="155516" y="260769"/>
                                                        <a:pt x="155991" y="263749"/>
                                                        <a:pt x="157156" y="266466"/>
                                                      </a:cubicBezTo>
                                                      <a:cubicBezTo>
                                                        <a:pt x="159577" y="272115"/>
                                                        <a:pt x="164233" y="281129"/>
                                                        <a:pt x="168376" y="286101"/>
                                                      </a:cubicBezTo>
                                                      <a:cubicBezTo>
                                                        <a:pt x="170915" y="289148"/>
                                                        <a:pt x="174485" y="291287"/>
                                                        <a:pt x="176790" y="294515"/>
                                                      </a:cubicBezTo>
                                                      <a:cubicBezTo>
                                                        <a:pt x="195249" y="320358"/>
                                                        <a:pt x="168937" y="292272"/>
                                                        <a:pt x="190815" y="314150"/>
                                                      </a:cubicBezTo>
                                                      <a:lnTo>
                                                        <a:pt x="196425" y="330979"/>
                                                      </a:lnTo>
                                                      <a:lnTo>
                                                        <a:pt x="199230" y="339394"/>
                                                      </a:lnTo>
                                                      <a:cubicBezTo>
                                                        <a:pt x="200165" y="360898"/>
                                                        <a:pt x="200445" y="382441"/>
                                                        <a:pt x="202035" y="403907"/>
                                                      </a:cubicBezTo>
                                                      <a:cubicBezTo>
                                                        <a:pt x="202320" y="407751"/>
                                                        <a:pt x="204151" y="411333"/>
                                                        <a:pt x="204840" y="415126"/>
                                                      </a:cubicBezTo>
                                                      <a:cubicBezTo>
                                                        <a:pt x="206023" y="421631"/>
                                                        <a:pt x="207017" y="428179"/>
                                                        <a:pt x="207644" y="434761"/>
                                                      </a:cubicBezTo>
                                                      <a:cubicBezTo>
                                                        <a:pt x="208888" y="447825"/>
                                                        <a:pt x="207266" y="461298"/>
                                                        <a:pt x="210449" y="474029"/>
                                                      </a:cubicBezTo>
                                                      <a:cubicBezTo>
                                                        <a:pt x="212084" y="480570"/>
                                                        <a:pt x="219537" y="484463"/>
                                                        <a:pt x="221669" y="490859"/>
                                                      </a:cubicBezTo>
                                                      <a:cubicBezTo>
                                                        <a:pt x="225540" y="502472"/>
                                                        <a:pt x="222834" y="496814"/>
                                                        <a:pt x="230084" y="507688"/>
                                                      </a:cubicBezTo>
                                                      <a:cubicBezTo>
                                                        <a:pt x="234265" y="520231"/>
                                                        <a:pt x="233313" y="525736"/>
                                                        <a:pt x="244108" y="532933"/>
                                                      </a:cubicBezTo>
                                                      <a:cubicBezTo>
                                                        <a:pt x="246568" y="534573"/>
                                                        <a:pt x="249718" y="534802"/>
                                                        <a:pt x="252523" y="535737"/>
                                                      </a:cubicBezTo>
                                                      <a:cubicBezTo>
                                                        <a:pt x="253458" y="532932"/>
                                                        <a:pt x="254516" y="530166"/>
                                                        <a:pt x="255328" y="527323"/>
                                                      </a:cubicBezTo>
                                                      <a:cubicBezTo>
                                                        <a:pt x="262375" y="502661"/>
                                                        <a:pt x="254211" y="527870"/>
                                                        <a:pt x="260938" y="507688"/>
                                                      </a:cubicBezTo>
                                                      <a:cubicBezTo>
                                                        <a:pt x="261972" y="500451"/>
                                                        <a:pt x="262631" y="487473"/>
                                                        <a:pt x="266548" y="479639"/>
                                                      </a:cubicBezTo>
                                                      <a:cubicBezTo>
                                                        <a:pt x="268055" y="476624"/>
                                                        <a:pt x="270650" y="474240"/>
                                                        <a:pt x="272157" y="471225"/>
                                                      </a:cubicBezTo>
                                                      <a:cubicBezTo>
                                                        <a:pt x="273479" y="468580"/>
                                                        <a:pt x="273115" y="465119"/>
                                                        <a:pt x="274962" y="462810"/>
                                                      </a:cubicBezTo>
                                                      <a:cubicBezTo>
                                                        <a:pt x="277068" y="460178"/>
                                                        <a:pt x="280572" y="459070"/>
                                                        <a:pt x="283377" y="457200"/>
                                                      </a:cubicBezTo>
                                                      <a:cubicBezTo>
                                                        <a:pt x="284312" y="452525"/>
                                                        <a:pt x="283817" y="447314"/>
                                                        <a:pt x="286182" y="443175"/>
                                                      </a:cubicBezTo>
                                                      <a:cubicBezTo>
                                                        <a:pt x="288740" y="438699"/>
                                                        <a:pt x="298693" y="436200"/>
                                                        <a:pt x="303011" y="434761"/>
                                                      </a:cubicBezTo>
                                                      <a:cubicBezTo>
                                                        <a:pt x="305816" y="431956"/>
                                                        <a:pt x="309499" y="429814"/>
                                                        <a:pt x="311426" y="426346"/>
                                                      </a:cubicBezTo>
                                                      <a:cubicBezTo>
                                                        <a:pt x="314298" y="421177"/>
                                                        <a:pt x="317036" y="409517"/>
                                                        <a:pt x="317036" y="409517"/>
                                                      </a:cubicBezTo>
                                                      <a:cubicBezTo>
                                                        <a:pt x="316101" y="398297"/>
                                                        <a:pt x="316439" y="386898"/>
                                                        <a:pt x="314231" y="375858"/>
                                                      </a:cubicBezTo>
                                                      <a:cubicBezTo>
                                                        <a:pt x="313570" y="372552"/>
                                                        <a:pt x="310129" y="370458"/>
                                                        <a:pt x="308621" y="367443"/>
                                                      </a:cubicBezTo>
                                                      <a:cubicBezTo>
                                                        <a:pt x="307299" y="364798"/>
                                                        <a:pt x="306751" y="361833"/>
                                                        <a:pt x="305816" y="359028"/>
                                                      </a:cubicBezTo>
                                                      <a:cubicBezTo>
                                                        <a:pt x="306751" y="350613"/>
                                                        <a:pt x="305477" y="341645"/>
                                                        <a:pt x="308621" y="333784"/>
                                                      </a:cubicBezTo>
                                                      <a:cubicBezTo>
                                                        <a:pt x="309719" y="331039"/>
                                                        <a:pt x="314097" y="330652"/>
                                                        <a:pt x="317036" y="330979"/>
                                                      </a:cubicBezTo>
                                                      <a:cubicBezTo>
                                                        <a:pt x="322913" y="331632"/>
                                                        <a:pt x="328255" y="334719"/>
                                                        <a:pt x="333865" y="336589"/>
                                                      </a:cubicBezTo>
                                                      <a:cubicBezTo>
                                                        <a:pt x="347674" y="341192"/>
                                                        <a:pt x="339366" y="338908"/>
                                                        <a:pt x="359110" y="342199"/>
                                                      </a:cubicBezTo>
                                                      <a:cubicBezTo>
                                                        <a:pt x="379596" y="349028"/>
                                                        <a:pt x="370202" y="346375"/>
                                                        <a:pt x="387159" y="350613"/>
                                                      </a:cubicBezTo>
                                                      <a:cubicBezTo>
                                                        <a:pt x="391834" y="349678"/>
                                                        <a:pt x="396529" y="348843"/>
                                                        <a:pt x="401183" y="347809"/>
                                                      </a:cubicBezTo>
                                                      <a:cubicBezTo>
                                                        <a:pt x="404946" y="346973"/>
                                                        <a:pt x="408548" y="345004"/>
                                                        <a:pt x="412403" y="345004"/>
                                                      </a:cubicBezTo>
                                                      <a:cubicBezTo>
                                                        <a:pt x="419014" y="345004"/>
                                                        <a:pt x="425492" y="346874"/>
                                                        <a:pt x="432037" y="347809"/>
                                                      </a:cubicBezTo>
                                                      <a:cubicBezTo>
                                                        <a:pt x="437647" y="345939"/>
                                                        <a:pt x="444055" y="345636"/>
                                                        <a:pt x="448867" y="342199"/>
                                                      </a:cubicBezTo>
                                                      <a:cubicBezTo>
                                                        <a:pt x="451273" y="340480"/>
                                                        <a:pt x="453390" y="336190"/>
                                                        <a:pt x="451671" y="333784"/>
                                                      </a:cubicBezTo>
                                                      <a:cubicBezTo>
                                                        <a:pt x="445641" y="325342"/>
                                                        <a:pt x="435424" y="322758"/>
                                                        <a:pt x="426427" y="319760"/>
                                                      </a:cubicBezTo>
                                                      <a:cubicBezTo>
                                                        <a:pt x="425492" y="316020"/>
                                                        <a:pt x="424100" y="312365"/>
                                                        <a:pt x="423622" y="308540"/>
                                                      </a:cubicBezTo>
                                                      <a:cubicBezTo>
                                                        <a:pt x="422226" y="297368"/>
                                                        <a:pt x="423910" y="285706"/>
                                                        <a:pt x="420817" y="274881"/>
                                                      </a:cubicBezTo>
                                                      <a:cubicBezTo>
                                                        <a:pt x="419891" y="271640"/>
                                                        <a:pt x="414993" y="271429"/>
                                                        <a:pt x="412403" y="269271"/>
                                                      </a:cubicBezTo>
                                                      <a:cubicBezTo>
                                                        <a:pt x="398398" y="257599"/>
                                                        <a:pt x="410360" y="262979"/>
                                                        <a:pt x="395573" y="258052"/>
                                                      </a:cubicBezTo>
                                                      <a:cubicBezTo>
                                                        <a:pt x="392768" y="256182"/>
                                                        <a:pt x="389678" y="254682"/>
                                                        <a:pt x="387159" y="252442"/>
                                                      </a:cubicBezTo>
                                                      <a:cubicBezTo>
                                                        <a:pt x="371439" y="238468"/>
                                                        <a:pt x="373246" y="239987"/>
                                                        <a:pt x="364719" y="227198"/>
                                                      </a:cubicBezTo>
                                                      <a:cubicBezTo>
                                                        <a:pt x="362849" y="221588"/>
                                                        <a:pt x="359645" y="216257"/>
                                                        <a:pt x="359110" y="210368"/>
                                                      </a:cubicBezTo>
                                                      <a:cubicBezTo>
                                                        <a:pt x="358175" y="200083"/>
                                                        <a:pt x="359342" y="189384"/>
                                                        <a:pt x="356305" y="179514"/>
                                                      </a:cubicBezTo>
                                                      <a:cubicBezTo>
                                                        <a:pt x="354410" y="173357"/>
                                                        <a:pt x="336364" y="171599"/>
                                                        <a:pt x="333865" y="171099"/>
                                                      </a:cubicBezTo>
                                                      <a:cubicBezTo>
                                                        <a:pt x="331995" y="167359"/>
                                                        <a:pt x="330933" y="163092"/>
                                                        <a:pt x="328256" y="159880"/>
                                                      </a:cubicBezTo>
                                                      <a:cubicBezTo>
                                                        <a:pt x="324073" y="154861"/>
                                                        <a:pt x="317170" y="153380"/>
                                                        <a:pt x="311426" y="151465"/>
                                                      </a:cubicBezTo>
                                                      <a:cubicBezTo>
                                                        <a:pt x="291874" y="131913"/>
                                                        <a:pt x="305292" y="149043"/>
                                                        <a:pt x="300206" y="98172"/>
                                                      </a:cubicBezTo>
                                                      <a:cubicBezTo>
                                                        <a:pt x="299822" y="94336"/>
                                                        <a:pt x="299126" y="90400"/>
                                                        <a:pt x="297402" y="86952"/>
                                                      </a:cubicBezTo>
                                                      <a:cubicBezTo>
                                                        <a:pt x="295311" y="82771"/>
                                                        <a:pt x="292293" y="79038"/>
                                                        <a:pt x="288987" y="75733"/>
                                                      </a:cubicBezTo>
                                                      <a:cubicBezTo>
                                                        <a:pt x="281680" y="68426"/>
                                                        <a:pt x="270404" y="66880"/>
                                                        <a:pt x="260938" y="64513"/>
                                                      </a:cubicBezTo>
                                                      <a:cubicBezTo>
                                                        <a:pt x="257446" y="59276"/>
                                                        <a:pt x="252630" y="50859"/>
                                                        <a:pt x="246913" y="47683"/>
                                                      </a:cubicBezTo>
                                                      <a:cubicBezTo>
                                                        <a:pt x="241744" y="44811"/>
                                                        <a:pt x="230084" y="42074"/>
                                                        <a:pt x="230084" y="42074"/>
                                                      </a:cubicBezTo>
                                                      <a:cubicBezTo>
                                                        <a:pt x="227279" y="43009"/>
                                                        <a:pt x="223978" y="43032"/>
                                                        <a:pt x="221669" y="44879"/>
                                                      </a:cubicBezTo>
                                                      <a:cubicBezTo>
                                                        <a:pt x="219037" y="46985"/>
                                                        <a:pt x="218217" y="50703"/>
                                                        <a:pt x="216059" y="53293"/>
                                                      </a:cubicBezTo>
                                                      <a:cubicBezTo>
                                                        <a:pt x="213519" y="56340"/>
                                                        <a:pt x="210449" y="58903"/>
                                                        <a:pt x="207644" y="61708"/>
                                                      </a:cubicBezTo>
                                                      <a:cubicBezTo>
                                                        <a:pt x="200068" y="57920"/>
                                                        <a:pt x="192559" y="55643"/>
                                                        <a:pt x="188010" y="47683"/>
                                                      </a:cubicBezTo>
                                                      <a:cubicBezTo>
                                                        <a:pt x="186097" y="44336"/>
                                                        <a:pt x="187613" y="39474"/>
                                                        <a:pt x="185205" y="36464"/>
                                                      </a:cubicBezTo>
                                                      <a:cubicBezTo>
                                                        <a:pt x="183358" y="34155"/>
                                                        <a:pt x="179658" y="34376"/>
                                                        <a:pt x="176790" y="33659"/>
                                                      </a:cubicBezTo>
                                                      <a:cubicBezTo>
                                                        <a:pt x="172165" y="32503"/>
                                                        <a:pt x="167441" y="31789"/>
                                                        <a:pt x="162766" y="30854"/>
                                                      </a:cubicBezTo>
                                                      <a:cubicBezTo>
                                                        <a:pt x="159026" y="28984"/>
                                                        <a:pt x="154503" y="28201"/>
                                                        <a:pt x="151546" y="25244"/>
                                                      </a:cubicBezTo>
                                                      <a:cubicBezTo>
                                                        <a:pt x="136588" y="10286"/>
                                                        <a:pt x="162763" y="21502"/>
                                                        <a:pt x="140327" y="14025"/>
                                                      </a:cubicBezTo>
                                                      <a:cubicBezTo>
                                                        <a:pt x="137522" y="12155"/>
                                                        <a:pt x="134993" y="9784"/>
                                                        <a:pt x="131912" y="8415"/>
                                                      </a:cubicBezTo>
                                                      <a:cubicBezTo>
                                                        <a:pt x="123131" y="4512"/>
                                                        <a:pt x="113188" y="2331"/>
                                                        <a:pt x="103863" y="0"/>
                                                      </a:cubicBezTo>
                                                      <a:cubicBezTo>
                                                        <a:pt x="96383" y="935"/>
                                                        <a:pt x="88508" y="229"/>
                                                        <a:pt x="81424" y="2805"/>
                                                      </a:cubicBezTo>
                                                      <a:cubicBezTo>
                                                        <a:pt x="77696" y="4161"/>
                                                        <a:pt x="76453" y="9252"/>
                                                        <a:pt x="73009" y="11220"/>
                                                      </a:cubicBezTo>
                                                      <a:cubicBezTo>
                                                        <a:pt x="69662" y="13133"/>
                                                        <a:pt x="65496" y="12966"/>
                                                        <a:pt x="61789" y="14025"/>
                                                      </a:cubicBezTo>
                                                      <a:cubicBezTo>
                                                        <a:pt x="58946" y="14837"/>
                                                        <a:pt x="56180" y="15894"/>
                                                        <a:pt x="53375" y="16829"/>
                                                      </a:cubicBezTo>
                                                      <a:cubicBezTo>
                                                        <a:pt x="45895" y="15894"/>
                                                        <a:pt x="38306" y="15604"/>
                                                        <a:pt x="30935" y="14025"/>
                                                      </a:cubicBezTo>
                                                      <a:cubicBezTo>
                                                        <a:pt x="25153" y="12786"/>
                                                        <a:pt x="14106" y="8415"/>
                                                        <a:pt x="14106" y="8415"/>
                                                      </a:cubicBezTo>
                                                      <a:cubicBezTo>
                                                        <a:pt x="11301" y="9350"/>
                                                        <a:pt x="8000" y="9373"/>
                                                        <a:pt x="5691" y="11220"/>
                                                      </a:cubicBezTo>
                                                      <a:cubicBezTo>
                                                        <a:pt x="-5401" y="20093"/>
                                                        <a:pt x="2599" y="26903"/>
                                                        <a:pt x="5691" y="39269"/>
                                                      </a:cubicBezTo>
                                                      <a:cubicBezTo>
                                                        <a:pt x="6847" y="43894"/>
                                                        <a:pt x="6822" y="48829"/>
                                                        <a:pt x="8496" y="53293"/>
                                                      </a:cubicBezTo>
                                                      <a:lnTo>
                                                        <a:pt x="81" y="30854"/>
                                                      </a:ln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4" name="Freeform 233"/>
                                              <p:cNvSpPr/>
                                              <p:nvPr/>
                                            </p:nvSpPr>
                                            <p:spPr>
                                              <a:xfrm>
                                                <a:off x="3985774" y="3239669"/>
                                                <a:ext cx="1123119" cy="1057894"/>
                                              </a:xfrm>
                                              <a:custGeom>
                                                <a:avLst/>
                                                <a:gdLst>
                                                  <a:gd name="connsiteX0" fmla="*/ 44879 w 1123119"/>
                                                  <a:gd name="connsiteY0" fmla="*/ 151465 h 1057894"/>
                                                  <a:gd name="connsiteX1" fmla="*/ 44879 w 1123119"/>
                                                  <a:gd name="connsiteY1" fmla="*/ 151465 h 1057894"/>
                                                  <a:gd name="connsiteX2" fmla="*/ 61708 w 1123119"/>
                                                  <a:gd name="connsiteY2" fmla="*/ 171099 h 1057894"/>
                                                  <a:gd name="connsiteX3" fmla="*/ 58903 w 1123119"/>
                                                  <a:gd name="connsiteY3" fmla="*/ 182319 h 1057894"/>
                                                  <a:gd name="connsiteX4" fmla="*/ 50489 w 1123119"/>
                                                  <a:gd name="connsiteY4" fmla="*/ 199148 h 1057894"/>
                                                  <a:gd name="connsiteX5" fmla="*/ 47684 w 1123119"/>
                                                  <a:gd name="connsiteY5" fmla="*/ 244027 h 1057894"/>
                                                  <a:gd name="connsiteX6" fmla="*/ 30854 w 1123119"/>
                                                  <a:gd name="connsiteY6" fmla="*/ 255246 h 1057894"/>
                                                  <a:gd name="connsiteX7" fmla="*/ 25244 w 1123119"/>
                                                  <a:gd name="connsiteY7" fmla="*/ 263661 h 1057894"/>
                                                  <a:gd name="connsiteX8" fmla="*/ 11220 w 1123119"/>
                                                  <a:gd name="connsiteY8" fmla="*/ 277686 h 1057894"/>
                                                  <a:gd name="connsiteX9" fmla="*/ 5610 w 1123119"/>
                                                  <a:gd name="connsiteY9" fmla="*/ 294515 h 1057894"/>
                                                  <a:gd name="connsiteX10" fmla="*/ 0 w 1123119"/>
                                                  <a:gd name="connsiteY10" fmla="*/ 314149 h 1057894"/>
                                                  <a:gd name="connsiteX11" fmla="*/ 2805 w 1123119"/>
                                                  <a:gd name="connsiteY11" fmla="*/ 336589 h 1057894"/>
                                                  <a:gd name="connsiteX12" fmla="*/ 5610 w 1123119"/>
                                                  <a:gd name="connsiteY12" fmla="*/ 345003 h 1057894"/>
                                                  <a:gd name="connsiteX13" fmla="*/ 30854 w 1123119"/>
                                                  <a:gd name="connsiteY13" fmla="*/ 367443 h 1057894"/>
                                                  <a:gd name="connsiteX14" fmla="*/ 39269 w 1123119"/>
                                                  <a:gd name="connsiteY14" fmla="*/ 384272 h 1057894"/>
                                                  <a:gd name="connsiteX15" fmla="*/ 36464 w 1123119"/>
                                                  <a:gd name="connsiteY15" fmla="*/ 398297 h 1057894"/>
                                                  <a:gd name="connsiteX16" fmla="*/ 42074 w 1123119"/>
                                                  <a:gd name="connsiteY16" fmla="*/ 431956 h 1057894"/>
                                                  <a:gd name="connsiteX17" fmla="*/ 53293 w 1123119"/>
                                                  <a:gd name="connsiteY17" fmla="*/ 448785 h 1057894"/>
                                                  <a:gd name="connsiteX18" fmla="*/ 58903 w 1123119"/>
                                                  <a:gd name="connsiteY18" fmla="*/ 465614 h 1057894"/>
                                                  <a:gd name="connsiteX19" fmla="*/ 56098 w 1123119"/>
                                                  <a:gd name="connsiteY19" fmla="*/ 496468 h 1057894"/>
                                                  <a:gd name="connsiteX20" fmla="*/ 50489 w 1123119"/>
                                                  <a:gd name="connsiteY20" fmla="*/ 513298 h 1057894"/>
                                                  <a:gd name="connsiteX21" fmla="*/ 53293 w 1123119"/>
                                                  <a:gd name="connsiteY21" fmla="*/ 577811 h 1057894"/>
                                                  <a:gd name="connsiteX22" fmla="*/ 56098 w 1123119"/>
                                                  <a:gd name="connsiteY22" fmla="*/ 586225 h 1057894"/>
                                                  <a:gd name="connsiteX23" fmla="*/ 64513 w 1123119"/>
                                                  <a:gd name="connsiteY23" fmla="*/ 591835 h 1057894"/>
                                                  <a:gd name="connsiteX24" fmla="*/ 67318 w 1123119"/>
                                                  <a:gd name="connsiteY24" fmla="*/ 603055 h 1057894"/>
                                                  <a:gd name="connsiteX25" fmla="*/ 67318 w 1123119"/>
                                                  <a:gd name="connsiteY25" fmla="*/ 692812 h 1057894"/>
                                                  <a:gd name="connsiteX26" fmla="*/ 78538 w 1123119"/>
                                                  <a:gd name="connsiteY26" fmla="*/ 698422 h 1057894"/>
                                                  <a:gd name="connsiteX27" fmla="*/ 86952 w 1123119"/>
                                                  <a:gd name="connsiteY27" fmla="*/ 695617 h 1057894"/>
                                                  <a:gd name="connsiteX28" fmla="*/ 98172 w 1123119"/>
                                                  <a:gd name="connsiteY28" fmla="*/ 698422 h 1057894"/>
                                                  <a:gd name="connsiteX29" fmla="*/ 106587 w 1123119"/>
                                                  <a:gd name="connsiteY29" fmla="*/ 720861 h 1057894"/>
                                                  <a:gd name="connsiteX30" fmla="*/ 112197 w 1123119"/>
                                                  <a:gd name="connsiteY30" fmla="*/ 737691 h 1057894"/>
                                                  <a:gd name="connsiteX31" fmla="*/ 120611 w 1123119"/>
                                                  <a:gd name="connsiteY31" fmla="*/ 740495 h 1057894"/>
                                                  <a:gd name="connsiteX32" fmla="*/ 137441 w 1123119"/>
                                                  <a:gd name="connsiteY32" fmla="*/ 748910 h 1057894"/>
                                                  <a:gd name="connsiteX33" fmla="*/ 145855 w 1123119"/>
                                                  <a:gd name="connsiteY33" fmla="*/ 754520 h 1057894"/>
                                                  <a:gd name="connsiteX34" fmla="*/ 173905 w 1123119"/>
                                                  <a:gd name="connsiteY34" fmla="*/ 762935 h 1057894"/>
                                                  <a:gd name="connsiteX35" fmla="*/ 210368 w 1123119"/>
                                                  <a:gd name="connsiteY35" fmla="*/ 760130 h 1057894"/>
                                                  <a:gd name="connsiteX36" fmla="*/ 232808 w 1123119"/>
                                                  <a:gd name="connsiteY36" fmla="*/ 762935 h 1057894"/>
                                                  <a:gd name="connsiteX37" fmla="*/ 230003 w 1123119"/>
                                                  <a:gd name="connsiteY37" fmla="*/ 782569 h 1057894"/>
                                                  <a:gd name="connsiteX38" fmla="*/ 213173 w 1123119"/>
                                                  <a:gd name="connsiteY38" fmla="*/ 793789 h 1057894"/>
                                                  <a:gd name="connsiteX39" fmla="*/ 210368 w 1123119"/>
                                                  <a:gd name="connsiteY39" fmla="*/ 819033 h 1057894"/>
                                                  <a:gd name="connsiteX40" fmla="*/ 218783 w 1123119"/>
                                                  <a:gd name="connsiteY40" fmla="*/ 821838 h 1057894"/>
                                                  <a:gd name="connsiteX41" fmla="*/ 224393 w 1123119"/>
                                                  <a:gd name="connsiteY41" fmla="*/ 830252 h 1057894"/>
                                                  <a:gd name="connsiteX42" fmla="*/ 232808 w 1123119"/>
                                                  <a:gd name="connsiteY42" fmla="*/ 833057 h 1057894"/>
                                                  <a:gd name="connsiteX43" fmla="*/ 252442 w 1123119"/>
                                                  <a:gd name="connsiteY43" fmla="*/ 852692 h 1057894"/>
                                                  <a:gd name="connsiteX44" fmla="*/ 280491 w 1123119"/>
                                                  <a:gd name="connsiteY44" fmla="*/ 849887 h 1057894"/>
                                                  <a:gd name="connsiteX45" fmla="*/ 291711 w 1123119"/>
                                                  <a:gd name="connsiteY45" fmla="*/ 833057 h 1057894"/>
                                                  <a:gd name="connsiteX46" fmla="*/ 294516 w 1123119"/>
                                                  <a:gd name="connsiteY46" fmla="*/ 807813 h 1057894"/>
                                                  <a:gd name="connsiteX47" fmla="*/ 302930 w 1123119"/>
                                                  <a:gd name="connsiteY47" fmla="*/ 810618 h 1057894"/>
                                                  <a:gd name="connsiteX48" fmla="*/ 311345 w 1123119"/>
                                                  <a:gd name="connsiteY48" fmla="*/ 819033 h 1057894"/>
                                                  <a:gd name="connsiteX49" fmla="*/ 319760 w 1123119"/>
                                                  <a:gd name="connsiteY49" fmla="*/ 824643 h 1057894"/>
                                                  <a:gd name="connsiteX50" fmla="*/ 328174 w 1123119"/>
                                                  <a:gd name="connsiteY50" fmla="*/ 841472 h 1057894"/>
                                                  <a:gd name="connsiteX51" fmla="*/ 347809 w 1123119"/>
                                                  <a:gd name="connsiteY51" fmla="*/ 849887 h 1057894"/>
                                                  <a:gd name="connsiteX52" fmla="*/ 361833 w 1123119"/>
                                                  <a:gd name="connsiteY52" fmla="*/ 852692 h 1057894"/>
                                                  <a:gd name="connsiteX53" fmla="*/ 373053 w 1123119"/>
                                                  <a:gd name="connsiteY53" fmla="*/ 883546 h 1057894"/>
                                                  <a:gd name="connsiteX54" fmla="*/ 384273 w 1123119"/>
                                                  <a:gd name="connsiteY54" fmla="*/ 886351 h 1057894"/>
                                                  <a:gd name="connsiteX55" fmla="*/ 409517 w 1123119"/>
                                                  <a:gd name="connsiteY55" fmla="*/ 894765 h 1057894"/>
                                                  <a:gd name="connsiteX56" fmla="*/ 412322 w 1123119"/>
                                                  <a:gd name="connsiteY56" fmla="*/ 886351 h 1057894"/>
                                                  <a:gd name="connsiteX57" fmla="*/ 431956 w 1123119"/>
                                                  <a:gd name="connsiteY57" fmla="*/ 886351 h 1057894"/>
                                                  <a:gd name="connsiteX58" fmla="*/ 440371 w 1123119"/>
                                                  <a:gd name="connsiteY58" fmla="*/ 889156 h 1057894"/>
                                                  <a:gd name="connsiteX59" fmla="*/ 448786 w 1123119"/>
                                                  <a:gd name="connsiteY59" fmla="*/ 894765 h 1057894"/>
                                                  <a:gd name="connsiteX60" fmla="*/ 465615 w 1123119"/>
                                                  <a:gd name="connsiteY60" fmla="*/ 900375 h 1057894"/>
                                                  <a:gd name="connsiteX61" fmla="*/ 474030 w 1123119"/>
                                                  <a:gd name="connsiteY61" fmla="*/ 903180 h 1057894"/>
                                                  <a:gd name="connsiteX62" fmla="*/ 479639 w 1123119"/>
                                                  <a:gd name="connsiteY62" fmla="*/ 911595 h 1057894"/>
                                                  <a:gd name="connsiteX63" fmla="*/ 485249 w 1123119"/>
                                                  <a:gd name="connsiteY63" fmla="*/ 931229 h 1057894"/>
                                                  <a:gd name="connsiteX64" fmla="*/ 496469 w 1123119"/>
                                                  <a:gd name="connsiteY64" fmla="*/ 948059 h 1057894"/>
                                                  <a:gd name="connsiteX65" fmla="*/ 502079 w 1123119"/>
                                                  <a:gd name="connsiteY65" fmla="*/ 956473 h 1057894"/>
                                                  <a:gd name="connsiteX66" fmla="*/ 507689 w 1123119"/>
                                                  <a:gd name="connsiteY66" fmla="*/ 981718 h 1057894"/>
                                                  <a:gd name="connsiteX67" fmla="*/ 513298 w 1123119"/>
                                                  <a:gd name="connsiteY67" fmla="*/ 992937 h 1057894"/>
                                                  <a:gd name="connsiteX68" fmla="*/ 516103 w 1123119"/>
                                                  <a:gd name="connsiteY68" fmla="*/ 1001352 h 1057894"/>
                                                  <a:gd name="connsiteX69" fmla="*/ 541347 w 1123119"/>
                                                  <a:gd name="connsiteY69" fmla="*/ 992937 h 1057894"/>
                                                  <a:gd name="connsiteX70" fmla="*/ 549762 w 1123119"/>
                                                  <a:gd name="connsiteY70" fmla="*/ 990132 h 1057894"/>
                                                  <a:gd name="connsiteX71" fmla="*/ 583421 w 1123119"/>
                                                  <a:gd name="connsiteY71" fmla="*/ 976108 h 1057894"/>
                                                  <a:gd name="connsiteX72" fmla="*/ 586226 w 1123119"/>
                                                  <a:gd name="connsiteY72" fmla="*/ 992937 h 1057894"/>
                                                  <a:gd name="connsiteX73" fmla="*/ 594641 w 1123119"/>
                                                  <a:gd name="connsiteY73" fmla="*/ 995742 h 1057894"/>
                                                  <a:gd name="connsiteX74" fmla="*/ 608665 w 1123119"/>
                                                  <a:gd name="connsiteY74" fmla="*/ 998547 h 1057894"/>
                                                  <a:gd name="connsiteX75" fmla="*/ 614275 w 1123119"/>
                                                  <a:gd name="connsiteY75" fmla="*/ 1006962 h 1057894"/>
                                                  <a:gd name="connsiteX76" fmla="*/ 608665 w 1123119"/>
                                                  <a:gd name="connsiteY76" fmla="*/ 1023791 h 1057894"/>
                                                  <a:gd name="connsiteX77" fmla="*/ 611470 w 1123119"/>
                                                  <a:gd name="connsiteY77" fmla="*/ 1037816 h 1057894"/>
                                                  <a:gd name="connsiteX78" fmla="*/ 650739 w 1123119"/>
                                                  <a:gd name="connsiteY78" fmla="*/ 1040621 h 1057894"/>
                                                  <a:gd name="connsiteX79" fmla="*/ 661959 w 1123119"/>
                                                  <a:gd name="connsiteY79" fmla="*/ 1029401 h 1057894"/>
                                                  <a:gd name="connsiteX80" fmla="*/ 670373 w 1123119"/>
                                                  <a:gd name="connsiteY80" fmla="*/ 1018181 h 1057894"/>
                                                  <a:gd name="connsiteX81" fmla="*/ 678788 w 1123119"/>
                                                  <a:gd name="connsiteY81" fmla="*/ 1015376 h 1057894"/>
                                                  <a:gd name="connsiteX82" fmla="*/ 712447 w 1123119"/>
                                                  <a:gd name="connsiteY82" fmla="*/ 1006962 h 1057894"/>
                                                  <a:gd name="connsiteX83" fmla="*/ 732081 w 1123119"/>
                                                  <a:gd name="connsiteY83" fmla="*/ 1009767 h 1057894"/>
                                                  <a:gd name="connsiteX84" fmla="*/ 743301 w 1123119"/>
                                                  <a:gd name="connsiteY84" fmla="*/ 1023791 h 1057894"/>
                                                  <a:gd name="connsiteX85" fmla="*/ 754520 w 1123119"/>
                                                  <a:gd name="connsiteY85" fmla="*/ 1026596 h 1057894"/>
                                                  <a:gd name="connsiteX86" fmla="*/ 771350 w 1123119"/>
                                                  <a:gd name="connsiteY86" fmla="*/ 1023791 h 1057894"/>
                                                  <a:gd name="connsiteX87" fmla="*/ 774155 w 1123119"/>
                                                  <a:gd name="connsiteY87" fmla="*/ 1015376 h 1057894"/>
                                                  <a:gd name="connsiteX88" fmla="*/ 776960 w 1123119"/>
                                                  <a:gd name="connsiteY88" fmla="*/ 998547 h 1057894"/>
                                                  <a:gd name="connsiteX89" fmla="*/ 785374 w 1123119"/>
                                                  <a:gd name="connsiteY89" fmla="*/ 992937 h 1057894"/>
                                                  <a:gd name="connsiteX90" fmla="*/ 849887 w 1123119"/>
                                                  <a:gd name="connsiteY90" fmla="*/ 995742 h 1057894"/>
                                                  <a:gd name="connsiteX91" fmla="*/ 858302 w 1123119"/>
                                                  <a:gd name="connsiteY91" fmla="*/ 998547 h 1057894"/>
                                                  <a:gd name="connsiteX92" fmla="*/ 872327 w 1123119"/>
                                                  <a:gd name="connsiteY92" fmla="*/ 1023791 h 1057894"/>
                                                  <a:gd name="connsiteX93" fmla="*/ 880741 w 1123119"/>
                                                  <a:gd name="connsiteY93" fmla="*/ 1026596 h 1057894"/>
                                                  <a:gd name="connsiteX94" fmla="*/ 914400 w 1123119"/>
                                                  <a:gd name="connsiteY94" fmla="*/ 1035011 h 1057894"/>
                                                  <a:gd name="connsiteX95" fmla="*/ 934035 w 1123119"/>
                                                  <a:gd name="connsiteY95" fmla="*/ 1043425 h 1057894"/>
                                                  <a:gd name="connsiteX96" fmla="*/ 950864 w 1123119"/>
                                                  <a:gd name="connsiteY96" fmla="*/ 1049035 h 1057894"/>
                                                  <a:gd name="connsiteX97" fmla="*/ 959279 w 1123119"/>
                                                  <a:gd name="connsiteY97" fmla="*/ 1051840 h 1057894"/>
                                                  <a:gd name="connsiteX98" fmla="*/ 967693 w 1123119"/>
                                                  <a:gd name="connsiteY98" fmla="*/ 1057450 h 1057894"/>
                                                  <a:gd name="connsiteX99" fmla="*/ 978913 w 1123119"/>
                                                  <a:gd name="connsiteY99" fmla="*/ 1037816 h 1057894"/>
                                                  <a:gd name="connsiteX100" fmla="*/ 976108 w 1123119"/>
                                                  <a:gd name="connsiteY100" fmla="*/ 1029401 h 1057894"/>
                                                  <a:gd name="connsiteX101" fmla="*/ 967693 w 1123119"/>
                                                  <a:gd name="connsiteY101" fmla="*/ 1023791 h 1057894"/>
                                                  <a:gd name="connsiteX102" fmla="*/ 964889 w 1123119"/>
                                                  <a:gd name="connsiteY102" fmla="*/ 987327 h 1057894"/>
                                                  <a:gd name="connsiteX103" fmla="*/ 959279 w 1123119"/>
                                                  <a:gd name="connsiteY103" fmla="*/ 976108 h 1057894"/>
                                                  <a:gd name="connsiteX104" fmla="*/ 956474 w 1123119"/>
                                                  <a:gd name="connsiteY104" fmla="*/ 967693 h 1057894"/>
                                                  <a:gd name="connsiteX105" fmla="*/ 959279 w 1123119"/>
                                                  <a:gd name="connsiteY105" fmla="*/ 945254 h 1057894"/>
                                                  <a:gd name="connsiteX106" fmla="*/ 964889 w 1123119"/>
                                                  <a:gd name="connsiteY106" fmla="*/ 936839 h 1057894"/>
                                                  <a:gd name="connsiteX107" fmla="*/ 981718 w 1123119"/>
                                                  <a:gd name="connsiteY107" fmla="*/ 917205 h 1057894"/>
                                                  <a:gd name="connsiteX108" fmla="*/ 987328 w 1123119"/>
                                                  <a:gd name="connsiteY108" fmla="*/ 908790 h 1057894"/>
                                                  <a:gd name="connsiteX109" fmla="*/ 995743 w 1123119"/>
                                                  <a:gd name="connsiteY109" fmla="*/ 897570 h 1057894"/>
                                                  <a:gd name="connsiteX110" fmla="*/ 1004157 w 1123119"/>
                                                  <a:gd name="connsiteY110" fmla="*/ 889156 h 1057894"/>
                                                  <a:gd name="connsiteX111" fmla="*/ 1012572 w 1123119"/>
                                                  <a:gd name="connsiteY111" fmla="*/ 877936 h 1057894"/>
                                                  <a:gd name="connsiteX112" fmla="*/ 1020987 w 1123119"/>
                                                  <a:gd name="connsiteY112" fmla="*/ 869521 h 1057894"/>
                                                  <a:gd name="connsiteX113" fmla="*/ 1026597 w 1123119"/>
                                                  <a:gd name="connsiteY113" fmla="*/ 858302 h 1057894"/>
                                                  <a:gd name="connsiteX114" fmla="*/ 1049036 w 1123119"/>
                                                  <a:gd name="connsiteY114" fmla="*/ 835862 h 1057894"/>
                                                  <a:gd name="connsiteX115" fmla="*/ 1065865 w 1123119"/>
                                                  <a:gd name="connsiteY115" fmla="*/ 819033 h 1057894"/>
                                                  <a:gd name="connsiteX116" fmla="*/ 1082695 w 1123119"/>
                                                  <a:gd name="connsiteY116" fmla="*/ 807813 h 1057894"/>
                                                  <a:gd name="connsiteX117" fmla="*/ 1091109 w 1123119"/>
                                                  <a:gd name="connsiteY117" fmla="*/ 802203 h 1057894"/>
                                                  <a:gd name="connsiteX118" fmla="*/ 1099524 w 1123119"/>
                                                  <a:gd name="connsiteY118" fmla="*/ 799398 h 1057894"/>
                                                  <a:gd name="connsiteX119" fmla="*/ 1105134 w 1123119"/>
                                                  <a:gd name="connsiteY119" fmla="*/ 790984 h 1057894"/>
                                                  <a:gd name="connsiteX120" fmla="*/ 1107939 w 1123119"/>
                                                  <a:gd name="connsiteY120" fmla="*/ 782569 h 1057894"/>
                                                  <a:gd name="connsiteX121" fmla="*/ 1119159 w 1123119"/>
                                                  <a:gd name="connsiteY121" fmla="*/ 762935 h 1057894"/>
                                                  <a:gd name="connsiteX122" fmla="*/ 1119159 w 1123119"/>
                                                  <a:gd name="connsiteY122" fmla="*/ 712446 h 1057894"/>
                                                  <a:gd name="connsiteX123" fmla="*/ 1113549 w 1123119"/>
                                                  <a:gd name="connsiteY123" fmla="*/ 695617 h 1057894"/>
                                                  <a:gd name="connsiteX124" fmla="*/ 1105134 w 1123119"/>
                                                  <a:gd name="connsiteY124" fmla="*/ 684397 h 1057894"/>
                                                  <a:gd name="connsiteX125" fmla="*/ 1093914 w 1123119"/>
                                                  <a:gd name="connsiteY125" fmla="*/ 670373 h 1057894"/>
                                                  <a:gd name="connsiteX126" fmla="*/ 1091109 w 1123119"/>
                                                  <a:gd name="connsiteY126" fmla="*/ 661958 h 1057894"/>
                                                  <a:gd name="connsiteX127" fmla="*/ 1085500 w 1123119"/>
                                                  <a:gd name="connsiteY127" fmla="*/ 653543 h 1057894"/>
                                                  <a:gd name="connsiteX128" fmla="*/ 1079890 w 1123119"/>
                                                  <a:gd name="connsiteY128" fmla="*/ 636714 h 1057894"/>
                                                  <a:gd name="connsiteX129" fmla="*/ 1068670 w 1123119"/>
                                                  <a:gd name="connsiteY129" fmla="*/ 611470 h 1057894"/>
                                                  <a:gd name="connsiteX130" fmla="*/ 1057451 w 1123119"/>
                                                  <a:gd name="connsiteY130" fmla="*/ 586225 h 1057894"/>
                                                  <a:gd name="connsiteX131" fmla="*/ 1054646 w 1123119"/>
                                                  <a:gd name="connsiteY131" fmla="*/ 572201 h 1057894"/>
                                                  <a:gd name="connsiteX132" fmla="*/ 1051841 w 1123119"/>
                                                  <a:gd name="connsiteY132" fmla="*/ 563786 h 1057894"/>
                                                  <a:gd name="connsiteX133" fmla="*/ 1049036 w 1123119"/>
                                                  <a:gd name="connsiteY133" fmla="*/ 530127 h 1057894"/>
                                                  <a:gd name="connsiteX134" fmla="*/ 1035011 w 1123119"/>
                                                  <a:gd name="connsiteY134" fmla="*/ 474029 h 1057894"/>
                                                  <a:gd name="connsiteX135" fmla="*/ 1026597 w 1123119"/>
                                                  <a:gd name="connsiteY135" fmla="*/ 471224 h 1057894"/>
                                                  <a:gd name="connsiteX136" fmla="*/ 1018182 w 1123119"/>
                                                  <a:gd name="connsiteY136" fmla="*/ 465614 h 1057894"/>
                                                  <a:gd name="connsiteX137" fmla="*/ 1006962 w 1123119"/>
                                                  <a:gd name="connsiteY137" fmla="*/ 448785 h 1057894"/>
                                                  <a:gd name="connsiteX138" fmla="*/ 1020987 w 1123119"/>
                                                  <a:gd name="connsiteY138" fmla="*/ 420736 h 1057894"/>
                                                  <a:gd name="connsiteX139" fmla="*/ 1037816 w 1123119"/>
                                                  <a:gd name="connsiteY139" fmla="*/ 406711 h 1057894"/>
                                                  <a:gd name="connsiteX140" fmla="*/ 1057451 w 1123119"/>
                                                  <a:gd name="connsiteY140" fmla="*/ 389882 h 1057894"/>
                                                  <a:gd name="connsiteX141" fmla="*/ 1071475 w 1123119"/>
                                                  <a:gd name="connsiteY141" fmla="*/ 364638 h 1057894"/>
                                                  <a:gd name="connsiteX142" fmla="*/ 1074280 w 1123119"/>
                                                  <a:gd name="connsiteY142" fmla="*/ 353418 h 1057894"/>
                                                  <a:gd name="connsiteX143" fmla="*/ 1071475 w 1123119"/>
                                                  <a:gd name="connsiteY143" fmla="*/ 288905 h 1057894"/>
                                                  <a:gd name="connsiteX144" fmla="*/ 1068670 w 1123119"/>
                                                  <a:gd name="connsiteY144" fmla="*/ 280491 h 1057894"/>
                                                  <a:gd name="connsiteX145" fmla="*/ 1054646 w 1123119"/>
                                                  <a:gd name="connsiteY145" fmla="*/ 255246 h 1057894"/>
                                                  <a:gd name="connsiteX146" fmla="*/ 1049036 w 1123119"/>
                                                  <a:gd name="connsiteY146" fmla="*/ 244027 h 1057894"/>
                                                  <a:gd name="connsiteX147" fmla="*/ 1035011 w 1123119"/>
                                                  <a:gd name="connsiteY147" fmla="*/ 218783 h 1057894"/>
                                                  <a:gd name="connsiteX148" fmla="*/ 1026597 w 1123119"/>
                                                  <a:gd name="connsiteY148" fmla="*/ 193538 h 1057894"/>
                                                  <a:gd name="connsiteX149" fmla="*/ 1020987 w 1123119"/>
                                                  <a:gd name="connsiteY149" fmla="*/ 145855 h 1057894"/>
                                                  <a:gd name="connsiteX150" fmla="*/ 1012572 w 1123119"/>
                                                  <a:gd name="connsiteY150" fmla="*/ 123416 h 1057894"/>
                                                  <a:gd name="connsiteX151" fmla="*/ 1001352 w 1123119"/>
                                                  <a:gd name="connsiteY151" fmla="*/ 106586 h 1057894"/>
                                                  <a:gd name="connsiteX152" fmla="*/ 984523 w 1123119"/>
                                                  <a:gd name="connsiteY152" fmla="*/ 89757 h 1057894"/>
                                                  <a:gd name="connsiteX153" fmla="*/ 976108 w 1123119"/>
                                                  <a:gd name="connsiteY153" fmla="*/ 84147 h 1057894"/>
                                                  <a:gd name="connsiteX154" fmla="*/ 934035 w 1123119"/>
                                                  <a:gd name="connsiteY154" fmla="*/ 81342 h 1057894"/>
                                                  <a:gd name="connsiteX155" fmla="*/ 922815 w 1123119"/>
                                                  <a:gd name="connsiteY155" fmla="*/ 78537 h 1057894"/>
                                                  <a:gd name="connsiteX156" fmla="*/ 883546 w 1123119"/>
                                                  <a:gd name="connsiteY156" fmla="*/ 84147 h 1057894"/>
                                                  <a:gd name="connsiteX157" fmla="*/ 847082 w 1123119"/>
                                                  <a:gd name="connsiteY157" fmla="*/ 86952 h 1057894"/>
                                                  <a:gd name="connsiteX158" fmla="*/ 687203 w 1123119"/>
                                                  <a:gd name="connsiteY158" fmla="*/ 84147 h 1057894"/>
                                                  <a:gd name="connsiteX159" fmla="*/ 673178 w 1123119"/>
                                                  <a:gd name="connsiteY159" fmla="*/ 81342 h 1057894"/>
                                                  <a:gd name="connsiteX160" fmla="*/ 656349 w 1123119"/>
                                                  <a:gd name="connsiteY160" fmla="*/ 78537 h 1057894"/>
                                                  <a:gd name="connsiteX161" fmla="*/ 642324 w 1123119"/>
                                                  <a:gd name="connsiteY161" fmla="*/ 72927 h 1057894"/>
                                                  <a:gd name="connsiteX162" fmla="*/ 633909 w 1123119"/>
                                                  <a:gd name="connsiteY162" fmla="*/ 70122 h 1057894"/>
                                                  <a:gd name="connsiteX163" fmla="*/ 608665 w 1123119"/>
                                                  <a:gd name="connsiteY163" fmla="*/ 75732 h 1057894"/>
                                                  <a:gd name="connsiteX164" fmla="*/ 600251 w 1123119"/>
                                                  <a:gd name="connsiteY164" fmla="*/ 81342 h 1057894"/>
                                                  <a:gd name="connsiteX165" fmla="*/ 594641 w 1123119"/>
                                                  <a:gd name="connsiteY165" fmla="*/ 89757 h 1057894"/>
                                                  <a:gd name="connsiteX166" fmla="*/ 583421 w 1123119"/>
                                                  <a:gd name="connsiteY166" fmla="*/ 95367 h 1057894"/>
                                                  <a:gd name="connsiteX167" fmla="*/ 566592 w 1123119"/>
                                                  <a:gd name="connsiteY167" fmla="*/ 100976 h 1057894"/>
                                                  <a:gd name="connsiteX168" fmla="*/ 549762 w 1123119"/>
                                                  <a:gd name="connsiteY168" fmla="*/ 95367 h 1057894"/>
                                                  <a:gd name="connsiteX169" fmla="*/ 541347 w 1123119"/>
                                                  <a:gd name="connsiteY169" fmla="*/ 89757 h 1057894"/>
                                                  <a:gd name="connsiteX170" fmla="*/ 521713 w 1123119"/>
                                                  <a:gd name="connsiteY170" fmla="*/ 86952 h 1057894"/>
                                                  <a:gd name="connsiteX171" fmla="*/ 510493 w 1123119"/>
                                                  <a:gd name="connsiteY171" fmla="*/ 78537 h 1057894"/>
                                                  <a:gd name="connsiteX172" fmla="*/ 507689 w 1123119"/>
                                                  <a:gd name="connsiteY172" fmla="*/ 70122 h 1057894"/>
                                                  <a:gd name="connsiteX173" fmla="*/ 502079 w 1123119"/>
                                                  <a:gd name="connsiteY173" fmla="*/ 61708 h 1057894"/>
                                                  <a:gd name="connsiteX174" fmla="*/ 499274 w 1123119"/>
                                                  <a:gd name="connsiteY174" fmla="*/ 53293 h 1057894"/>
                                                  <a:gd name="connsiteX175" fmla="*/ 496469 w 1123119"/>
                                                  <a:gd name="connsiteY175" fmla="*/ 42073 h 1057894"/>
                                                  <a:gd name="connsiteX176" fmla="*/ 490859 w 1123119"/>
                                                  <a:gd name="connsiteY176" fmla="*/ 33659 h 1057894"/>
                                                  <a:gd name="connsiteX177" fmla="*/ 488054 w 1123119"/>
                                                  <a:gd name="connsiteY177" fmla="*/ 25244 h 1057894"/>
                                                  <a:gd name="connsiteX178" fmla="*/ 482444 w 1123119"/>
                                                  <a:gd name="connsiteY178" fmla="*/ 16829 h 1057894"/>
                                                  <a:gd name="connsiteX179" fmla="*/ 488054 w 1123119"/>
                                                  <a:gd name="connsiteY179" fmla="*/ 28049 h 1057894"/>
                                                  <a:gd name="connsiteX180" fmla="*/ 496469 w 1123119"/>
                                                  <a:gd name="connsiteY180" fmla="*/ 30854 h 1057894"/>
                                                  <a:gd name="connsiteX181" fmla="*/ 504884 w 1123119"/>
                                                  <a:gd name="connsiteY181" fmla="*/ 36464 h 1057894"/>
                                                  <a:gd name="connsiteX182" fmla="*/ 507689 w 1123119"/>
                                                  <a:gd name="connsiteY182" fmla="*/ 28049 h 1057894"/>
                                                  <a:gd name="connsiteX183" fmla="*/ 479639 w 1123119"/>
                                                  <a:gd name="connsiteY183" fmla="*/ 8414 h 1057894"/>
                                                  <a:gd name="connsiteX184" fmla="*/ 471225 w 1123119"/>
                                                  <a:gd name="connsiteY184" fmla="*/ 5610 h 1057894"/>
                                                  <a:gd name="connsiteX185" fmla="*/ 451590 w 1123119"/>
                                                  <a:gd name="connsiteY185" fmla="*/ 0 h 1057894"/>
                                                  <a:gd name="connsiteX186" fmla="*/ 384273 w 1123119"/>
                                                  <a:gd name="connsiteY186" fmla="*/ 2805 h 1057894"/>
                                                  <a:gd name="connsiteX187" fmla="*/ 373053 w 1123119"/>
                                                  <a:gd name="connsiteY187" fmla="*/ 5610 h 1057894"/>
                                                  <a:gd name="connsiteX188" fmla="*/ 356224 w 1123119"/>
                                                  <a:gd name="connsiteY188" fmla="*/ 16829 h 1057894"/>
                                                  <a:gd name="connsiteX189" fmla="*/ 347809 w 1123119"/>
                                                  <a:gd name="connsiteY189" fmla="*/ 22439 h 1057894"/>
                                                  <a:gd name="connsiteX190" fmla="*/ 336589 w 1123119"/>
                                                  <a:gd name="connsiteY190" fmla="*/ 25244 h 1057894"/>
                                                  <a:gd name="connsiteX191" fmla="*/ 325370 w 1123119"/>
                                                  <a:gd name="connsiteY191" fmla="*/ 30854 h 1057894"/>
                                                  <a:gd name="connsiteX192" fmla="*/ 308540 w 1123119"/>
                                                  <a:gd name="connsiteY192" fmla="*/ 33659 h 1057894"/>
                                                  <a:gd name="connsiteX193" fmla="*/ 297320 w 1123119"/>
                                                  <a:gd name="connsiteY193" fmla="*/ 36464 h 1057894"/>
                                                  <a:gd name="connsiteX194" fmla="*/ 272076 w 1123119"/>
                                                  <a:gd name="connsiteY194" fmla="*/ 61708 h 1057894"/>
                                                  <a:gd name="connsiteX195" fmla="*/ 255247 w 1123119"/>
                                                  <a:gd name="connsiteY195" fmla="*/ 78537 h 1057894"/>
                                                  <a:gd name="connsiteX196" fmla="*/ 249637 w 1123119"/>
                                                  <a:gd name="connsiteY196" fmla="*/ 86952 h 1057894"/>
                                                  <a:gd name="connsiteX197" fmla="*/ 224393 w 1123119"/>
                                                  <a:gd name="connsiteY197" fmla="*/ 95367 h 1057894"/>
                                                  <a:gd name="connsiteX198" fmla="*/ 213173 w 1123119"/>
                                                  <a:gd name="connsiteY198" fmla="*/ 98171 h 1057894"/>
                                                  <a:gd name="connsiteX199" fmla="*/ 196344 w 1123119"/>
                                                  <a:gd name="connsiteY199" fmla="*/ 103781 h 1057894"/>
                                                  <a:gd name="connsiteX200" fmla="*/ 187929 w 1123119"/>
                                                  <a:gd name="connsiteY200" fmla="*/ 109391 h 1057894"/>
                                                  <a:gd name="connsiteX201" fmla="*/ 165490 w 1123119"/>
                                                  <a:gd name="connsiteY201" fmla="*/ 115001 h 1057894"/>
                                                  <a:gd name="connsiteX202" fmla="*/ 154270 w 1123119"/>
                                                  <a:gd name="connsiteY202" fmla="*/ 117806 h 1057894"/>
                                                  <a:gd name="connsiteX203" fmla="*/ 140246 w 1123119"/>
                                                  <a:gd name="connsiteY203" fmla="*/ 120611 h 1057894"/>
                                                  <a:gd name="connsiteX204" fmla="*/ 129026 w 1123119"/>
                                                  <a:gd name="connsiteY204" fmla="*/ 123416 h 1057894"/>
                                                  <a:gd name="connsiteX205" fmla="*/ 92562 w 1123119"/>
                                                  <a:gd name="connsiteY205" fmla="*/ 129025 h 1057894"/>
                                                  <a:gd name="connsiteX206" fmla="*/ 81343 w 1123119"/>
                                                  <a:gd name="connsiteY206" fmla="*/ 131830 h 1057894"/>
                                                  <a:gd name="connsiteX207" fmla="*/ 50489 w 1123119"/>
                                                  <a:gd name="connsiteY207" fmla="*/ 140245 h 1057894"/>
                                                  <a:gd name="connsiteX208" fmla="*/ 44879 w 1123119"/>
                                                  <a:gd name="connsiteY208" fmla="*/ 151465 h 105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123119" h="1057894">
                                                    <a:moveTo>
                                                      <a:pt x="44879" y="151465"/>
                                                    </a:moveTo>
                                                    <a:lnTo>
                                                      <a:pt x="44879" y="151465"/>
                                                    </a:lnTo>
                                                    <a:cubicBezTo>
                                                      <a:pt x="50489" y="158010"/>
                                                      <a:pt x="58141" y="163252"/>
                                                      <a:pt x="61708" y="171099"/>
                                                    </a:cubicBezTo>
                                                    <a:cubicBezTo>
                                                      <a:pt x="63303" y="174609"/>
                                                      <a:pt x="59962" y="178612"/>
                                                      <a:pt x="58903" y="182319"/>
                                                    </a:cubicBezTo>
                                                    <a:cubicBezTo>
                                                      <a:pt x="56000" y="192478"/>
                                                      <a:pt x="56634" y="189929"/>
                                                      <a:pt x="50489" y="199148"/>
                                                    </a:cubicBezTo>
                                                    <a:cubicBezTo>
                                                      <a:pt x="49554" y="214108"/>
                                                      <a:pt x="52636" y="229880"/>
                                                      <a:pt x="47684" y="244027"/>
                                                    </a:cubicBezTo>
                                                    <a:cubicBezTo>
                                                      <a:pt x="45457" y="250391"/>
                                                      <a:pt x="30854" y="255246"/>
                                                      <a:pt x="30854" y="255246"/>
                                                    </a:cubicBezTo>
                                                    <a:cubicBezTo>
                                                      <a:pt x="28984" y="258051"/>
                                                      <a:pt x="27628" y="261277"/>
                                                      <a:pt x="25244" y="263661"/>
                                                    </a:cubicBezTo>
                                                    <a:cubicBezTo>
                                                      <a:pt x="15521" y="273385"/>
                                                      <a:pt x="17204" y="264222"/>
                                                      <a:pt x="11220" y="277686"/>
                                                    </a:cubicBezTo>
                                                    <a:cubicBezTo>
                                                      <a:pt x="8818" y="283089"/>
                                                      <a:pt x="7480" y="288905"/>
                                                      <a:pt x="5610" y="294515"/>
                                                    </a:cubicBezTo>
                                                    <a:cubicBezTo>
                                                      <a:pt x="1586" y="306585"/>
                                                      <a:pt x="3522" y="300064"/>
                                                      <a:pt x="0" y="314149"/>
                                                    </a:cubicBezTo>
                                                    <a:cubicBezTo>
                                                      <a:pt x="935" y="321629"/>
                                                      <a:pt x="1456" y="329172"/>
                                                      <a:pt x="2805" y="336589"/>
                                                    </a:cubicBezTo>
                                                    <a:cubicBezTo>
                                                      <a:pt x="3334" y="339498"/>
                                                      <a:pt x="3795" y="342669"/>
                                                      <a:pt x="5610" y="345003"/>
                                                    </a:cubicBezTo>
                                                    <a:cubicBezTo>
                                                      <a:pt x="15957" y="358306"/>
                                                      <a:pt x="19605" y="359944"/>
                                                      <a:pt x="30854" y="367443"/>
                                                    </a:cubicBezTo>
                                                    <a:cubicBezTo>
                                                      <a:pt x="33691" y="371698"/>
                                                      <a:pt x="39269" y="378465"/>
                                                      <a:pt x="39269" y="384272"/>
                                                    </a:cubicBezTo>
                                                    <a:cubicBezTo>
                                                      <a:pt x="39269" y="389040"/>
                                                      <a:pt x="37399" y="393622"/>
                                                      <a:pt x="36464" y="398297"/>
                                                    </a:cubicBezTo>
                                                    <a:cubicBezTo>
                                                      <a:pt x="36979" y="402933"/>
                                                      <a:pt x="37505" y="423732"/>
                                                      <a:pt x="42074" y="431956"/>
                                                    </a:cubicBezTo>
                                                    <a:cubicBezTo>
                                                      <a:pt x="45348" y="437850"/>
                                                      <a:pt x="51161" y="442389"/>
                                                      <a:pt x="53293" y="448785"/>
                                                    </a:cubicBezTo>
                                                    <a:lnTo>
                                                      <a:pt x="58903" y="465614"/>
                                                    </a:lnTo>
                                                    <a:cubicBezTo>
                                                      <a:pt x="57968" y="475899"/>
                                                      <a:pt x="57893" y="486298"/>
                                                      <a:pt x="56098" y="496468"/>
                                                    </a:cubicBezTo>
                                                    <a:cubicBezTo>
                                                      <a:pt x="55070" y="502291"/>
                                                      <a:pt x="50489" y="513298"/>
                                                      <a:pt x="50489" y="513298"/>
                                                    </a:cubicBezTo>
                                                    <a:cubicBezTo>
                                                      <a:pt x="51424" y="534802"/>
                                                      <a:pt x="51642" y="556350"/>
                                                      <a:pt x="53293" y="577811"/>
                                                    </a:cubicBezTo>
                                                    <a:cubicBezTo>
                                                      <a:pt x="53520" y="580759"/>
                                                      <a:pt x="54251" y="583916"/>
                                                      <a:pt x="56098" y="586225"/>
                                                    </a:cubicBezTo>
                                                    <a:cubicBezTo>
                                                      <a:pt x="58204" y="588857"/>
                                                      <a:pt x="61708" y="589965"/>
                                                      <a:pt x="64513" y="591835"/>
                                                    </a:cubicBezTo>
                                                    <a:cubicBezTo>
                                                      <a:pt x="65448" y="595575"/>
                                                      <a:pt x="66952" y="599217"/>
                                                      <a:pt x="67318" y="603055"/>
                                                    </a:cubicBezTo>
                                                    <a:cubicBezTo>
                                                      <a:pt x="71874" y="650889"/>
                                                      <a:pt x="70365" y="647105"/>
                                                      <a:pt x="67318" y="692812"/>
                                                    </a:cubicBezTo>
                                                    <a:cubicBezTo>
                                                      <a:pt x="71058" y="694682"/>
                                                      <a:pt x="74399" y="697831"/>
                                                      <a:pt x="78538" y="698422"/>
                                                    </a:cubicBezTo>
                                                    <a:cubicBezTo>
                                                      <a:pt x="81465" y="698840"/>
                                                      <a:pt x="83996" y="695617"/>
                                                      <a:pt x="86952" y="695617"/>
                                                    </a:cubicBezTo>
                                                    <a:cubicBezTo>
                                                      <a:pt x="90807" y="695617"/>
                                                      <a:pt x="94432" y="697487"/>
                                                      <a:pt x="98172" y="698422"/>
                                                    </a:cubicBezTo>
                                                    <a:cubicBezTo>
                                                      <a:pt x="107935" y="713066"/>
                                                      <a:pt x="100988" y="700332"/>
                                                      <a:pt x="106587" y="720861"/>
                                                    </a:cubicBezTo>
                                                    <a:cubicBezTo>
                                                      <a:pt x="108143" y="726566"/>
                                                      <a:pt x="106587" y="735821"/>
                                                      <a:pt x="112197" y="737691"/>
                                                    </a:cubicBezTo>
                                                    <a:lnTo>
                                                      <a:pt x="120611" y="740495"/>
                                                    </a:lnTo>
                                                    <a:cubicBezTo>
                                                      <a:pt x="144732" y="756576"/>
                                                      <a:pt x="114210" y="737294"/>
                                                      <a:pt x="137441" y="748910"/>
                                                    </a:cubicBezTo>
                                                    <a:cubicBezTo>
                                                      <a:pt x="140456" y="750418"/>
                                                      <a:pt x="142775" y="753151"/>
                                                      <a:pt x="145855" y="754520"/>
                                                    </a:cubicBezTo>
                                                    <a:cubicBezTo>
                                                      <a:pt x="154634" y="758422"/>
                                                      <a:pt x="164581" y="760604"/>
                                                      <a:pt x="173905" y="762935"/>
                                                    </a:cubicBezTo>
                                                    <a:cubicBezTo>
                                                      <a:pt x="186059" y="762000"/>
                                                      <a:pt x="198178" y="760130"/>
                                                      <a:pt x="210368" y="760130"/>
                                                    </a:cubicBezTo>
                                                    <a:cubicBezTo>
                                                      <a:pt x="217906" y="760130"/>
                                                      <a:pt x="227844" y="757262"/>
                                                      <a:pt x="232808" y="762935"/>
                                                    </a:cubicBezTo>
                                                    <a:cubicBezTo>
                                                      <a:pt x="237162" y="767910"/>
                                                      <a:pt x="233552" y="776992"/>
                                                      <a:pt x="230003" y="782569"/>
                                                    </a:cubicBezTo>
                                                    <a:cubicBezTo>
                                                      <a:pt x="226383" y="788257"/>
                                                      <a:pt x="213173" y="793789"/>
                                                      <a:pt x="213173" y="793789"/>
                                                    </a:cubicBezTo>
                                                    <a:cubicBezTo>
                                                      <a:pt x="207012" y="803030"/>
                                                      <a:pt x="202616" y="805467"/>
                                                      <a:pt x="210368" y="819033"/>
                                                    </a:cubicBezTo>
                                                    <a:cubicBezTo>
                                                      <a:pt x="211835" y="821600"/>
                                                      <a:pt x="215978" y="820903"/>
                                                      <a:pt x="218783" y="821838"/>
                                                    </a:cubicBezTo>
                                                    <a:cubicBezTo>
                                                      <a:pt x="220653" y="824643"/>
                                                      <a:pt x="221761" y="828146"/>
                                                      <a:pt x="224393" y="830252"/>
                                                    </a:cubicBezTo>
                                                    <a:cubicBezTo>
                                                      <a:pt x="226702" y="832099"/>
                                                      <a:pt x="230717" y="830966"/>
                                                      <a:pt x="232808" y="833057"/>
                                                    </a:cubicBezTo>
                                                    <a:cubicBezTo>
                                                      <a:pt x="255312" y="855562"/>
                                                      <a:pt x="233401" y="846345"/>
                                                      <a:pt x="252442" y="852692"/>
                                                    </a:cubicBezTo>
                                                    <a:cubicBezTo>
                                                      <a:pt x="261792" y="851757"/>
                                                      <a:pt x="272087" y="854089"/>
                                                      <a:pt x="280491" y="849887"/>
                                                    </a:cubicBezTo>
                                                    <a:cubicBezTo>
                                                      <a:pt x="286522" y="846872"/>
                                                      <a:pt x="291711" y="833057"/>
                                                      <a:pt x="291711" y="833057"/>
                                                    </a:cubicBezTo>
                                                    <a:cubicBezTo>
                                                      <a:pt x="292646" y="824642"/>
                                                      <a:pt x="290730" y="815386"/>
                                                      <a:pt x="294516" y="807813"/>
                                                    </a:cubicBezTo>
                                                    <a:cubicBezTo>
                                                      <a:pt x="295838" y="805169"/>
                                                      <a:pt x="300470" y="808978"/>
                                                      <a:pt x="302930" y="810618"/>
                                                    </a:cubicBezTo>
                                                    <a:cubicBezTo>
                                                      <a:pt x="306231" y="812819"/>
                                                      <a:pt x="308298" y="816493"/>
                                                      <a:pt x="311345" y="819033"/>
                                                    </a:cubicBezTo>
                                                    <a:cubicBezTo>
                                                      <a:pt x="313935" y="821191"/>
                                                      <a:pt x="316955" y="822773"/>
                                                      <a:pt x="319760" y="824643"/>
                                                    </a:cubicBezTo>
                                                    <a:cubicBezTo>
                                                      <a:pt x="322041" y="831485"/>
                                                      <a:pt x="322739" y="836036"/>
                                                      <a:pt x="328174" y="841472"/>
                                                    </a:cubicBezTo>
                                                    <a:cubicBezTo>
                                                      <a:pt x="334362" y="847661"/>
                                                      <a:pt x="339533" y="848048"/>
                                                      <a:pt x="347809" y="849887"/>
                                                    </a:cubicBezTo>
                                                    <a:cubicBezTo>
                                                      <a:pt x="352463" y="850921"/>
                                                      <a:pt x="357158" y="851757"/>
                                                      <a:pt x="361833" y="852692"/>
                                                    </a:cubicBezTo>
                                                    <a:cubicBezTo>
                                                      <a:pt x="363932" y="871580"/>
                                                      <a:pt x="358023" y="877105"/>
                                                      <a:pt x="373053" y="883546"/>
                                                    </a:cubicBezTo>
                                                    <a:cubicBezTo>
                                                      <a:pt x="376596" y="885065"/>
                                                      <a:pt x="380533" y="885416"/>
                                                      <a:pt x="384273" y="886351"/>
                                                    </a:cubicBezTo>
                                                    <a:cubicBezTo>
                                                      <a:pt x="403562" y="899210"/>
                                                      <a:pt x="394706" y="899702"/>
                                                      <a:pt x="409517" y="894765"/>
                                                    </a:cubicBezTo>
                                                    <a:cubicBezTo>
                                                      <a:pt x="410452" y="891960"/>
                                                      <a:pt x="410232" y="888441"/>
                                                      <a:pt x="412322" y="886351"/>
                                                    </a:cubicBezTo>
                                                    <a:cubicBezTo>
                                                      <a:pt x="417834" y="880839"/>
                                                      <a:pt x="426421" y="884769"/>
                                                      <a:pt x="431956" y="886351"/>
                                                    </a:cubicBezTo>
                                                    <a:cubicBezTo>
                                                      <a:pt x="434799" y="887163"/>
                                                      <a:pt x="437726" y="887834"/>
                                                      <a:pt x="440371" y="889156"/>
                                                    </a:cubicBezTo>
                                                    <a:cubicBezTo>
                                                      <a:pt x="443386" y="890663"/>
                                                      <a:pt x="445706" y="893396"/>
                                                      <a:pt x="448786" y="894765"/>
                                                    </a:cubicBezTo>
                                                    <a:cubicBezTo>
                                                      <a:pt x="454190" y="897166"/>
                                                      <a:pt x="460005" y="898505"/>
                                                      <a:pt x="465615" y="900375"/>
                                                    </a:cubicBezTo>
                                                    <a:lnTo>
                                                      <a:pt x="474030" y="903180"/>
                                                    </a:lnTo>
                                                    <a:cubicBezTo>
                                                      <a:pt x="475900" y="905985"/>
                                                      <a:pt x="478311" y="908497"/>
                                                      <a:pt x="479639" y="911595"/>
                                                    </a:cubicBezTo>
                                                    <a:cubicBezTo>
                                                      <a:pt x="482361" y="917946"/>
                                                      <a:pt x="481839" y="925091"/>
                                                      <a:pt x="485249" y="931229"/>
                                                    </a:cubicBezTo>
                                                    <a:cubicBezTo>
                                                      <a:pt x="488523" y="937123"/>
                                                      <a:pt x="492729" y="942449"/>
                                                      <a:pt x="496469" y="948059"/>
                                                    </a:cubicBezTo>
                                                    <a:lnTo>
                                                      <a:pt x="502079" y="956473"/>
                                                    </a:lnTo>
                                                    <a:cubicBezTo>
                                                      <a:pt x="502841" y="960282"/>
                                                      <a:pt x="505991" y="977190"/>
                                                      <a:pt x="507689" y="981718"/>
                                                    </a:cubicBezTo>
                                                    <a:cubicBezTo>
                                                      <a:pt x="509157" y="985633"/>
                                                      <a:pt x="511651" y="989094"/>
                                                      <a:pt x="513298" y="992937"/>
                                                    </a:cubicBezTo>
                                                    <a:cubicBezTo>
                                                      <a:pt x="514463" y="995655"/>
                                                      <a:pt x="515168" y="998547"/>
                                                      <a:pt x="516103" y="1001352"/>
                                                    </a:cubicBezTo>
                                                    <a:lnTo>
                                                      <a:pt x="541347" y="992937"/>
                                                    </a:lnTo>
                                                    <a:lnTo>
                                                      <a:pt x="549762" y="990132"/>
                                                    </a:lnTo>
                                                    <a:cubicBezTo>
                                                      <a:pt x="570613" y="969282"/>
                                                      <a:pt x="558766" y="971999"/>
                                                      <a:pt x="583421" y="976108"/>
                                                    </a:cubicBezTo>
                                                    <a:cubicBezTo>
                                                      <a:pt x="584356" y="981718"/>
                                                      <a:pt x="583404" y="987999"/>
                                                      <a:pt x="586226" y="992937"/>
                                                    </a:cubicBezTo>
                                                    <a:cubicBezTo>
                                                      <a:pt x="587693" y="995504"/>
                                                      <a:pt x="591773" y="995025"/>
                                                      <a:pt x="594641" y="995742"/>
                                                    </a:cubicBezTo>
                                                    <a:cubicBezTo>
                                                      <a:pt x="599266" y="996898"/>
                                                      <a:pt x="603990" y="997612"/>
                                                      <a:pt x="608665" y="998547"/>
                                                    </a:cubicBezTo>
                                                    <a:cubicBezTo>
                                                      <a:pt x="610535" y="1001352"/>
                                                      <a:pt x="614275" y="1003591"/>
                                                      <a:pt x="614275" y="1006962"/>
                                                    </a:cubicBezTo>
                                                    <a:cubicBezTo>
                                                      <a:pt x="614275" y="1012875"/>
                                                      <a:pt x="608665" y="1023791"/>
                                                      <a:pt x="608665" y="1023791"/>
                                                    </a:cubicBezTo>
                                                    <a:cubicBezTo>
                                                      <a:pt x="609600" y="1028466"/>
                                                      <a:pt x="609105" y="1033677"/>
                                                      <a:pt x="611470" y="1037816"/>
                                                    </a:cubicBezTo>
                                                    <a:cubicBezTo>
                                                      <a:pt x="618468" y="1050062"/>
                                                      <a:pt x="647193" y="1040943"/>
                                                      <a:pt x="650739" y="1040621"/>
                                                    </a:cubicBezTo>
                                                    <a:cubicBezTo>
                                                      <a:pt x="654479" y="1036881"/>
                                                      <a:pt x="658476" y="1033382"/>
                                                      <a:pt x="661959" y="1029401"/>
                                                    </a:cubicBezTo>
                                                    <a:cubicBezTo>
                                                      <a:pt x="665037" y="1025883"/>
                                                      <a:pt x="666782" y="1021174"/>
                                                      <a:pt x="670373" y="1018181"/>
                                                    </a:cubicBezTo>
                                                    <a:cubicBezTo>
                                                      <a:pt x="672644" y="1016288"/>
                                                      <a:pt x="676070" y="1016541"/>
                                                      <a:pt x="678788" y="1015376"/>
                                                    </a:cubicBezTo>
                                                    <a:cubicBezTo>
                                                      <a:pt x="700975" y="1005868"/>
                                                      <a:pt x="678242" y="1011238"/>
                                                      <a:pt x="712447" y="1006962"/>
                                                    </a:cubicBezTo>
                                                    <a:cubicBezTo>
                                                      <a:pt x="718992" y="1007897"/>
                                                      <a:pt x="725749" y="1007867"/>
                                                      <a:pt x="732081" y="1009767"/>
                                                    </a:cubicBezTo>
                                                    <a:cubicBezTo>
                                                      <a:pt x="754400" y="1016462"/>
                                                      <a:pt x="729393" y="1012664"/>
                                                      <a:pt x="743301" y="1023791"/>
                                                    </a:cubicBezTo>
                                                    <a:cubicBezTo>
                                                      <a:pt x="746311" y="1026199"/>
                                                      <a:pt x="750780" y="1025661"/>
                                                      <a:pt x="754520" y="1026596"/>
                                                    </a:cubicBezTo>
                                                    <a:cubicBezTo>
                                                      <a:pt x="760130" y="1025661"/>
                                                      <a:pt x="766412" y="1026613"/>
                                                      <a:pt x="771350" y="1023791"/>
                                                    </a:cubicBezTo>
                                                    <a:cubicBezTo>
                                                      <a:pt x="773917" y="1022324"/>
                                                      <a:pt x="773514" y="1018262"/>
                                                      <a:pt x="774155" y="1015376"/>
                                                    </a:cubicBezTo>
                                                    <a:cubicBezTo>
                                                      <a:pt x="775389" y="1009824"/>
                                                      <a:pt x="774417" y="1003634"/>
                                                      <a:pt x="776960" y="998547"/>
                                                    </a:cubicBezTo>
                                                    <a:cubicBezTo>
                                                      <a:pt x="778467" y="995532"/>
                                                      <a:pt x="782569" y="994807"/>
                                                      <a:pt x="785374" y="992937"/>
                                                    </a:cubicBezTo>
                                                    <a:cubicBezTo>
                                                      <a:pt x="806878" y="993872"/>
                                                      <a:pt x="828426" y="994091"/>
                                                      <a:pt x="849887" y="995742"/>
                                                    </a:cubicBezTo>
                                                    <a:cubicBezTo>
                                                      <a:pt x="852835" y="995969"/>
                                                      <a:pt x="855993" y="996700"/>
                                                      <a:pt x="858302" y="998547"/>
                                                    </a:cubicBezTo>
                                                    <a:cubicBezTo>
                                                      <a:pt x="866573" y="1005164"/>
                                                      <a:pt x="864056" y="1017174"/>
                                                      <a:pt x="872327" y="1023791"/>
                                                    </a:cubicBezTo>
                                                    <a:cubicBezTo>
                                                      <a:pt x="874636" y="1025638"/>
                                                      <a:pt x="878097" y="1025274"/>
                                                      <a:pt x="880741" y="1026596"/>
                                                    </a:cubicBezTo>
                                                    <a:cubicBezTo>
                                                      <a:pt x="902824" y="1037638"/>
                                                      <a:pt x="869170" y="1029985"/>
                                                      <a:pt x="914400" y="1035011"/>
                                                    </a:cubicBezTo>
                                                    <a:cubicBezTo>
                                                      <a:pt x="944076" y="1042430"/>
                                                      <a:pt x="909133" y="1032358"/>
                                                      <a:pt x="934035" y="1043425"/>
                                                    </a:cubicBezTo>
                                                    <a:cubicBezTo>
                                                      <a:pt x="939439" y="1045826"/>
                                                      <a:pt x="945254" y="1047165"/>
                                                      <a:pt x="950864" y="1049035"/>
                                                    </a:cubicBezTo>
                                                    <a:lnTo>
                                                      <a:pt x="959279" y="1051840"/>
                                                    </a:lnTo>
                                                    <a:cubicBezTo>
                                                      <a:pt x="962084" y="1053710"/>
                                                      <a:pt x="964348" y="1057032"/>
                                                      <a:pt x="967693" y="1057450"/>
                                                    </a:cubicBezTo>
                                                    <a:cubicBezTo>
                                                      <a:pt x="987719" y="1059953"/>
                                                      <a:pt x="981995" y="1051685"/>
                                                      <a:pt x="978913" y="1037816"/>
                                                    </a:cubicBezTo>
                                                    <a:cubicBezTo>
                                                      <a:pt x="978272" y="1034930"/>
                                                      <a:pt x="977955" y="1031710"/>
                                                      <a:pt x="976108" y="1029401"/>
                                                    </a:cubicBezTo>
                                                    <a:cubicBezTo>
                                                      <a:pt x="974002" y="1026769"/>
                                                      <a:pt x="970498" y="1025661"/>
                                                      <a:pt x="967693" y="1023791"/>
                                                    </a:cubicBezTo>
                                                    <a:cubicBezTo>
                                                      <a:pt x="966758" y="1011636"/>
                                                      <a:pt x="967007" y="999332"/>
                                                      <a:pt x="964889" y="987327"/>
                                                    </a:cubicBezTo>
                                                    <a:cubicBezTo>
                                                      <a:pt x="964162" y="983209"/>
                                                      <a:pt x="960926" y="979951"/>
                                                      <a:pt x="959279" y="976108"/>
                                                    </a:cubicBezTo>
                                                    <a:cubicBezTo>
                                                      <a:pt x="958114" y="973390"/>
                                                      <a:pt x="957409" y="970498"/>
                                                      <a:pt x="956474" y="967693"/>
                                                    </a:cubicBezTo>
                                                    <a:cubicBezTo>
                                                      <a:pt x="957409" y="960213"/>
                                                      <a:pt x="957296" y="952526"/>
                                                      <a:pt x="959279" y="945254"/>
                                                    </a:cubicBezTo>
                                                    <a:cubicBezTo>
                                                      <a:pt x="960166" y="942002"/>
                                                      <a:pt x="962930" y="939582"/>
                                                      <a:pt x="964889" y="936839"/>
                                                    </a:cubicBezTo>
                                                    <a:cubicBezTo>
                                                      <a:pt x="985896" y="907427"/>
                                                      <a:pt x="961331" y="941668"/>
                                                      <a:pt x="981718" y="917205"/>
                                                    </a:cubicBezTo>
                                                    <a:cubicBezTo>
                                                      <a:pt x="983876" y="914615"/>
                                                      <a:pt x="985369" y="911533"/>
                                                      <a:pt x="987328" y="908790"/>
                                                    </a:cubicBezTo>
                                                    <a:cubicBezTo>
                                                      <a:pt x="990045" y="904986"/>
                                                      <a:pt x="992701" y="901120"/>
                                                      <a:pt x="995743" y="897570"/>
                                                    </a:cubicBezTo>
                                                    <a:cubicBezTo>
                                                      <a:pt x="998324" y="894558"/>
                                                      <a:pt x="1001576" y="892168"/>
                                                      <a:pt x="1004157" y="889156"/>
                                                    </a:cubicBezTo>
                                                    <a:cubicBezTo>
                                                      <a:pt x="1007199" y="885606"/>
                                                      <a:pt x="1009530" y="881486"/>
                                                      <a:pt x="1012572" y="877936"/>
                                                    </a:cubicBezTo>
                                                    <a:cubicBezTo>
                                                      <a:pt x="1015154" y="874924"/>
                                                      <a:pt x="1018681" y="872749"/>
                                                      <a:pt x="1020987" y="869521"/>
                                                    </a:cubicBezTo>
                                                    <a:cubicBezTo>
                                                      <a:pt x="1023417" y="866119"/>
                                                      <a:pt x="1023920" y="861514"/>
                                                      <a:pt x="1026597" y="858302"/>
                                                    </a:cubicBezTo>
                                                    <a:cubicBezTo>
                                                      <a:pt x="1033369" y="850176"/>
                                                      <a:pt x="1042689" y="844324"/>
                                                      <a:pt x="1049036" y="835862"/>
                                                    </a:cubicBezTo>
                                                    <a:cubicBezTo>
                                                      <a:pt x="1065162" y="814363"/>
                                                      <a:pt x="1049460" y="832705"/>
                                                      <a:pt x="1065865" y="819033"/>
                                                    </a:cubicBezTo>
                                                    <a:cubicBezTo>
                                                      <a:pt x="1079871" y="807360"/>
                                                      <a:pt x="1067908" y="812742"/>
                                                      <a:pt x="1082695" y="807813"/>
                                                    </a:cubicBezTo>
                                                    <a:cubicBezTo>
                                                      <a:pt x="1085500" y="805943"/>
                                                      <a:pt x="1088094" y="803711"/>
                                                      <a:pt x="1091109" y="802203"/>
                                                    </a:cubicBezTo>
                                                    <a:cubicBezTo>
                                                      <a:pt x="1093754" y="800881"/>
                                                      <a:pt x="1097215" y="801245"/>
                                                      <a:pt x="1099524" y="799398"/>
                                                    </a:cubicBezTo>
                                                    <a:cubicBezTo>
                                                      <a:pt x="1102156" y="797292"/>
                                                      <a:pt x="1103264" y="793789"/>
                                                      <a:pt x="1105134" y="790984"/>
                                                    </a:cubicBezTo>
                                                    <a:cubicBezTo>
                                                      <a:pt x="1106069" y="788179"/>
                                                      <a:pt x="1106774" y="785287"/>
                                                      <a:pt x="1107939" y="782569"/>
                                                    </a:cubicBezTo>
                                                    <a:cubicBezTo>
                                                      <a:pt x="1112210" y="772603"/>
                                                      <a:pt x="1113524" y="771386"/>
                                                      <a:pt x="1119159" y="762935"/>
                                                    </a:cubicBezTo>
                                                    <a:cubicBezTo>
                                                      <a:pt x="1124523" y="741472"/>
                                                      <a:pt x="1124355" y="747088"/>
                                                      <a:pt x="1119159" y="712446"/>
                                                    </a:cubicBezTo>
                                                    <a:cubicBezTo>
                                                      <a:pt x="1118282" y="706598"/>
                                                      <a:pt x="1117097" y="700348"/>
                                                      <a:pt x="1113549" y="695617"/>
                                                    </a:cubicBezTo>
                                                    <a:lnTo>
                                                      <a:pt x="1105134" y="684397"/>
                                                    </a:lnTo>
                                                    <a:cubicBezTo>
                                                      <a:pt x="1098083" y="663247"/>
                                                      <a:pt x="1108415" y="688499"/>
                                                      <a:pt x="1093914" y="670373"/>
                                                    </a:cubicBezTo>
                                                    <a:cubicBezTo>
                                                      <a:pt x="1092067" y="668064"/>
                                                      <a:pt x="1092431" y="664603"/>
                                                      <a:pt x="1091109" y="661958"/>
                                                    </a:cubicBezTo>
                                                    <a:cubicBezTo>
                                                      <a:pt x="1089602" y="658943"/>
                                                      <a:pt x="1086869" y="656623"/>
                                                      <a:pt x="1085500" y="653543"/>
                                                    </a:cubicBezTo>
                                                    <a:cubicBezTo>
                                                      <a:pt x="1083099" y="648139"/>
                                                      <a:pt x="1082534" y="642003"/>
                                                      <a:pt x="1079890" y="636714"/>
                                                    </a:cubicBezTo>
                                                    <a:cubicBezTo>
                                                      <a:pt x="1066079" y="609093"/>
                                                      <a:pt x="1082996" y="643702"/>
                                                      <a:pt x="1068670" y="611470"/>
                                                    </a:cubicBezTo>
                                                    <a:cubicBezTo>
                                                      <a:pt x="1063568" y="599991"/>
                                                      <a:pt x="1061290" y="599022"/>
                                                      <a:pt x="1057451" y="586225"/>
                                                    </a:cubicBezTo>
                                                    <a:cubicBezTo>
                                                      <a:pt x="1056081" y="581659"/>
                                                      <a:pt x="1055802" y="576826"/>
                                                      <a:pt x="1054646" y="572201"/>
                                                    </a:cubicBezTo>
                                                    <a:cubicBezTo>
                                                      <a:pt x="1053929" y="569333"/>
                                                      <a:pt x="1052776" y="566591"/>
                                                      <a:pt x="1051841" y="563786"/>
                                                    </a:cubicBezTo>
                                                    <a:cubicBezTo>
                                                      <a:pt x="1050906" y="552566"/>
                                                      <a:pt x="1050235" y="541321"/>
                                                      <a:pt x="1049036" y="530127"/>
                                                    </a:cubicBezTo>
                                                    <a:cubicBezTo>
                                                      <a:pt x="1047129" y="512330"/>
                                                      <a:pt x="1051143" y="487473"/>
                                                      <a:pt x="1035011" y="474029"/>
                                                    </a:cubicBezTo>
                                                    <a:cubicBezTo>
                                                      <a:pt x="1032740" y="472136"/>
                                                      <a:pt x="1029241" y="472546"/>
                                                      <a:pt x="1026597" y="471224"/>
                                                    </a:cubicBezTo>
                                                    <a:cubicBezTo>
                                                      <a:pt x="1023582" y="469716"/>
                                                      <a:pt x="1020987" y="467484"/>
                                                      <a:pt x="1018182" y="465614"/>
                                                    </a:cubicBezTo>
                                                    <a:cubicBezTo>
                                                      <a:pt x="1014442" y="460004"/>
                                                      <a:pt x="1005327" y="455326"/>
                                                      <a:pt x="1006962" y="448785"/>
                                                    </a:cubicBezTo>
                                                    <a:cubicBezTo>
                                                      <a:pt x="1009493" y="438661"/>
                                                      <a:pt x="1010968" y="427416"/>
                                                      <a:pt x="1020987" y="420736"/>
                                                    </a:cubicBezTo>
                                                    <a:cubicBezTo>
                                                      <a:pt x="1039591" y="408332"/>
                                                      <a:pt x="1018910" y="422915"/>
                                                      <a:pt x="1037816" y="406711"/>
                                                    </a:cubicBezTo>
                                                    <a:cubicBezTo>
                                                      <a:pt x="1048650" y="397425"/>
                                                      <a:pt x="1048751" y="400323"/>
                                                      <a:pt x="1057451" y="389882"/>
                                                    </a:cubicBezTo>
                                                    <a:cubicBezTo>
                                                      <a:pt x="1063128" y="383069"/>
                                                      <a:pt x="1067898" y="371791"/>
                                                      <a:pt x="1071475" y="364638"/>
                                                    </a:cubicBezTo>
                                                    <a:cubicBezTo>
                                                      <a:pt x="1072410" y="360898"/>
                                                      <a:pt x="1074280" y="357273"/>
                                                      <a:pt x="1074280" y="353418"/>
                                                    </a:cubicBezTo>
                                                    <a:cubicBezTo>
                                                      <a:pt x="1074280" y="331893"/>
                                                      <a:pt x="1073126" y="310366"/>
                                                      <a:pt x="1071475" y="288905"/>
                                                    </a:cubicBezTo>
                                                    <a:cubicBezTo>
                                                      <a:pt x="1071248" y="285957"/>
                                                      <a:pt x="1069835" y="283208"/>
                                                      <a:pt x="1068670" y="280491"/>
                                                    </a:cubicBezTo>
                                                    <a:cubicBezTo>
                                                      <a:pt x="1063627" y="268726"/>
                                                      <a:pt x="1061292" y="267210"/>
                                                      <a:pt x="1054646" y="255246"/>
                                                    </a:cubicBezTo>
                                                    <a:cubicBezTo>
                                                      <a:pt x="1052616" y="251591"/>
                                                      <a:pt x="1051067" y="247682"/>
                                                      <a:pt x="1049036" y="244027"/>
                                                    </a:cubicBezTo>
                                                    <a:cubicBezTo>
                                                      <a:pt x="1031426" y="212330"/>
                                                      <a:pt x="1048462" y="245682"/>
                                                      <a:pt x="1035011" y="218783"/>
                                                    </a:cubicBezTo>
                                                    <a:cubicBezTo>
                                                      <a:pt x="1024324" y="165349"/>
                                                      <a:pt x="1040531" y="239989"/>
                                                      <a:pt x="1026597" y="193538"/>
                                                    </a:cubicBezTo>
                                                    <a:cubicBezTo>
                                                      <a:pt x="1023440" y="183013"/>
                                                      <a:pt x="1021863" y="152427"/>
                                                      <a:pt x="1020987" y="145855"/>
                                                    </a:cubicBezTo>
                                                    <a:cubicBezTo>
                                                      <a:pt x="1019846" y="137295"/>
                                                      <a:pt x="1017002" y="130799"/>
                                                      <a:pt x="1012572" y="123416"/>
                                                    </a:cubicBezTo>
                                                    <a:cubicBezTo>
                                                      <a:pt x="1009103" y="117635"/>
                                                      <a:pt x="1006120" y="111354"/>
                                                      <a:pt x="1001352" y="106586"/>
                                                    </a:cubicBezTo>
                                                    <a:cubicBezTo>
                                                      <a:pt x="995742" y="100976"/>
                                                      <a:pt x="991124" y="94158"/>
                                                      <a:pt x="984523" y="89757"/>
                                                    </a:cubicBezTo>
                                                    <a:cubicBezTo>
                                                      <a:pt x="981718" y="87887"/>
                                                      <a:pt x="979433" y="84701"/>
                                                      <a:pt x="976108" y="84147"/>
                                                    </a:cubicBezTo>
                                                    <a:cubicBezTo>
                                                      <a:pt x="962244" y="81836"/>
                                                      <a:pt x="948059" y="82277"/>
                                                      <a:pt x="934035" y="81342"/>
                                                    </a:cubicBezTo>
                                                    <a:cubicBezTo>
                                                      <a:pt x="930295" y="80407"/>
                                                      <a:pt x="926670" y="78537"/>
                                                      <a:pt x="922815" y="78537"/>
                                                    </a:cubicBezTo>
                                                    <a:cubicBezTo>
                                                      <a:pt x="862273" y="78537"/>
                                                      <a:pt x="915639" y="80371"/>
                                                      <a:pt x="883546" y="84147"/>
                                                    </a:cubicBezTo>
                                                    <a:cubicBezTo>
                                                      <a:pt x="871439" y="85571"/>
                                                      <a:pt x="859237" y="86017"/>
                                                      <a:pt x="847082" y="86952"/>
                                                    </a:cubicBezTo>
                                                    <a:lnTo>
                                                      <a:pt x="687203" y="84147"/>
                                                    </a:lnTo>
                                                    <a:cubicBezTo>
                                                      <a:pt x="682438" y="83993"/>
                                                      <a:pt x="677869" y="82195"/>
                                                      <a:pt x="673178" y="81342"/>
                                                    </a:cubicBezTo>
                                                    <a:cubicBezTo>
                                                      <a:pt x="667583" y="80325"/>
                                                      <a:pt x="661959" y="79472"/>
                                                      <a:pt x="656349" y="78537"/>
                                                    </a:cubicBezTo>
                                                    <a:cubicBezTo>
                                                      <a:pt x="651674" y="76667"/>
                                                      <a:pt x="647039" y="74695"/>
                                                      <a:pt x="642324" y="72927"/>
                                                    </a:cubicBezTo>
                                                    <a:cubicBezTo>
                                                      <a:pt x="639556" y="71889"/>
                                                      <a:pt x="636866" y="70122"/>
                                                      <a:pt x="633909" y="70122"/>
                                                    </a:cubicBezTo>
                                                    <a:cubicBezTo>
                                                      <a:pt x="624037" y="70122"/>
                                                      <a:pt x="617342" y="72840"/>
                                                      <a:pt x="608665" y="75732"/>
                                                    </a:cubicBezTo>
                                                    <a:cubicBezTo>
                                                      <a:pt x="605860" y="77602"/>
                                                      <a:pt x="602635" y="78958"/>
                                                      <a:pt x="600251" y="81342"/>
                                                    </a:cubicBezTo>
                                                    <a:cubicBezTo>
                                                      <a:pt x="597867" y="83726"/>
                                                      <a:pt x="597231" y="87599"/>
                                                      <a:pt x="594641" y="89757"/>
                                                    </a:cubicBezTo>
                                                    <a:cubicBezTo>
                                                      <a:pt x="591429" y="92434"/>
                                                      <a:pt x="587303" y="93814"/>
                                                      <a:pt x="583421" y="95367"/>
                                                    </a:cubicBezTo>
                                                    <a:cubicBezTo>
                                                      <a:pt x="577931" y="97563"/>
                                                      <a:pt x="566592" y="100976"/>
                                                      <a:pt x="566592" y="100976"/>
                                                    </a:cubicBezTo>
                                                    <a:cubicBezTo>
                                                      <a:pt x="560982" y="99106"/>
                                                      <a:pt x="555166" y="97768"/>
                                                      <a:pt x="549762" y="95367"/>
                                                    </a:cubicBezTo>
                                                    <a:cubicBezTo>
                                                      <a:pt x="546681" y="93998"/>
                                                      <a:pt x="544576" y="90726"/>
                                                      <a:pt x="541347" y="89757"/>
                                                    </a:cubicBezTo>
                                                    <a:cubicBezTo>
                                                      <a:pt x="535015" y="87857"/>
                                                      <a:pt x="528258" y="87887"/>
                                                      <a:pt x="521713" y="86952"/>
                                                    </a:cubicBezTo>
                                                    <a:cubicBezTo>
                                                      <a:pt x="517973" y="84147"/>
                                                      <a:pt x="513486" y="82129"/>
                                                      <a:pt x="510493" y="78537"/>
                                                    </a:cubicBezTo>
                                                    <a:cubicBezTo>
                                                      <a:pt x="508600" y="76266"/>
                                                      <a:pt x="509011" y="72767"/>
                                                      <a:pt x="507689" y="70122"/>
                                                    </a:cubicBezTo>
                                                    <a:cubicBezTo>
                                                      <a:pt x="506182" y="67107"/>
                                                      <a:pt x="503949" y="64513"/>
                                                      <a:pt x="502079" y="61708"/>
                                                    </a:cubicBezTo>
                                                    <a:cubicBezTo>
                                                      <a:pt x="501144" y="58903"/>
                                                      <a:pt x="500086" y="56136"/>
                                                      <a:pt x="499274" y="53293"/>
                                                    </a:cubicBezTo>
                                                    <a:cubicBezTo>
                                                      <a:pt x="498215" y="49586"/>
                                                      <a:pt x="497988" y="45616"/>
                                                      <a:pt x="496469" y="42073"/>
                                                    </a:cubicBezTo>
                                                    <a:cubicBezTo>
                                                      <a:pt x="495141" y="38975"/>
                                                      <a:pt x="492729" y="36464"/>
                                                      <a:pt x="490859" y="33659"/>
                                                    </a:cubicBezTo>
                                                    <a:cubicBezTo>
                                                      <a:pt x="489924" y="30854"/>
                                                      <a:pt x="489376" y="27889"/>
                                                      <a:pt x="488054" y="25244"/>
                                                    </a:cubicBezTo>
                                                    <a:cubicBezTo>
                                                      <a:pt x="486546" y="22229"/>
                                                      <a:pt x="482444" y="13458"/>
                                                      <a:pt x="482444" y="16829"/>
                                                    </a:cubicBezTo>
                                                    <a:cubicBezTo>
                                                      <a:pt x="482444" y="21010"/>
                                                      <a:pt x="485097" y="25092"/>
                                                      <a:pt x="488054" y="28049"/>
                                                    </a:cubicBezTo>
                                                    <a:cubicBezTo>
                                                      <a:pt x="490145" y="30140"/>
                                                      <a:pt x="493824" y="29532"/>
                                                      <a:pt x="496469" y="30854"/>
                                                    </a:cubicBezTo>
                                                    <a:cubicBezTo>
                                                      <a:pt x="499484" y="32362"/>
                                                      <a:pt x="502079" y="34594"/>
                                                      <a:pt x="504884" y="36464"/>
                                                    </a:cubicBezTo>
                                                    <a:cubicBezTo>
                                                      <a:pt x="505819" y="33659"/>
                                                      <a:pt x="509125" y="30634"/>
                                                      <a:pt x="507689" y="28049"/>
                                                    </a:cubicBezTo>
                                                    <a:cubicBezTo>
                                                      <a:pt x="497547" y="9793"/>
                                                      <a:pt x="493981" y="12511"/>
                                                      <a:pt x="479639" y="8414"/>
                                                    </a:cubicBezTo>
                                                    <a:cubicBezTo>
                                                      <a:pt x="476796" y="7602"/>
                                                      <a:pt x="474068" y="6422"/>
                                                      <a:pt x="471225" y="5610"/>
                                                    </a:cubicBezTo>
                                                    <a:cubicBezTo>
                                                      <a:pt x="446589" y="-1428"/>
                                                      <a:pt x="471752" y="6721"/>
                                                      <a:pt x="451590" y="0"/>
                                                    </a:cubicBezTo>
                                                    <a:cubicBezTo>
                                                      <a:pt x="429151" y="935"/>
                                                      <a:pt x="406674" y="1205"/>
                                                      <a:pt x="384273" y="2805"/>
                                                    </a:cubicBezTo>
                                                    <a:cubicBezTo>
                                                      <a:pt x="380428" y="3080"/>
                                                      <a:pt x="376501" y="3886"/>
                                                      <a:pt x="373053" y="5610"/>
                                                    </a:cubicBezTo>
                                                    <a:cubicBezTo>
                                                      <a:pt x="367023" y="8625"/>
                                                      <a:pt x="361834" y="13089"/>
                                                      <a:pt x="356224" y="16829"/>
                                                    </a:cubicBezTo>
                                                    <a:cubicBezTo>
                                                      <a:pt x="353419" y="18699"/>
                                                      <a:pt x="351080" y="21621"/>
                                                      <a:pt x="347809" y="22439"/>
                                                    </a:cubicBezTo>
                                                    <a:lnTo>
                                                      <a:pt x="336589" y="25244"/>
                                                    </a:lnTo>
                                                    <a:cubicBezTo>
                                                      <a:pt x="332849" y="27114"/>
                                                      <a:pt x="329375" y="29653"/>
                                                      <a:pt x="325370" y="30854"/>
                                                    </a:cubicBezTo>
                                                    <a:cubicBezTo>
                                                      <a:pt x="319922" y="32488"/>
                                                      <a:pt x="314117" y="32544"/>
                                                      <a:pt x="308540" y="33659"/>
                                                    </a:cubicBezTo>
                                                    <a:cubicBezTo>
                                                      <a:pt x="304760" y="34415"/>
                                                      <a:pt x="301060" y="35529"/>
                                                      <a:pt x="297320" y="36464"/>
                                                    </a:cubicBezTo>
                                                    <a:lnTo>
                                                      <a:pt x="272076" y="61708"/>
                                                    </a:lnTo>
                                                    <a:lnTo>
                                                      <a:pt x="255247" y="78537"/>
                                                    </a:lnTo>
                                                    <a:cubicBezTo>
                                                      <a:pt x="253377" y="81342"/>
                                                      <a:pt x="252227" y="84794"/>
                                                      <a:pt x="249637" y="86952"/>
                                                    </a:cubicBezTo>
                                                    <a:cubicBezTo>
                                                      <a:pt x="242022" y="93298"/>
                                                      <a:pt x="233546" y="93333"/>
                                                      <a:pt x="224393" y="95367"/>
                                                    </a:cubicBezTo>
                                                    <a:cubicBezTo>
                                                      <a:pt x="220630" y="96203"/>
                                                      <a:pt x="216865" y="97063"/>
                                                      <a:pt x="213173" y="98171"/>
                                                    </a:cubicBezTo>
                                                    <a:cubicBezTo>
                                                      <a:pt x="207509" y="99870"/>
                                                      <a:pt x="201264" y="100501"/>
                                                      <a:pt x="196344" y="103781"/>
                                                    </a:cubicBezTo>
                                                    <a:cubicBezTo>
                                                      <a:pt x="193539" y="105651"/>
                                                      <a:pt x="191097" y="108239"/>
                                                      <a:pt x="187929" y="109391"/>
                                                    </a:cubicBezTo>
                                                    <a:cubicBezTo>
                                                      <a:pt x="180683" y="112026"/>
                                                      <a:pt x="172970" y="113131"/>
                                                      <a:pt x="165490" y="115001"/>
                                                    </a:cubicBezTo>
                                                    <a:cubicBezTo>
                                                      <a:pt x="161750" y="115936"/>
                                                      <a:pt x="158050" y="117050"/>
                                                      <a:pt x="154270" y="117806"/>
                                                    </a:cubicBezTo>
                                                    <a:cubicBezTo>
                                                      <a:pt x="149595" y="118741"/>
                                                      <a:pt x="144900" y="119577"/>
                                                      <a:pt x="140246" y="120611"/>
                                                    </a:cubicBezTo>
                                                    <a:cubicBezTo>
                                                      <a:pt x="136483" y="121447"/>
                                                      <a:pt x="132819" y="122726"/>
                                                      <a:pt x="129026" y="123416"/>
                                                    </a:cubicBezTo>
                                                    <a:cubicBezTo>
                                                      <a:pt x="99428" y="128798"/>
                                                      <a:pt x="119641" y="123610"/>
                                                      <a:pt x="92562" y="129025"/>
                                                    </a:cubicBezTo>
                                                    <a:cubicBezTo>
                                                      <a:pt x="88782" y="129781"/>
                                                      <a:pt x="85106" y="130994"/>
                                                      <a:pt x="81343" y="131830"/>
                                                    </a:cubicBezTo>
                                                    <a:cubicBezTo>
                                                      <a:pt x="73439" y="133586"/>
                                                      <a:pt x="57057" y="135866"/>
                                                      <a:pt x="50489" y="140245"/>
                                                    </a:cubicBezTo>
                                                    <a:cubicBezTo>
                                                      <a:pt x="40974" y="146588"/>
                                                      <a:pt x="45814" y="149595"/>
                                                      <a:pt x="44879" y="151465"/>
                                                    </a:cubicBezTo>
                                                    <a:close/>
                                                  </a:path>
                                                </a:pathLst>
                                              </a:custGeom>
                                              <a:solidFill>
                                                <a:schemeClr val="accent1">
                                                  <a:lumMod val="5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4" name="Group 203"/>
                                            <p:cNvGrpSpPr/>
                                            <p:nvPr/>
                                          </p:nvGrpSpPr>
                                          <p:grpSpPr>
                                            <a:xfrm>
                                              <a:off x="4574662" y="5595791"/>
                                              <a:ext cx="1251132" cy="1239770"/>
                                              <a:chOff x="4574662" y="5595791"/>
                                              <a:chExt cx="1251132" cy="1239770"/>
                                            </a:xfrm>
                                            <a:grpFill/>
                                          </p:grpSpPr>
                                          <p:grpSp>
                                            <p:nvGrpSpPr>
                                              <p:cNvPr id="205" name="Group 204"/>
                                              <p:cNvGrpSpPr/>
                                              <p:nvPr/>
                                            </p:nvGrpSpPr>
                                            <p:grpSpPr>
                                              <a:xfrm>
                                                <a:off x="4574662" y="5595791"/>
                                                <a:ext cx="1001495" cy="1239770"/>
                                                <a:chOff x="4574662" y="5595791"/>
                                                <a:chExt cx="1001495" cy="1239770"/>
                                              </a:xfrm>
                                              <a:grpFill/>
                                            </p:grpSpPr>
                                            <p:grpSp>
                                              <p:nvGrpSpPr>
                                                <p:cNvPr id="217" name="Group 216"/>
                                                <p:cNvGrpSpPr/>
                                                <p:nvPr/>
                                              </p:nvGrpSpPr>
                                              <p:grpSpPr>
                                                <a:xfrm>
                                                  <a:off x="4574662" y="5595791"/>
                                                  <a:ext cx="979336" cy="981718"/>
                                                  <a:chOff x="4574662" y="5595791"/>
                                                  <a:chExt cx="979336" cy="981718"/>
                                                </a:xfrm>
                                                <a:grpFill/>
                                              </p:grpSpPr>
                                              <p:grpSp>
                                                <p:nvGrpSpPr>
                                                  <p:cNvPr id="219" name="Group 218"/>
                                                  <p:cNvGrpSpPr/>
                                                  <p:nvPr/>
                                                </p:nvGrpSpPr>
                                                <p:grpSpPr>
                                                  <a:xfrm>
                                                    <a:off x="4574662" y="5595791"/>
                                                    <a:ext cx="956374" cy="981718"/>
                                                    <a:chOff x="4574662" y="5595791"/>
                                                    <a:chExt cx="956374" cy="981718"/>
                                                  </a:xfrm>
                                                  <a:grpFill/>
                                                </p:grpSpPr>
                                                <p:grpSp>
                                                  <p:nvGrpSpPr>
                                                    <p:cNvPr id="221" name="Group 220"/>
                                                    <p:cNvGrpSpPr/>
                                                    <p:nvPr/>
                                                  </p:nvGrpSpPr>
                                                  <p:grpSpPr>
                                                    <a:xfrm>
                                                      <a:off x="4574662" y="5595791"/>
                                                      <a:ext cx="956374" cy="981718"/>
                                                      <a:chOff x="4574662" y="5595791"/>
                                                      <a:chExt cx="956374" cy="981718"/>
                                                    </a:xfrm>
                                                    <a:grpFill/>
                                                  </p:grpSpPr>
                                                  <p:grpSp>
                                                    <p:nvGrpSpPr>
                                                      <p:cNvPr id="223" name="Group 222"/>
                                                      <p:cNvGrpSpPr/>
                                                      <p:nvPr/>
                                                    </p:nvGrpSpPr>
                                                    <p:grpSpPr>
                                                      <a:xfrm>
                                                        <a:off x="4574662" y="5595791"/>
                                                        <a:ext cx="956374" cy="981718"/>
                                                        <a:chOff x="4574662" y="5595791"/>
                                                        <a:chExt cx="956374" cy="981718"/>
                                                      </a:xfrm>
                                                      <a:grpFill/>
                                                    </p:grpSpPr>
                                                    <p:grpSp>
                                                      <p:nvGrpSpPr>
                                                        <p:cNvPr id="225" name="Group 224"/>
                                                        <p:cNvGrpSpPr/>
                                                        <p:nvPr/>
                                                      </p:nvGrpSpPr>
                                                      <p:grpSpPr>
                                                        <a:xfrm>
                                                          <a:off x="4574662" y="5595791"/>
                                                          <a:ext cx="956374" cy="981718"/>
                                                          <a:chOff x="4574662" y="5595791"/>
                                                          <a:chExt cx="956374" cy="981718"/>
                                                        </a:xfrm>
                                                        <a:grpFill/>
                                                      </p:grpSpPr>
                                                      <p:grpSp>
                                                        <p:nvGrpSpPr>
                                                          <p:cNvPr id="227" name="Group 226"/>
                                                          <p:cNvGrpSpPr/>
                                                          <p:nvPr/>
                                                        </p:nvGrpSpPr>
                                                        <p:grpSpPr>
                                                          <a:xfrm>
                                                            <a:off x="4574662" y="5595791"/>
                                                            <a:ext cx="956374" cy="981718"/>
                                                            <a:chOff x="4574662" y="5595791"/>
                                                            <a:chExt cx="956374" cy="981718"/>
                                                          </a:xfrm>
                                                          <a:grpFill/>
                                                        </p:grpSpPr>
                                                        <p:grpSp>
                                                          <p:nvGrpSpPr>
                                                            <p:cNvPr id="229" name="Group 228"/>
                                                            <p:cNvGrpSpPr/>
                                                            <p:nvPr/>
                                                          </p:nvGrpSpPr>
                                                          <p:grpSpPr>
                                                            <a:xfrm>
                                                              <a:off x="4644928" y="5595791"/>
                                                              <a:ext cx="886108" cy="981718"/>
                                                              <a:chOff x="4644928" y="5595791"/>
                                                              <a:chExt cx="886108" cy="981718"/>
                                                            </a:xfrm>
                                                            <a:grpFill/>
                                                          </p:grpSpPr>
                                                          <p:sp>
                                                            <p:nvSpPr>
                                                              <p:cNvPr id="231" name="Freeform 230"/>
                                                              <p:cNvSpPr/>
                                                              <p:nvPr/>
                                                            </p:nvSpPr>
                                                            <p:spPr>
                                                              <a:xfrm>
                                                                <a:off x="4644928" y="5595791"/>
                                                                <a:ext cx="886108" cy="981718"/>
                                                              </a:xfrm>
                                                              <a:custGeom>
                                                                <a:avLst/>
                                                                <a:gdLst>
                                                                  <a:gd name="connsiteX0" fmla="*/ 861106 w 886108"/>
                                                                  <a:gd name="connsiteY0" fmla="*/ 0 h 981718"/>
                                                                  <a:gd name="connsiteX1" fmla="*/ 861106 w 886108"/>
                                                                  <a:gd name="connsiteY1" fmla="*/ 0 h 981718"/>
                                                                  <a:gd name="connsiteX2" fmla="*/ 824643 w 886108"/>
                                                                  <a:gd name="connsiteY2" fmla="*/ 5610 h 981718"/>
                                                                  <a:gd name="connsiteX3" fmla="*/ 816228 w 886108"/>
                                                                  <a:gd name="connsiteY3" fmla="*/ 11220 h 981718"/>
                                                                  <a:gd name="connsiteX4" fmla="*/ 819033 w 886108"/>
                                                                  <a:gd name="connsiteY4" fmla="*/ 25245 h 981718"/>
                                                                  <a:gd name="connsiteX5" fmla="*/ 821838 w 886108"/>
                                                                  <a:gd name="connsiteY5" fmla="*/ 33659 h 981718"/>
                                                                  <a:gd name="connsiteX6" fmla="*/ 819033 w 886108"/>
                                                                  <a:gd name="connsiteY6" fmla="*/ 56099 h 981718"/>
                                                                  <a:gd name="connsiteX7" fmla="*/ 816228 w 886108"/>
                                                                  <a:gd name="connsiteY7" fmla="*/ 64513 h 981718"/>
                                                                  <a:gd name="connsiteX8" fmla="*/ 810618 w 886108"/>
                                                                  <a:gd name="connsiteY8" fmla="*/ 72928 h 981718"/>
                                                                  <a:gd name="connsiteX9" fmla="*/ 802203 w 886108"/>
                                                                  <a:gd name="connsiteY9" fmla="*/ 78538 h 981718"/>
                                                                  <a:gd name="connsiteX10" fmla="*/ 793789 w 886108"/>
                                                                  <a:gd name="connsiteY10" fmla="*/ 81343 h 981718"/>
                                                                  <a:gd name="connsiteX11" fmla="*/ 737690 w 886108"/>
                                                                  <a:gd name="connsiteY11" fmla="*/ 84148 h 981718"/>
                                                                  <a:gd name="connsiteX12" fmla="*/ 729276 w 886108"/>
                                                                  <a:gd name="connsiteY12" fmla="*/ 86953 h 981718"/>
                                                                  <a:gd name="connsiteX13" fmla="*/ 704032 w 886108"/>
                                                                  <a:gd name="connsiteY13" fmla="*/ 100977 h 981718"/>
                                                                  <a:gd name="connsiteX14" fmla="*/ 690007 w 886108"/>
                                                                  <a:gd name="connsiteY14" fmla="*/ 98172 h 981718"/>
                                                                  <a:gd name="connsiteX15" fmla="*/ 684397 w 886108"/>
                                                                  <a:gd name="connsiteY15" fmla="*/ 89757 h 981718"/>
                                                                  <a:gd name="connsiteX16" fmla="*/ 667568 w 886108"/>
                                                                  <a:gd name="connsiteY16" fmla="*/ 81343 h 981718"/>
                                                                  <a:gd name="connsiteX17" fmla="*/ 661958 w 886108"/>
                                                                  <a:gd name="connsiteY17" fmla="*/ 72928 h 981718"/>
                                                                  <a:gd name="connsiteX18" fmla="*/ 622689 w 886108"/>
                                                                  <a:gd name="connsiteY18" fmla="*/ 64513 h 981718"/>
                                                                  <a:gd name="connsiteX19" fmla="*/ 614274 w 886108"/>
                                                                  <a:gd name="connsiteY19" fmla="*/ 61708 h 981718"/>
                                                                  <a:gd name="connsiteX20" fmla="*/ 600250 w 886108"/>
                                                                  <a:gd name="connsiteY20" fmla="*/ 47684 h 981718"/>
                                                                  <a:gd name="connsiteX21" fmla="*/ 577811 w 886108"/>
                                                                  <a:gd name="connsiteY21" fmla="*/ 42074 h 981718"/>
                                                                  <a:gd name="connsiteX22" fmla="*/ 560981 w 886108"/>
                                                                  <a:gd name="connsiteY22" fmla="*/ 33659 h 981718"/>
                                                                  <a:gd name="connsiteX23" fmla="*/ 544152 w 886108"/>
                                                                  <a:gd name="connsiteY23" fmla="*/ 36464 h 981718"/>
                                                                  <a:gd name="connsiteX24" fmla="*/ 535737 w 886108"/>
                                                                  <a:gd name="connsiteY24" fmla="*/ 39269 h 981718"/>
                                                                  <a:gd name="connsiteX25" fmla="*/ 518908 w 886108"/>
                                                                  <a:gd name="connsiteY25" fmla="*/ 50489 h 981718"/>
                                                                  <a:gd name="connsiteX26" fmla="*/ 510493 w 886108"/>
                                                                  <a:gd name="connsiteY26" fmla="*/ 56099 h 981718"/>
                                                                  <a:gd name="connsiteX27" fmla="*/ 465614 w 886108"/>
                                                                  <a:gd name="connsiteY27" fmla="*/ 64513 h 981718"/>
                                                                  <a:gd name="connsiteX28" fmla="*/ 448785 w 886108"/>
                                                                  <a:gd name="connsiteY28" fmla="*/ 70123 h 981718"/>
                                                                  <a:gd name="connsiteX29" fmla="*/ 437565 w 886108"/>
                                                                  <a:gd name="connsiteY29" fmla="*/ 81343 h 981718"/>
                                                                  <a:gd name="connsiteX30" fmla="*/ 434760 w 886108"/>
                                                                  <a:gd name="connsiteY30" fmla="*/ 89757 h 981718"/>
                                                                  <a:gd name="connsiteX31" fmla="*/ 426346 w 886108"/>
                                                                  <a:gd name="connsiteY31" fmla="*/ 92562 h 981718"/>
                                                                  <a:gd name="connsiteX32" fmla="*/ 417931 w 886108"/>
                                                                  <a:gd name="connsiteY32" fmla="*/ 98172 h 981718"/>
                                                                  <a:gd name="connsiteX33" fmla="*/ 373052 w 886108"/>
                                                                  <a:gd name="connsiteY33" fmla="*/ 100977 h 981718"/>
                                                                  <a:gd name="connsiteX34" fmla="*/ 356223 w 886108"/>
                                                                  <a:gd name="connsiteY34" fmla="*/ 109392 h 981718"/>
                                                                  <a:gd name="connsiteX35" fmla="*/ 350613 w 886108"/>
                                                                  <a:gd name="connsiteY35" fmla="*/ 129026 h 981718"/>
                                                                  <a:gd name="connsiteX36" fmla="*/ 342198 w 886108"/>
                                                                  <a:gd name="connsiteY36" fmla="*/ 134636 h 981718"/>
                                                                  <a:gd name="connsiteX37" fmla="*/ 308539 w 886108"/>
                                                                  <a:gd name="connsiteY37" fmla="*/ 140246 h 981718"/>
                                                                  <a:gd name="connsiteX38" fmla="*/ 241222 w 886108"/>
                                                                  <a:gd name="connsiteY38" fmla="*/ 145856 h 981718"/>
                                                                  <a:gd name="connsiteX39" fmla="*/ 232807 w 886108"/>
                                                                  <a:gd name="connsiteY39" fmla="*/ 151465 h 981718"/>
                                                                  <a:gd name="connsiteX40" fmla="*/ 221587 w 886108"/>
                                                                  <a:gd name="connsiteY40" fmla="*/ 168295 h 981718"/>
                                                                  <a:gd name="connsiteX41" fmla="*/ 215978 w 886108"/>
                                                                  <a:gd name="connsiteY41" fmla="*/ 176710 h 981718"/>
                                                                  <a:gd name="connsiteX42" fmla="*/ 185124 w 886108"/>
                                                                  <a:gd name="connsiteY42" fmla="*/ 185124 h 981718"/>
                                                                  <a:gd name="connsiteX43" fmla="*/ 173904 w 886108"/>
                                                                  <a:gd name="connsiteY43" fmla="*/ 187929 h 981718"/>
                                                                  <a:gd name="connsiteX44" fmla="*/ 145855 w 886108"/>
                                                                  <a:gd name="connsiteY44" fmla="*/ 190734 h 981718"/>
                                                                  <a:gd name="connsiteX45" fmla="*/ 129025 w 886108"/>
                                                                  <a:gd name="connsiteY45" fmla="*/ 196344 h 981718"/>
                                                                  <a:gd name="connsiteX46" fmla="*/ 120611 w 886108"/>
                                                                  <a:gd name="connsiteY46" fmla="*/ 199149 h 981718"/>
                                                                  <a:gd name="connsiteX47" fmla="*/ 115001 w 886108"/>
                                                                  <a:gd name="connsiteY47" fmla="*/ 218783 h 981718"/>
                                                                  <a:gd name="connsiteX48" fmla="*/ 109391 w 886108"/>
                                                                  <a:gd name="connsiteY48" fmla="*/ 235613 h 981718"/>
                                                                  <a:gd name="connsiteX49" fmla="*/ 103781 w 886108"/>
                                                                  <a:gd name="connsiteY49" fmla="*/ 244027 h 981718"/>
                                                                  <a:gd name="connsiteX50" fmla="*/ 100976 w 886108"/>
                                                                  <a:gd name="connsiteY50" fmla="*/ 252442 h 981718"/>
                                                                  <a:gd name="connsiteX51" fmla="*/ 92562 w 886108"/>
                                                                  <a:gd name="connsiteY51" fmla="*/ 258052 h 981718"/>
                                                                  <a:gd name="connsiteX52" fmla="*/ 92562 w 886108"/>
                                                                  <a:gd name="connsiteY52" fmla="*/ 266467 h 981718"/>
                                                                  <a:gd name="connsiteX53" fmla="*/ 84147 w 886108"/>
                                                                  <a:gd name="connsiteY53" fmla="*/ 291711 h 981718"/>
                                                                  <a:gd name="connsiteX54" fmla="*/ 58903 w 886108"/>
                                                                  <a:gd name="connsiteY54" fmla="*/ 325370 h 981718"/>
                                                                  <a:gd name="connsiteX55" fmla="*/ 42073 w 886108"/>
                                                                  <a:gd name="connsiteY55" fmla="*/ 330980 h 981718"/>
                                                                  <a:gd name="connsiteX56" fmla="*/ 33659 w 886108"/>
                                                                  <a:gd name="connsiteY56" fmla="*/ 333784 h 981718"/>
                                                                  <a:gd name="connsiteX57" fmla="*/ 22439 w 886108"/>
                                                                  <a:gd name="connsiteY57" fmla="*/ 359029 h 981718"/>
                                                                  <a:gd name="connsiteX58" fmla="*/ 19634 w 886108"/>
                                                                  <a:gd name="connsiteY58" fmla="*/ 367443 h 981718"/>
                                                                  <a:gd name="connsiteX59" fmla="*/ 14024 w 886108"/>
                                                                  <a:gd name="connsiteY59" fmla="*/ 392688 h 981718"/>
                                                                  <a:gd name="connsiteX60" fmla="*/ 8414 w 886108"/>
                                                                  <a:gd name="connsiteY60" fmla="*/ 401102 h 981718"/>
                                                                  <a:gd name="connsiteX61" fmla="*/ 0 w 886108"/>
                                                                  <a:gd name="connsiteY61" fmla="*/ 403907 h 981718"/>
                                                                  <a:gd name="connsiteX62" fmla="*/ 2805 w 886108"/>
                                                                  <a:gd name="connsiteY62" fmla="*/ 420737 h 981718"/>
                                                                  <a:gd name="connsiteX63" fmla="*/ 8414 w 886108"/>
                                                                  <a:gd name="connsiteY63" fmla="*/ 437566 h 981718"/>
                                                                  <a:gd name="connsiteX64" fmla="*/ 16829 w 886108"/>
                                                                  <a:gd name="connsiteY64" fmla="*/ 460005 h 981718"/>
                                                                  <a:gd name="connsiteX65" fmla="*/ 22439 w 886108"/>
                                                                  <a:gd name="connsiteY65" fmla="*/ 476835 h 981718"/>
                                                                  <a:gd name="connsiteX66" fmla="*/ 30854 w 886108"/>
                                                                  <a:gd name="connsiteY66" fmla="*/ 485249 h 981718"/>
                                                                  <a:gd name="connsiteX67" fmla="*/ 39268 w 886108"/>
                                                                  <a:gd name="connsiteY67" fmla="*/ 488054 h 981718"/>
                                                                  <a:gd name="connsiteX68" fmla="*/ 47683 w 886108"/>
                                                                  <a:gd name="connsiteY68" fmla="*/ 493664 h 981718"/>
                                                                  <a:gd name="connsiteX69" fmla="*/ 53293 w 886108"/>
                                                                  <a:gd name="connsiteY69" fmla="*/ 502079 h 981718"/>
                                                                  <a:gd name="connsiteX70" fmla="*/ 61708 w 886108"/>
                                                                  <a:gd name="connsiteY70" fmla="*/ 518908 h 981718"/>
                                                                  <a:gd name="connsiteX71" fmla="*/ 70122 w 886108"/>
                                                                  <a:gd name="connsiteY71" fmla="*/ 521713 h 981718"/>
                                                                  <a:gd name="connsiteX72" fmla="*/ 103781 w 886108"/>
                                                                  <a:gd name="connsiteY72" fmla="*/ 524518 h 981718"/>
                                                                  <a:gd name="connsiteX73" fmla="*/ 115001 w 886108"/>
                                                                  <a:gd name="connsiteY73" fmla="*/ 521713 h 981718"/>
                                                                  <a:gd name="connsiteX74" fmla="*/ 126220 w 886108"/>
                                                                  <a:gd name="connsiteY74" fmla="*/ 524518 h 981718"/>
                                                                  <a:gd name="connsiteX75" fmla="*/ 143050 w 886108"/>
                                                                  <a:gd name="connsiteY75" fmla="*/ 532933 h 981718"/>
                                                                  <a:gd name="connsiteX76" fmla="*/ 143050 w 886108"/>
                                                                  <a:gd name="connsiteY76" fmla="*/ 549762 h 981718"/>
                                                                  <a:gd name="connsiteX77" fmla="*/ 123416 w 886108"/>
                                                                  <a:gd name="connsiteY77" fmla="*/ 546957 h 981718"/>
                                                                  <a:gd name="connsiteX78" fmla="*/ 106586 w 886108"/>
                                                                  <a:gd name="connsiteY78" fmla="*/ 546957 h 981718"/>
                                                                  <a:gd name="connsiteX79" fmla="*/ 100976 w 886108"/>
                                                                  <a:gd name="connsiteY79" fmla="*/ 555372 h 981718"/>
                                                                  <a:gd name="connsiteX80" fmla="*/ 84147 w 886108"/>
                                                                  <a:gd name="connsiteY80" fmla="*/ 566592 h 981718"/>
                                                                  <a:gd name="connsiteX81" fmla="*/ 78537 w 886108"/>
                                                                  <a:gd name="connsiteY81" fmla="*/ 575007 h 981718"/>
                                                                  <a:gd name="connsiteX82" fmla="*/ 75732 w 886108"/>
                                                                  <a:gd name="connsiteY82" fmla="*/ 586226 h 981718"/>
                                                                  <a:gd name="connsiteX83" fmla="*/ 67317 w 886108"/>
                                                                  <a:gd name="connsiteY83" fmla="*/ 591836 h 981718"/>
                                                                  <a:gd name="connsiteX84" fmla="*/ 84147 w 886108"/>
                                                                  <a:gd name="connsiteY84" fmla="*/ 597446 h 981718"/>
                                                                  <a:gd name="connsiteX85" fmla="*/ 95366 w 886108"/>
                                                                  <a:gd name="connsiteY85" fmla="*/ 572202 h 981718"/>
                                                                  <a:gd name="connsiteX86" fmla="*/ 103781 w 886108"/>
                                                                  <a:gd name="connsiteY86" fmla="*/ 569397 h 981718"/>
                                                                  <a:gd name="connsiteX87" fmla="*/ 112196 w 886108"/>
                                                                  <a:gd name="connsiteY87" fmla="*/ 572202 h 981718"/>
                                                                  <a:gd name="connsiteX88" fmla="*/ 115001 w 886108"/>
                                                                  <a:gd name="connsiteY88" fmla="*/ 580616 h 981718"/>
                                                                  <a:gd name="connsiteX89" fmla="*/ 117806 w 886108"/>
                                                                  <a:gd name="connsiteY89" fmla="*/ 597446 h 981718"/>
                                                                  <a:gd name="connsiteX90" fmla="*/ 126220 w 886108"/>
                                                                  <a:gd name="connsiteY90" fmla="*/ 600251 h 981718"/>
                                                                  <a:gd name="connsiteX91" fmla="*/ 131830 w 886108"/>
                                                                  <a:gd name="connsiteY91" fmla="*/ 608665 h 981718"/>
                                                                  <a:gd name="connsiteX92" fmla="*/ 140245 w 886108"/>
                                                                  <a:gd name="connsiteY92" fmla="*/ 611470 h 981718"/>
                                                                  <a:gd name="connsiteX93" fmla="*/ 151465 w 886108"/>
                                                                  <a:gd name="connsiteY93" fmla="*/ 650739 h 981718"/>
                                                                  <a:gd name="connsiteX94" fmla="*/ 159879 w 886108"/>
                                                                  <a:gd name="connsiteY94" fmla="*/ 647934 h 981718"/>
                                                                  <a:gd name="connsiteX95" fmla="*/ 168294 w 886108"/>
                                                                  <a:gd name="connsiteY95" fmla="*/ 639519 h 981718"/>
                                                                  <a:gd name="connsiteX96" fmla="*/ 182319 w 886108"/>
                                                                  <a:gd name="connsiteY96" fmla="*/ 642324 h 981718"/>
                                                                  <a:gd name="connsiteX97" fmla="*/ 190733 w 886108"/>
                                                                  <a:gd name="connsiteY97" fmla="*/ 647934 h 981718"/>
                                                                  <a:gd name="connsiteX98" fmla="*/ 210368 w 886108"/>
                                                                  <a:gd name="connsiteY98" fmla="*/ 639519 h 981718"/>
                                                                  <a:gd name="connsiteX99" fmla="*/ 215978 w 886108"/>
                                                                  <a:gd name="connsiteY99" fmla="*/ 631105 h 981718"/>
                                                                  <a:gd name="connsiteX100" fmla="*/ 283295 w 886108"/>
                                                                  <a:gd name="connsiteY100" fmla="*/ 631105 h 981718"/>
                                                                  <a:gd name="connsiteX101" fmla="*/ 294515 w 886108"/>
                                                                  <a:gd name="connsiteY101" fmla="*/ 633910 h 981718"/>
                                                                  <a:gd name="connsiteX102" fmla="*/ 302930 w 886108"/>
                                                                  <a:gd name="connsiteY102" fmla="*/ 636715 h 981718"/>
                                                                  <a:gd name="connsiteX103" fmla="*/ 314149 w 886108"/>
                                                                  <a:gd name="connsiteY103" fmla="*/ 633910 h 981718"/>
                                                                  <a:gd name="connsiteX104" fmla="*/ 330979 w 886108"/>
                                                                  <a:gd name="connsiteY104" fmla="*/ 628300 h 981718"/>
                                                                  <a:gd name="connsiteX105" fmla="*/ 347808 w 886108"/>
                                                                  <a:gd name="connsiteY105" fmla="*/ 631105 h 981718"/>
                                                                  <a:gd name="connsiteX106" fmla="*/ 367443 w 886108"/>
                                                                  <a:gd name="connsiteY106" fmla="*/ 645129 h 981718"/>
                                                                  <a:gd name="connsiteX107" fmla="*/ 398297 w 886108"/>
                                                                  <a:gd name="connsiteY107" fmla="*/ 653544 h 981718"/>
                                                                  <a:gd name="connsiteX108" fmla="*/ 406711 w 886108"/>
                                                                  <a:gd name="connsiteY108" fmla="*/ 656349 h 981718"/>
                                                                  <a:gd name="connsiteX109" fmla="*/ 429151 w 886108"/>
                                                                  <a:gd name="connsiteY109" fmla="*/ 661959 h 981718"/>
                                                                  <a:gd name="connsiteX110" fmla="*/ 440370 w 886108"/>
                                                                  <a:gd name="connsiteY110" fmla="*/ 678788 h 981718"/>
                                                                  <a:gd name="connsiteX111" fmla="*/ 431955 w 886108"/>
                                                                  <a:gd name="connsiteY111" fmla="*/ 684398 h 981718"/>
                                                                  <a:gd name="connsiteX112" fmla="*/ 415126 w 886108"/>
                                                                  <a:gd name="connsiteY112" fmla="*/ 690008 h 981718"/>
                                                                  <a:gd name="connsiteX113" fmla="*/ 409516 w 886108"/>
                                                                  <a:gd name="connsiteY113" fmla="*/ 698422 h 981718"/>
                                                                  <a:gd name="connsiteX114" fmla="*/ 392687 w 886108"/>
                                                                  <a:gd name="connsiteY114" fmla="*/ 706837 h 981718"/>
                                                                  <a:gd name="connsiteX115" fmla="*/ 384272 w 886108"/>
                                                                  <a:gd name="connsiteY115" fmla="*/ 704032 h 981718"/>
                                                                  <a:gd name="connsiteX116" fmla="*/ 367443 w 886108"/>
                                                                  <a:gd name="connsiteY116" fmla="*/ 692813 h 981718"/>
                                                                  <a:gd name="connsiteX117" fmla="*/ 328174 w 886108"/>
                                                                  <a:gd name="connsiteY117" fmla="*/ 690008 h 981718"/>
                                                                  <a:gd name="connsiteX118" fmla="*/ 302930 w 886108"/>
                                                                  <a:gd name="connsiteY118" fmla="*/ 681593 h 981718"/>
                                                                  <a:gd name="connsiteX119" fmla="*/ 294515 w 886108"/>
                                                                  <a:gd name="connsiteY119" fmla="*/ 678788 h 981718"/>
                                                                  <a:gd name="connsiteX120" fmla="*/ 274881 w 886108"/>
                                                                  <a:gd name="connsiteY120" fmla="*/ 673178 h 981718"/>
                                                                  <a:gd name="connsiteX121" fmla="*/ 266466 w 886108"/>
                                                                  <a:gd name="connsiteY121" fmla="*/ 667569 h 981718"/>
                                                                  <a:gd name="connsiteX122" fmla="*/ 232807 w 886108"/>
                                                                  <a:gd name="connsiteY122" fmla="*/ 673178 h 981718"/>
                                                                  <a:gd name="connsiteX123" fmla="*/ 224392 w 886108"/>
                                                                  <a:gd name="connsiteY123" fmla="*/ 678788 h 981718"/>
                                                                  <a:gd name="connsiteX124" fmla="*/ 201953 w 886108"/>
                                                                  <a:gd name="connsiteY124" fmla="*/ 681593 h 981718"/>
                                                                  <a:gd name="connsiteX125" fmla="*/ 190733 w 886108"/>
                                                                  <a:gd name="connsiteY125" fmla="*/ 684398 h 981718"/>
                                                                  <a:gd name="connsiteX126" fmla="*/ 185124 w 886108"/>
                                                                  <a:gd name="connsiteY126" fmla="*/ 692813 h 981718"/>
                                                                  <a:gd name="connsiteX127" fmla="*/ 182319 w 886108"/>
                                                                  <a:gd name="connsiteY127" fmla="*/ 701227 h 981718"/>
                                                                  <a:gd name="connsiteX128" fmla="*/ 162684 w 886108"/>
                                                                  <a:gd name="connsiteY128" fmla="*/ 726472 h 981718"/>
                                                                  <a:gd name="connsiteX129" fmla="*/ 154270 w 886108"/>
                                                                  <a:gd name="connsiteY129" fmla="*/ 729276 h 981718"/>
                                                                  <a:gd name="connsiteX130" fmla="*/ 145855 w 886108"/>
                                                                  <a:gd name="connsiteY130" fmla="*/ 734886 h 981718"/>
                                                                  <a:gd name="connsiteX131" fmla="*/ 143050 w 886108"/>
                                                                  <a:gd name="connsiteY131" fmla="*/ 743301 h 981718"/>
                                                                  <a:gd name="connsiteX132" fmla="*/ 173904 w 886108"/>
                                                                  <a:gd name="connsiteY132" fmla="*/ 757326 h 981718"/>
                                                                  <a:gd name="connsiteX133" fmla="*/ 182319 w 886108"/>
                                                                  <a:gd name="connsiteY133" fmla="*/ 762935 h 981718"/>
                                                                  <a:gd name="connsiteX134" fmla="*/ 187928 w 886108"/>
                                                                  <a:gd name="connsiteY134" fmla="*/ 771350 h 981718"/>
                                                                  <a:gd name="connsiteX135" fmla="*/ 204758 w 886108"/>
                                                                  <a:gd name="connsiteY135" fmla="*/ 776960 h 981718"/>
                                                                  <a:gd name="connsiteX136" fmla="*/ 213173 w 886108"/>
                                                                  <a:gd name="connsiteY136" fmla="*/ 782570 h 981718"/>
                                                                  <a:gd name="connsiteX137" fmla="*/ 218782 w 886108"/>
                                                                  <a:gd name="connsiteY137" fmla="*/ 793789 h 981718"/>
                                                                  <a:gd name="connsiteX138" fmla="*/ 227197 w 886108"/>
                                                                  <a:gd name="connsiteY138" fmla="*/ 833058 h 981718"/>
                                                                  <a:gd name="connsiteX139" fmla="*/ 224392 w 886108"/>
                                                                  <a:gd name="connsiteY139" fmla="*/ 847083 h 981718"/>
                                                                  <a:gd name="connsiteX140" fmla="*/ 221587 w 886108"/>
                                                                  <a:gd name="connsiteY140" fmla="*/ 855497 h 981718"/>
                                                                  <a:gd name="connsiteX141" fmla="*/ 221587 w 886108"/>
                                                                  <a:gd name="connsiteY141" fmla="*/ 886351 h 981718"/>
                                                                  <a:gd name="connsiteX142" fmla="*/ 258051 w 886108"/>
                                                                  <a:gd name="connsiteY142" fmla="*/ 931230 h 981718"/>
                                                                  <a:gd name="connsiteX143" fmla="*/ 266466 w 886108"/>
                                                                  <a:gd name="connsiteY143" fmla="*/ 908791 h 981718"/>
                                                                  <a:gd name="connsiteX144" fmla="*/ 272076 w 886108"/>
                                                                  <a:gd name="connsiteY144" fmla="*/ 900376 h 981718"/>
                                                                  <a:gd name="connsiteX145" fmla="*/ 288905 w 886108"/>
                                                                  <a:gd name="connsiteY145" fmla="*/ 894766 h 981718"/>
                                                                  <a:gd name="connsiteX146" fmla="*/ 297320 w 886108"/>
                                                                  <a:gd name="connsiteY146" fmla="*/ 891961 h 981718"/>
                                                                  <a:gd name="connsiteX147" fmla="*/ 300125 w 886108"/>
                                                                  <a:gd name="connsiteY147" fmla="*/ 917205 h 981718"/>
                                                                  <a:gd name="connsiteX148" fmla="*/ 311344 w 886108"/>
                                                                  <a:gd name="connsiteY148" fmla="*/ 920010 h 981718"/>
                                                                  <a:gd name="connsiteX149" fmla="*/ 328174 w 886108"/>
                                                                  <a:gd name="connsiteY149" fmla="*/ 925620 h 981718"/>
                                                                  <a:gd name="connsiteX150" fmla="*/ 333784 w 886108"/>
                                                                  <a:gd name="connsiteY150" fmla="*/ 934035 h 981718"/>
                                                                  <a:gd name="connsiteX151" fmla="*/ 339393 w 886108"/>
                                                                  <a:gd name="connsiteY151" fmla="*/ 950864 h 981718"/>
                                                                  <a:gd name="connsiteX152" fmla="*/ 339393 w 886108"/>
                                                                  <a:gd name="connsiteY152" fmla="*/ 978913 h 981718"/>
                                                                  <a:gd name="connsiteX153" fmla="*/ 347808 w 886108"/>
                                                                  <a:gd name="connsiteY153" fmla="*/ 981718 h 981718"/>
                                                                  <a:gd name="connsiteX154" fmla="*/ 356223 w 886108"/>
                                                                  <a:gd name="connsiteY154" fmla="*/ 939645 h 981718"/>
                                                                  <a:gd name="connsiteX155" fmla="*/ 359028 w 886108"/>
                                                                  <a:gd name="connsiteY155" fmla="*/ 931230 h 981718"/>
                                                                  <a:gd name="connsiteX156" fmla="*/ 375857 w 886108"/>
                                                                  <a:gd name="connsiteY156" fmla="*/ 922815 h 981718"/>
                                                                  <a:gd name="connsiteX157" fmla="*/ 384272 w 886108"/>
                                                                  <a:gd name="connsiteY157" fmla="*/ 925620 h 981718"/>
                                                                  <a:gd name="connsiteX158" fmla="*/ 387077 w 886108"/>
                                                                  <a:gd name="connsiteY158" fmla="*/ 934035 h 981718"/>
                                                                  <a:gd name="connsiteX159" fmla="*/ 392687 w 886108"/>
                                                                  <a:gd name="connsiteY159" fmla="*/ 942449 h 981718"/>
                                                                  <a:gd name="connsiteX160" fmla="*/ 409516 w 886108"/>
                                                                  <a:gd name="connsiteY160" fmla="*/ 953669 h 981718"/>
                                                                  <a:gd name="connsiteX161" fmla="*/ 426346 w 886108"/>
                                                                  <a:gd name="connsiteY161" fmla="*/ 959279 h 981718"/>
                                                                  <a:gd name="connsiteX162" fmla="*/ 434760 w 886108"/>
                                                                  <a:gd name="connsiteY162" fmla="*/ 964889 h 981718"/>
                                                                  <a:gd name="connsiteX163" fmla="*/ 440370 w 886108"/>
                                                                  <a:gd name="connsiteY163" fmla="*/ 973303 h 981718"/>
                                                                  <a:gd name="connsiteX164" fmla="*/ 448785 w 886108"/>
                                                                  <a:gd name="connsiteY164" fmla="*/ 976108 h 981718"/>
                                                                  <a:gd name="connsiteX165" fmla="*/ 445980 w 886108"/>
                                                                  <a:gd name="connsiteY165" fmla="*/ 967694 h 981718"/>
                                                                  <a:gd name="connsiteX166" fmla="*/ 437565 w 886108"/>
                                                                  <a:gd name="connsiteY166" fmla="*/ 962084 h 981718"/>
                                                                  <a:gd name="connsiteX167" fmla="*/ 431955 w 886108"/>
                                                                  <a:gd name="connsiteY167" fmla="*/ 953669 h 981718"/>
                                                                  <a:gd name="connsiteX168" fmla="*/ 429151 w 886108"/>
                                                                  <a:gd name="connsiteY168" fmla="*/ 900376 h 981718"/>
                                                                  <a:gd name="connsiteX169" fmla="*/ 426346 w 886108"/>
                                                                  <a:gd name="connsiteY169" fmla="*/ 891961 h 981718"/>
                                                                  <a:gd name="connsiteX170" fmla="*/ 417931 w 886108"/>
                                                                  <a:gd name="connsiteY170" fmla="*/ 886351 h 981718"/>
                                                                  <a:gd name="connsiteX171" fmla="*/ 409516 w 886108"/>
                                                                  <a:gd name="connsiteY171" fmla="*/ 861107 h 981718"/>
                                                                  <a:gd name="connsiteX172" fmla="*/ 406711 w 886108"/>
                                                                  <a:gd name="connsiteY172" fmla="*/ 852692 h 981718"/>
                                                                  <a:gd name="connsiteX173" fmla="*/ 401101 w 886108"/>
                                                                  <a:gd name="connsiteY173" fmla="*/ 844278 h 981718"/>
                                                                  <a:gd name="connsiteX174" fmla="*/ 398297 w 886108"/>
                                                                  <a:gd name="connsiteY174" fmla="*/ 835863 h 981718"/>
                                                                  <a:gd name="connsiteX175" fmla="*/ 387077 w 886108"/>
                                                                  <a:gd name="connsiteY175" fmla="*/ 819034 h 981718"/>
                                                                  <a:gd name="connsiteX176" fmla="*/ 384272 w 886108"/>
                                                                  <a:gd name="connsiteY176" fmla="*/ 790984 h 981718"/>
                                                                  <a:gd name="connsiteX177" fmla="*/ 392687 w 886108"/>
                                                                  <a:gd name="connsiteY177" fmla="*/ 785375 h 981718"/>
                                                                  <a:gd name="connsiteX178" fmla="*/ 417931 w 886108"/>
                                                                  <a:gd name="connsiteY178" fmla="*/ 790984 h 981718"/>
                                                                  <a:gd name="connsiteX179" fmla="*/ 434760 w 886108"/>
                                                                  <a:gd name="connsiteY179" fmla="*/ 802204 h 981718"/>
                                                                  <a:gd name="connsiteX180" fmla="*/ 437565 w 886108"/>
                                                                  <a:gd name="connsiteY180" fmla="*/ 816229 h 981718"/>
                                                                  <a:gd name="connsiteX181" fmla="*/ 445980 w 886108"/>
                                                                  <a:gd name="connsiteY181" fmla="*/ 819034 h 981718"/>
                                                                  <a:gd name="connsiteX182" fmla="*/ 462809 w 886108"/>
                                                                  <a:gd name="connsiteY182" fmla="*/ 807814 h 981718"/>
                                                                  <a:gd name="connsiteX183" fmla="*/ 482444 w 886108"/>
                                                                  <a:gd name="connsiteY183" fmla="*/ 802204 h 981718"/>
                                                                  <a:gd name="connsiteX184" fmla="*/ 485249 w 886108"/>
                                                                  <a:gd name="connsiteY184" fmla="*/ 793789 h 981718"/>
                                                                  <a:gd name="connsiteX185" fmla="*/ 482444 w 886108"/>
                                                                  <a:gd name="connsiteY185" fmla="*/ 782570 h 981718"/>
                                                                  <a:gd name="connsiteX186" fmla="*/ 457200 w 886108"/>
                                                                  <a:gd name="connsiteY186" fmla="*/ 771350 h 981718"/>
                                                                  <a:gd name="connsiteX187" fmla="*/ 448785 w 886108"/>
                                                                  <a:gd name="connsiteY187" fmla="*/ 768545 h 981718"/>
                                                                  <a:gd name="connsiteX188" fmla="*/ 440370 w 886108"/>
                                                                  <a:gd name="connsiteY188" fmla="*/ 765740 h 981718"/>
                                                                  <a:gd name="connsiteX189" fmla="*/ 434760 w 886108"/>
                                                                  <a:gd name="connsiteY189" fmla="*/ 757326 h 981718"/>
                                                                  <a:gd name="connsiteX190" fmla="*/ 431955 w 886108"/>
                                                                  <a:gd name="connsiteY190" fmla="*/ 746106 h 981718"/>
                                                                  <a:gd name="connsiteX191" fmla="*/ 423541 w 886108"/>
                                                                  <a:gd name="connsiteY191" fmla="*/ 740496 h 981718"/>
                                                                  <a:gd name="connsiteX192" fmla="*/ 417931 w 886108"/>
                                                                  <a:gd name="connsiteY192" fmla="*/ 732081 h 981718"/>
                                                                  <a:gd name="connsiteX193" fmla="*/ 420736 w 886108"/>
                                                                  <a:gd name="connsiteY193" fmla="*/ 720862 h 981718"/>
                                                                  <a:gd name="connsiteX194" fmla="*/ 437565 w 886108"/>
                                                                  <a:gd name="connsiteY194" fmla="*/ 709642 h 981718"/>
                                                                  <a:gd name="connsiteX195" fmla="*/ 454395 w 886108"/>
                                                                  <a:gd name="connsiteY195" fmla="*/ 701227 h 981718"/>
                                                                  <a:gd name="connsiteX196" fmla="*/ 471224 w 886108"/>
                                                                  <a:gd name="connsiteY196" fmla="*/ 692813 h 981718"/>
                                                                  <a:gd name="connsiteX197" fmla="*/ 474029 w 886108"/>
                                                                  <a:gd name="connsiteY197" fmla="*/ 684398 h 981718"/>
                                                                  <a:gd name="connsiteX198" fmla="*/ 490859 w 886108"/>
                                                                  <a:gd name="connsiteY198" fmla="*/ 684398 h 981718"/>
                                                                  <a:gd name="connsiteX199" fmla="*/ 516103 w 886108"/>
                                                                  <a:gd name="connsiteY199" fmla="*/ 704032 h 981718"/>
                                                                  <a:gd name="connsiteX200" fmla="*/ 524517 w 886108"/>
                                                                  <a:gd name="connsiteY200" fmla="*/ 706837 h 981718"/>
                                                                  <a:gd name="connsiteX201" fmla="*/ 541347 w 886108"/>
                                                                  <a:gd name="connsiteY201" fmla="*/ 720862 h 981718"/>
                                                                  <a:gd name="connsiteX202" fmla="*/ 549762 w 886108"/>
                                                                  <a:gd name="connsiteY202" fmla="*/ 726472 h 981718"/>
                                                                  <a:gd name="connsiteX203" fmla="*/ 563786 w 886108"/>
                                                                  <a:gd name="connsiteY203" fmla="*/ 737691 h 981718"/>
                                                                  <a:gd name="connsiteX204" fmla="*/ 569396 w 886108"/>
                                                                  <a:gd name="connsiteY204" fmla="*/ 746106 h 981718"/>
                                                                  <a:gd name="connsiteX205" fmla="*/ 560981 w 886108"/>
                                                                  <a:gd name="connsiteY205" fmla="*/ 720862 h 981718"/>
                                                                  <a:gd name="connsiteX206" fmla="*/ 558176 w 886108"/>
                                                                  <a:gd name="connsiteY206" fmla="*/ 712447 h 981718"/>
                                                                  <a:gd name="connsiteX207" fmla="*/ 555371 w 886108"/>
                                                                  <a:gd name="connsiteY207" fmla="*/ 704032 h 981718"/>
                                                                  <a:gd name="connsiteX208" fmla="*/ 560981 w 886108"/>
                                                                  <a:gd name="connsiteY208" fmla="*/ 684398 h 981718"/>
                                                                  <a:gd name="connsiteX209" fmla="*/ 563786 w 886108"/>
                                                                  <a:gd name="connsiteY209" fmla="*/ 673178 h 981718"/>
                                                                  <a:gd name="connsiteX210" fmla="*/ 560981 w 886108"/>
                                                                  <a:gd name="connsiteY210" fmla="*/ 653544 h 981718"/>
                                                                  <a:gd name="connsiteX211" fmla="*/ 549762 w 886108"/>
                                                                  <a:gd name="connsiteY211" fmla="*/ 650739 h 981718"/>
                                                                  <a:gd name="connsiteX212" fmla="*/ 532932 w 886108"/>
                                                                  <a:gd name="connsiteY212" fmla="*/ 645129 h 981718"/>
                                                                  <a:gd name="connsiteX213" fmla="*/ 524517 w 886108"/>
                                                                  <a:gd name="connsiteY213" fmla="*/ 642324 h 981718"/>
                                                                  <a:gd name="connsiteX214" fmla="*/ 507688 w 886108"/>
                                                                  <a:gd name="connsiteY214" fmla="*/ 639519 h 981718"/>
                                                                  <a:gd name="connsiteX215" fmla="*/ 490859 w 886108"/>
                                                                  <a:gd name="connsiteY215" fmla="*/ 622690 h 981718"/>
                                                                  <a:gd name="connsiteX216" fmla="*/ 457200 w 886108"/>
                                                                  <a:gd name="connsiteY216" fmla="*/ 614275 h 981718"/>
                                                                  <a:gd name="connsiteX217" fmla="*/ 451590 w 886108"/>
                                                                  <a:gd name="connsiteY217" fmla="*/ 605861 h 981718"/>
                                                                  <a:gd name="connsiteX218" fmla="*/ 440370 w 886108"/>
                                                                  <a:gd name="connsiteY218" fmla="*/ 591836 h 981718"/>
                                                                  <a:gd name="connsiteX219" fmla="*/ 415126 w 886108"/>
                                                                  <a:gd name="connsiteY219" fmla="*/ 589031 h 981718"/>
                                                                  <a:gd name="connsiteX220" fmla="*/ 406711 w 886108"/>
                                                                  <a:gd name="connsiteY220" fmla="*/ 583421 h 981718"/>
                                                                  <a:gd name="connsiteX221" fmla="*/ 398297 w 886108"/>
                                                                  <a:gd name="connsiteY221" fmla="*/ 575007 h 981718"/>
                                                                  <a:gd name="connsiteX222" fmla="*/ 375857 w 886108"/>
                                                                  <a:gd name="connsiteY222" fmla="*/ 569397 h 981718"/>
                                                                  <a:gd name="connsiteX223" fmla="*/ 347808 w 886108"/>
                                                                  <a:gd name="connsiteY223" fmla="*/ 563787 h 981718"/>
                                                                  <a:gd name="connsiteX224" fmla="*/ 339393 w 886108"/>
                                                                  <a:gd name="connsiteY224" fmla="*/ 558177 h 981718"/>
                                                                  <a:gd name="connsiteX225" fmla="*/ 342198 w 886108"/>
                                                                  <a:gd name="connsiteY225" fmla="*/ 549762 h 981718"/>
                                                                  <a:gd name="connsiteX226" fmla="*/ 378662 w 886108"/>
                                                                  <a:gd name="connsiteY226" fmla="*/ 541348 h 981718"/>
                                                                  <a:gd name="connsiteX227" fmla="*/ 387077 w 886108"/>
                                                                  <a:gd name="connsiteY227" fmla="*/ 538543 h 981718"/>
                                                                  <a:gd name="connsiteX228" fmla="*/ 398297 w 886108"/>
                                                                  <a:gd name="connsiteY228" fmla="*/ 521713 h 981718"/>
                                                                  <a:gd name="connsiteX229" fmla="*/ 387077 w 886108"/>
                                                                  <a:gd name="connsiteY229" fmla="*/ 493664 h 981718"/>
                                                                  <a:gd name="connsiteX230" fmla="*/ 378662 w 886108"/>
                                                                  <a:gd name="connsiteY230" fmla="*/ 490859 h 981718"/>
                                                                  <a:gd name="connsiteX231" fmla="*/ 375857 w 886108"/>
                                                                  <a:gd name="connsiteY231" fmla="*/ 482445 h 981718"/>
                                                                  <a:gd name="connsiteX232" fmla="*/ 392687 w 886108"/>
                                                                  <a:gd name="connsiteY232" fmla="*/ 471225 h 981718"/>
                                                                  <a:gd name="connsiteX233" fmla="*/ 401101 w 886108"/>
                                                                  <a:gd name="connsiteY233" fmla="*/ 462810 h 981718"/>
                                                                  <a:gd name="connsiteX234" fmla="*/ 409516 w 886108"/>
                                                                  <a:gd name="connsiteY234" fmla="*/ 460005 h 981718"/>
                                                                  <a:gd name="connsiteX235" fmla="*/ 417931 w 886108"/>
                                                                  <a:gd name="connsiteY235" fmla="*/ 468420 h 981718"/>
                                                                  <a:gd name="connsiteX236" fmla="*/ 415126 w 886108"/>
                                                                  <a:gd name="connsiteY236" fmla="*/ 488054 h 981718"/>
                                                                  <a:gd name="connsiteX237" fmla="*/ 417931 w 886108"/>
                                                                  <a:gd name="connsiteY237" fmla="*/ 504884 h 981718"/>
                                                                  <a:gd name="connsiteX238" fmla="*/ 431955 w 886108"/>
                                                                  <a:gd name="connsiteY238" fmla="*/ 502079 h 981718"/>
                                                                  <a:gd name="connsiteX239" fmla="*/ 437565 w 886108"/>
                                                                  <a:gd name="connsiteY239" fmla="*/ 485249 h 981718"/>
                                                                  <a:gd name="connsiteX240" fmla="*/ 440370 w 886108"/>
                                                                  <a:gd name="connsiteY240" fmla="*/ 476835 h 981718"/>
                                                                  <a:gd name="connsiteX241" fmla="*/ 431955 w 886108"/>
                                                                  <a:gd name="connsiteY241" fmla="*/ 454396 h 981718"/>
                                                                  <a:gd name="connsiteX242" fmla="*/ 423541 w 886108"/>
                                                                  <a:gd name="connsiteY242" fmla="*/ 448786 h 981718"/>
                                                                  <a:gd name="connsiteX243" fmla="*/ 412321 w 886108"/>
                                                                  <a:gd name="connsiteY243" fmla="*/ 429151 h 981718"/>
                                                                  <a:gd name="connsiteX244" fmla="*/ 395492 w 886108"/>
                                                                  <a:gd name="connsiteY244" fmla="*/ 417932 h 981718"/>
                                                                  <a:gd name="connsiteX245" fmla="*/ 392687 w 886108"/>
                                                                  <a:gd name="connsiteY245" fmla="*/ 409517 h 981718"/>
                                                                  <a:gd name="connsiteX246" fmla="*/ 389882 w 886108"/>
                                                                  <a:gd name="connsiteY246" fmla="*/ 398297 h 981718"/>
                                                                  <a:gd name="connsiteX247" fmla="*/ 378662 w 886108"/>
                                                                  <a:gd name="connsiteY247" fmla="*/ 381468 h 981718"/>
                                                                  <a:gd name="connsiteX248" fmla="*/ 373052 w 886108"/>
                                                                  <a:gd name="connsiteY248" fmla="*/ 364638 h 981718"/>
                                                                  <a:gd name="connsiteX249" fmla="*/ 364638 w 886108"/>
                                                                  <a:gd name="connsiteY249" fmla="*/ 347809 h 981718"/>
                                                                  <a:gd name="connsiteX250" fmla="*/ 356223 w 886108"/>
                                                                  <a:gd name="connsiteY250" fmla="*/ 342199 h 981718"/>
                                                                  <a:gd name="connsiteX251" fmla="*/ 350613 w 886108"/>
                                                                  <a:gd name="connsiteY251" fmla="*/ 333784 h 981718"/>
                                                                  <a:gd name="connsiteX252" fmla="*/ 345003 w 886108"/>
                                                                  <a:gd name="connsiteY252" fmla="*/ 316955 h 981718"/>
                                                                  <a:gd name="connsiteX253" fmla="*/ 350613 w 886108"/>
                                                                  <a:gd name="connsiteY253" fmla="*/ 291711 h 981718"/>
                                                                  <a:gd name="connsiteX254" fmla="*/ 353418 w 886108"/>
                                                                  <a:gd name="connsiteY254" fmla="*/ 283296 h 981718"/>
                                                                  <a:gd name="connsiteX255" fmla="*/ 347808 w 886108"/>
                                                                  <a:gd name="connsiteY255" fmla="*/ 266467 h 981718"/>
                                                                  <a:gd name="connsiteX256" fmla="*/ 339393 w 886108"/>
                                                                  <a:gd name="connsiteY256" fmla="*/ 258052 h 981718"/>
                                                                  <a:gd name="connsiteX257" fmla="*/ 361833 w 886108"/>
                                                                  <a:gd name="connsiteY257" fmla="*/ 241222 h 981718"/>
                                                                  <a:gd name="connsiteX258" fmla="*/ 384272 w 886108"/>
                                                                  <a:gd name="connsiteY258" fmla="*/ 227198 h 981718"/>
                                                                  <a:gd name="connsiteX259" fmla="*/ 381467 w 886108"/>
                                                                  <a:gd name="connsiteY259" fmla="*/ 241222 h 981718"/>
                                                                  <a:gd name="connsiteX260" fmla="*/ 375857 w 886108"/>
                                                                  <a:gd name="connsiteY260" fmla="*/ 258052 h 981718"/>
                                                                  <a:gd name="connsiteX261" fmla="*/ 392687 w 886108"/>
                                                                  <a:gd name="connsiteY261" fmla="*/ 269272 h 981718"/>
                                                                  <a:gd name="connsiteX262" fmla="*/ 401101 w 886108"/>
                                                                  <a:gd name="connsiteY262" fmla="*/ 277686 h 981718"/>
                                                                  <a:gd name="connsiteX263" fmla="*/ 409516 w 886108"/>
                                                                  <a:gd name="connsiteY263" fmla="*/ 283296 h 981718"/>
                                                                  <a:gd name="connsiteX264" fmla="*/ 417931 w 886108"/>
                                                                  <a:gd name="connsiteY264" fmla="*/ 291711 h 981718"/>
                                                                  <a:gd name="connsiteX265" fmla="*/ 434760 w 886108"/>
                                                                  <a:gd name="connsiteY265" fmla="*/ 305735 h 981718"/>
                                                                  <a:gd name="connsiteX266" fmla="*/ 440370 w 886108"/>
                                                                  <a:gd name="connsiteY266" fmla="*/ 314150 h 981718"/>
                                                                  <a:gd name="connsiteX267" fmla="*/ 443175 w 886108"/>
                                                                  <a:gd name="connsiteY267" fmla="*/ 322565 h 981718"/>
                                                                  <a:gd name="connsiteX268" fmla="*/ 468419 w 886108"/>
                                                                  <a:gd name="connsiteY268" fmla="*/ 345004 h 981718"/>
                                                                  <a:gd name="connsiteX269" fmla="*/ 485249 w 886108"/>
                                                                  <a:gd name="connsiteY269" fmla="*/ 356224 h 981718"/>
                                                                  <a:gd name="connsiteX270" fmla="*/ 493663 w 886108"/>
                                                                  <a:gd name="connsiteY270" fmla="*/ 353419 h 981718"/>
                                                                  <a:gd name="connsiteX271" fmla="*/ 482444 w 886108"/>
                                                                  <a:gd name="connsiteY271" fmla="*/ 336589 h 981718"/>
                                                                  <a:gd name="connsiteX272" fmla="*/ 476834 w 886108"/>
                                                                  <a:gd name="connsiteY272" fmla="*/ 328175 h 981718"/>
                                                                  <a:gd name="connsiteX273" fmla="*/ 468419 w 886108"/>
                                                                  <a:gd name="connsiteY273" fmla="*/ 325370 h 981718"/>
                                                                  <a:gd name="connsiteX274" fmla="*/ 462809 w 886108"/>
                                                                  <a:gd name="connsiteY274" fmla="*/ 308540 h 981718"/>
                                                                  <a:gd name="connsiteX275" fmla="*/ 457200 w 886108"/>
                                                                  <a:gd name="connsiteY275" fmla="*/ 300126 h 981718"/>
                                                                  <a:gd name="connsiteX276" fmla="*/ 465614 w 886108"/>
                                                                  <a:gd name="connsiteY276" fmla="*/ 294516 h 981718"/>
                                                                  <a:gd name="connsiteX277" fmla="*/ 488054 w 886108"/>
                                                                  <a:gd name="connsiteY277" fmla="*/ 300126 h 981718"/>
                                                                  <a:gd name="connsiteX278" fmla="*/ 510493 w 886108"/>
                                                                  <a:gd name="connsiteY278" fmla="*/ 325370 h 981718"/>
                                                                  <a:gd name="connsiteX279" fmla="*/ 527322 w 886108"/>
                                                                  <a:gd name="connsiteY279" fmla="*/ 336589 h 981718"/>
                                                                  <a:gd name="connsiteX280" fmla="*/ 535737 w 886108"/>
                                                                  <a:gd name="connsiteY280" fmla="*/ 339394 h 981718"/>
                                                                  <a:gd name="connsiteX281" fmla="*/ 544152 w 886108"/>
                                                                  <a:gd name="connsiteY281" fmla="*/ 330980 h 981718"/>
                                                                  <a:gd name="connsiteX282" fmla="*/ 541347 w 886108"/>
                                                                  <a:gd name="connsiteY282" fmla="*/ 311345 h 981718"/>
                                                                  <a:gd name="connsiteX283" fmla="*/ 524517 w 886108"/>
                                                                  <a:gd name="connsiteY283" fmla="*/ 305735 h 981718"/>
                                                                  <a:gd name="connsiteX284" fmla="*/ 516103 w 886108"/>
                                                                  <a:gd name="connsiteY284" fmla="*/ 300126 h 981718"/>
                                                                  <a:gd name="connsiteX285" fmla="*/ 507688 w 886108"/>
                                                                  <a:gd name="connsiteY285" fmla="*/ 297321 h 981718"/>
                                                                  <a:gd name="connsiteX286" fmla="*/ 499273 w 886108"/>
                                                                  <a:gd name="connsiteY286" fmla="*/ 269272 h 981718"/>
                                                                  <a:gd name="connsiteX287" fmla="*/ 507688 w 886108"/>
                                                                  <a:gd name="connsiteY287" fmla="*/ 263662 h 981718"/>
                                                                  <a:gd name="connsiteX288" fmla="*/ 532932 w 886108"/>
                                                                  <a:gd name="connsiteY288" fmla="*/ 269272 h 981718"/>
                                                                  <a:gd name="connsiteX289" fmla="*/ 549762 w 886108"/>
                                                                  <a:gd name="connsiteY289" fmla="*/ 283296 h 981718"/>
                                                                  <a:gd name="connsiteX290" fmla="*/ 558176 w 886108"/>
                                                                  <a:gd name="connsiteY290" fmla="*/ 288906 h 981718"/>
                                                                  <a:gd name="connsiteX291" fmla="*/ 563786 w 886108"/>
                                                                  <a:gd name="connsiteY291" fmla="*/ 297321 h 981718"/>
                                                                  <a:gd name="connsiteX292" fmla="*/ 580616 w 886108"/>
                                                                  <a:gd name="connsiteY292" fmla="*/ 302930 h 981718"/>
                                                                  <a:gd name="connsiteX293" fmla="*/ 591835 w 886108"/>
                                                                  <a:gd name="connsiteY293" fmla="*/ 300126 h 981718"/>
                                                                  <a:gd name="connsiteX294" fmla="*/ 586225 w 886108"/>
                                                                  <a:gd name="connsiteY294" fmla="*/ 291711 h 981718"/>
                                                                  <a:gd name="connsiteX295" fmla="*/ 566591 w 886108"/>
                                                                  <a:gd name="connsiteY295" fmla="*/ 283296 h 981718"/>
                                                                  <a:gd name="connsiteX296" fmla="*/ 549762 w 886108"/>
                                                                  <a:gd name="connsiteY296" fmla="*/ 269272 h 981718"/>
                                                                  <a:gd name="connsiteX297" fmla="*/ 546957 w 886108"/>
                                                                  <a:gd name="connsiteY297" fmla="*/ 260857 h 981718"/>
                                                                  <a:gd name="connsiteX298" fmla="*/ 538542 w 886108"/>
                                                                  <a:gd name="connsiteY298" fmla="*/ 258052 h 981718"/>
                                                                  <a:gd name="connsiteX299" fmla="*/ 521712 w 886108"/>
                                                                  <a:gd name="connsiteY299" fmla="*/ 249637 h 981718"/>
                                                                  <a:gd name="connsiteX300" fmla="*/ 513298 w 886108"/>
                                                                  <a:gd name="connsiteY300" fmla="*/ 230003 h 981718"/>
                                                                  <a:gd name="connsiteX301" fmla="*/ 510493 w 886108"/>
                                                                  <a:gd name="connsiteY301" fmla="*/ 221588 h 981718"/>
                                                                  <a:gd name="connsiteX302" fmla="*/ 502078 w 886108"/>
                                                                  <a:gd name="connsiteY302" fmla="*/ 218783 h 981718"/>
                                                                  <a:gd name="connsiteX303" fmla="*/ 499273 w 886108"/>
                                                                  <a:gd name="connsiteY303" fmla="*/ 201954 h 981718"/>
                                                                  <a:gd name="connsiteX304" fmla="*/ 507688 w 886108"/>
                                                                  <a:gd name="connsiteY304" fmla="*/ 199149 h 981718"/>
                                                                  <a:gd name="connsiteX305" fmla="*/ 535737 w 886108"/>
                                                                  <a:gd name="connsiteY305" fmla="*/ 201954 h 981718"/>
                                                                  <a:gd name="connsiteX306" fmla="*/ 555371 w 886108"/>
                                                                  <a:gd name="connsiteY306" fmla="*/ 204759 h 981718"/>
                                                                  <a:gd name="connsiteX307" fmla="*/ 566591 w 886108"/>
                                                                  <a:gd name="connsiteY307" fmla="*/ 196344 h 981718"/>
                                                                  <a:gd name="connsiteX308" fmla="*/ 569396 w 886108"/>
                                                                  <a:gd name="connsiteY308" fmla="*/ 187929 h 981718"/>
                                                                  <a:gd name="connsiteX309" fmla="*/ 575006 w 886108"/>
                                                                  <a:gd name="connsiteY309" fmla="*/ 179515 h 981718"/>
                                                                  <a:gd name="connsiteX310" fmla="*/ 577811 w 886108"/>
                                                                  <a:gd name="connsiteY310" fmla="*/ 159880 h 981718"/>
                                                                  <a:gd name="connsiteX311" fmla="*/ 586225 w 886108"/>
                                                                  <a:gd name="connsiteY311" fmla="*/ 157075 h 981718"/>
                                                                  <a:gd name="connsiteX312" fmla="*/ 594640 w 886108"/>
                                                                  <a:gd name="connsiteY312" fmla="*/ 151465 h 981718"/>
                                                                  <a:gd name="connsiteX313" fmla="*/ 619884 w 886108"/>
                                                                  <a:gd name="connsiteY313" fmla="*/ 154270 h 981718"/>
                                                                  <a:gd name="connsiteX314" fmla="*/ 636714 w 886108"/>
                                                                  <a:gd name="connsiteY314" fmla="*/ 159880 h 981718"/>
                                                                  <a:gd name="connsiteX315" fmla="*/ 645128 w 886108"/>
                                                                  <a:gd name="connsiteY315" fmla="*/ 162685 h 981718"/>
                                                                  <a:gd name="connsiteX316" fmla="*/ 656348 w 886108"/>
                                                                  <a:gd name="connsiteY316" fmla="*/ 159880 h 981718"/>
                                                                  <a:gd name="connsiteX317" fmla="*/ 675982 w 886108"/>
                                                                  <a:gd name="connsiteY317" fmla="*/ 148661 h 981718"/>
                                                                  <a:gd name="connsiteX318" fmla="*/ 684397 w 886108"/>
                                                                  <a:gd name="connsiteY318" fmla="*/ 143051 h 981718"/>
                                                                  <a:gd name="connsiteX319" fmla="*/ 729276 w 886108"/>
                                                                  <a:gd name="connsiteY319" fmla="*/ 145856 h 981718"/>
                                                                  <a:gd name="connsiteX320" fmla="*/ 782569 w 886108"/>
                                                                  <a:gd name="connsiteY320" fmla="*/ 148661 h 981718"/>
                                                                  <a:gd name="connsiteX321" fmla="*/ 790984 w 886108"/>
                                                                  <a:gd name="connsiteY321" fmla="*/ 154270 h 981718"/>
                                                                  <a:gd name="connsiteX322" fmla="*/ 799398 w 886108"/>
                                                                  <a:gd name="connsiteY322" fmla="*/ 157075 h 981718"/>
                                                                  <a:gd name="connsiteX323" fmla="*/ 805008 w 886108"/>
                                                                  <a:gd name="connsiteY323" fmla="*/ 165490 h 981718"/>
                                                                  <a:gd name="connsiteX324" fmla="*/ 821838 w 886108"/>
                                                                  <a:gd name="connsiteY324" fmla="*/ 171100 h 981718"/>
                                                                  <a:gd name="connsiteX325" fmla="*/ 844277 w 886108"/>
                                                                  <a:gd name="connsiteY325" fmla="*/ 168295 h 981718"/>
                                                                  <a:gd name="connsiteX326" fmla="*/ 849887 w 886108"/>
                                                                  <a:gd name="connsiteY326" fmla="*/ 151465 h 981718"/>
                                                                  <a:gd name="connsiteX327" fmla="*/ 852692 w 886108"/>
                                                                  <a:gd name="connsiteY327" fmla="*/ 143051 h 981718"/>
                                                                  <a:gd name="connsiteX328" fmla="*/ 855497 w 886108"/>
                                                                  <a:gd name="connsiteY328" fmla="*/ 98172 h 981718"/>
                                                                  <a:gd name="connsiteX329" fmla="*/ 872326 w 886108"/>
                                                                  <a:gd name="connsiteY329" fmla="*/ 86953 h 981718"/>
                                                                  <a:gd name="connsiteX330" fmla="*/ 880741 w 886108"/>
                                                                  <a:gd name="connsiteY330" fmla="*/ 30854 h 981718"/>
                                                                  <a:gd name="connsiteX331" fmla="*/ 872326 w 886108"/>
                                                                  <a:gd name="connsiteY331" fmla="*/ 22440 h 981718"/>
                                                                  <a:gd name="connsiteX332" fmla="*/ 855497 w 886108"/>
                                                                  <a:gd name="connsiteY332" fmla="*/ 16830 h 981718"/>
                                                                  <a:gd name="connsiteX333" fmla="*/ 861106 w 886108"/>
                                                                  <a:gd name="connsiteY333" fmla="*/ 0 h 98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Lst>
                                                                <a:rect l="l" t="t" r="r" b="b"/>
                                                                <a:pathLst>
                                                                  <a:path w="886108" h="981718">
                                                                    <a:moveTo>
                                                                      <a:pt x="861106" y="0"/>
                                                                    </a:moveTo>
                                                                    <a:lnTo>
                                                                      <a:pt x="861106" y="0"/>
                                                                    </a:lnTo>
                                                                    <a:cubicBezTo>
                                                                      <a:pt x="856037" y="563"/>
                                                                      <a:pt x="833145" y="1966"/>
                                                                      <a:pt x="824643" y="5610"/>
                                                                    </a:cubicBezTo>
                                                                    <a:cubicBezTo>
                                                                      <a:pt x="821544" y="6938"/>
                                                                      <a:pt x="819033" y="9350"/>
                                                                      <a:pt x="816228" y="11220"/>
                                                                    </a:cubicBezTo>
                                                                    <a:cubicBezTo>
                                                                      <a:pt x="817163" y="15895"/>
                                                                      <a:pt x="817877" y="20620"/>
                                                                      <a:pt x="819033" y="25245"/>
                                                                    </a:cubicBezTo>
                                                                    <a:cubicBezTo>
                                                                      <a:pt x="819750" y="28113"/>
                                                                      <a:pt x="821838" y="30703"/>
                                                                      <a:pt x="821838" y="33659"/>
                                                                    </a:cubicBezTo>
                                                                    <a:cubicBezTo>
                                                                      <a:pt x="821838" y="41197"/>
                                                                      <a:pt x="820382" y="48682"/>
                                                                      <a:pt x="819033" y="56099"/>
                                                                    </a:cubicBezTo>
                                                                    <a:cubicBezTo>
                                                                      <a:pt x="818504" y="59008"/>
                                                                      <a:pt x="817550" y="61869"/>
                                                                      <a:pt x="816228" y="64513"/>
                                                                    </a:cubicBezTo>
                                                                    <a:cubicBezTo>
                                                                      <a:pt x="814720" y="67528"/>
                                                                      <a:pt x="813002" y="70544"/>
                                                                      <a:pt x="810618" y="72928"/>
                                                                    </a:cubicBezTo>
                                                                    <a:cubicBezTo>
                                                                      <a:pt x="808234" y="75312"/>
                                                                      <a:pt x="805218" y="77030"/>
                                                                      <a:pt x="802203" y="78538"/>
                                                                    </a:cubicBezTo>
                                                                    <a:cubicBezTo>
                                                                      <a:pt x="799559" y="79860"/>
                                                                      <a:pt x="796734" y="81087"/>
                                                                      <a:pt x="793789" y="81343"/>
                                                                    </a:cubicBezTo>
                                                                    <a:cubicBezTo>
                                                                      <a:pt x="775136" y="82965"/>
                                                                      <a:pt x="756390" y="83213"/>
                                                                      <a:pt x="737690" y="84148"/>
                                                                    </a:cubicBezTo>
                                                                    <a:cubicBezTo>
                                                                      <a:pt x="734885" y="85083"/>
                                                                      <a:pt x="731860" y="85517"/>
                                                                      <a:pt x="729276" y="86953"/>
                                                                    </a:cubicBezTo>
                                                                    <a:cubicBezTo>
                                                                      <a:pt x="700342" y="103027"/>
                                                                      <a:pt x="723071" y="94630"/>
                                                                      <a:pt x="704032" y="100977"/>
                                                                    </a:cubicBezTo>
                                                                    <a:cubicBezTo>
                                                                      <a:pt x="699357" y="100042"/>
                                                                      <a:pt x="694146" y="100537"/>
                                                                      <a:pt x="690007" y="98172"/>
                                                                    </a:cubicBezTo>
                                                                    <a:cubicBezTo>
                                                                      <a:pt x="687080" y="96499"/>
                                                                      <a:pt x="686781" y="92141"/>
                                                                      <a:pt x="684397" y="89757"/>
                                                                    </a:cubicBezTo>
                                                                    <a:cubicBezTo>
                                                                      <a:pt x="678961" y="84322"/>
                                                                      <a:pt x="674410" y="83624"/>
                                                                      <a:pt x="667568" y="81343"/>
                                                                    </a:cubicBezTo>
                                                                    <a:cubicBezTo>
                                                                      <a:pt x="665698" y="78538"/>
                                                                      <a:pt x="664342" y="75312"/>
                                                                      <a:pt x="661958" y="72928"/>
                                                                    </a:cubicBezTo>
                                                                    <a:cubicBezTo>
                                                                      <a:pt x="651187" y="62157"/>
                                                                      <a:pt x="637797" y="65886"/>
                                                                      <a:pt x="622689" y="64513"/>
                                                                    </a:cubicBezTo>
                                                                    <a:cubicBezTo>
                                                                      <a:pt x="619884" y="63578"/>
                                                                      <a:pt x="616583" y="63555"/>
                                                                      <a:pt x="614274" y="61708"/>
                                                                    </a:cubicBezTo>
                                                                    <a:cubicBezTo>
                                                                      <a:pt x="595573" y="46748"/>
                                                                      <a:pt x="622693" y="58905"/>
                                                                      <a:pt x="600250" y="47684"/>
                                                                    </a:cubicBezTo>
                                                                    <a:cubicBezTo>
                                                                      <a:pt x="594500" y="44809"/>
                                                                      <a:pt x="583145" y="43141"/>
                                                                      <a:pt x="577811" y="42074"/>
                                                                    </a:cubicBezTo>
                                                                    <a:cubicBezTo>
                                                                      <a:pt x="573556" y="39238"/>
                                                                      <a:pt x="566788" y="33659"/>
                                                                      <a:pt x="560981" y="33659"/>
                                                                    </a:cubicBezTo>
                                                                    <a:cubicBezTo>
                                                                      <a:pt x="555294" y="33659"/>
                                                                      <a:pt x="549704" y="35230"/>
                                                                      <a:pt x="544152" y="36464"/>
                                                                    </a:cubicBezTo>
                                                                    <a:cubicBezTo>
                                                                      <a:pt x="541266" y="37105"/>
                                                                      <a:pt x="538322" y="37833"/>
                                                                      <a:pt x="535737" y="39269"/>
                                                                    </a:cubicBezTo>
                                                                    <a:cubicBezTo>
                                                                      <a:pt x="529843" y="42543"/>
                                                                      <a:pt x="524518" y="46749"/>
                                                                      <a:pt x="518908" y="50489"/>
                                                                    </a:cubicBezTo>
                                                                    <a:cubicBezTo>
                                                                      <a:pt x="516103" y="52359"/>
                                                                      <a:pt x="513691" y="55033"/>
                                                                      <a:pt x="510493" y="56099"/>
                                                                    </a:cubicBezTo>
                                                                    <a:cubicBezTo>
                                                                      <a:pt x="484749" y="64679"/>
                                                                      <a:pt x="499547" y="61120"/>
                                                                      <a:pt x="465614" y="64513"/>
                                                                    </a:cubicBezTo>
                                                                    <a:cubicBezTo>
                                                                      <a:pt x="460004" y="66383"/>
                                                                      <a:pt x="450655" y="64513"/>
                                                                      <a:pt x="448785" y="70123"/>
                                                                    </a:cubicBezTo>
                                                                    <a:cubicBezTo>
                                                                      <a:pt x="445045" y="81343"/>
                                                                      <a:pt x="448785" y="77603"/>
                                                                      <a:pt x="437565" y="81343"/>
                                                                    </a:cubicBezTo>
                                                                    <a:cubicBezTo>
                                                                      <a:pt x="436630" y="84148"/>
                                                                      <a:pt x="436850" y="87667"/>
                                                                      <a:pt x="434760" y="89757"/>
                                                                    </a:cubicBezTo>
                                                                    <a:cubicBezTo>
                                                                      <a:pt x="432670" y="91847"/>
                                                                      <a:pt x="428990" y="91240"/>
                                                                      <a:pt x="426346" y="92562"/>
                                                                    </a:cubicBezTo>
                                                                    <a:cubicBezTo>
                                                                      <a:pt x="423331" y="94070"/>
                                                                      <a:pt x="421261" y="97646"/>
                                                                      <a:pt x="417931" y="98172"/>
                                                                    </a:cubicBezTo>
                                                                    <a:cubicBezTo>
                                                                      <a:pt x="403126" y="100510"/>
                                                                      <a:pt x="388012" y="100042"/>
                                                                      <a:pt x="373052" y="100977"/>
                                                                    </a:cubicBezTo>
                                                                    <a:cubicBezTo>
                                                                      <a:pt x="368252" y="102577"/>
                                                                      <a:pt x="359330" y="104732"/>
                                                                      <a:pt x="356223" y="109392"/>
                                                                    </a:cubicBezTo>
                                                                    <a:cubicBezTo>
                                                                      <a:pt x="354207" y="112416"/>
                                                                      <a:pt x="353482" y="125440"/>
                                                                      <a:pt x="350613" y="129026"/>
                                                                    </a:cubicBezTo>
                                                                    <a:cubicBezTo>
                                                                      <a:pt x="348507" y="131658"/>
                                                                      <a:pt x="345213" y="133128"/>
                                                                      <a:pt x="342198" y="134636"/>
                                                                    </a:cubicBezTo>
                                                                    <a:cubicBezTo>
                                                                      <a:pt x="332799" y="139336"/>
                                                                      <a:pt x="316539" y="139357"/>
                                                                      <a:pt x="308539" y="140246"/>
                                                                    </a:cubicBezTo>
                                                                    <a:cubicBezTo>
                                                                      <a:pt x="270857" y="149667"/>
                                                                      <a:pt x="341481" y="132780"/>
                                                                      <a:pt x="241222" y="145856"/>
                                                                    </a:cubicBezTo>
                                                                    <a:cubicBezTo>
                                                                      <a:pt x="237879" y="146292"/>
                                                                      <a:pt x="235612" y="149595"/>
                                                                      <a:pt x="232807" y="151465"/>
                                                                    </a:cubicBezTo>
                                                                    <a:lnTo>
                                                                      <a:pt x="221587" y="168295"/>
                                                                    </a:lnTo>
                                                                    <a:cubicBezTo>
                                                                      <a:pt x="219717" y="171100"/>
                                                                      <a:pt x="219176" y="175644"/>
                                                                      <a:pt x="215978" y="176710"/>
                                                                    </a:cubicBezTo>
                                                                    <a:cubicBezTo>
                                                                      <a:pt x="189706" y="185466"/>
                                                                      <a:pt x="208912" y="179837"/>
                                                                      <a:pt x="185124" y="185124"/>
                                                                    </a:cubicBezTo>
                                                                    <a:cubicBezTo>
                                                                      <a:pt x="181361" y="185960"/>
                                                                      <a:pt x="177720" y="187384"/>
                                                                      <a:pt x="173904" y="187929"/>
                                                                    </a:cubicBezTo>
                                                                    <a:cubicBezTo>
                                                                      <a:pt x="164602" y="189258"/>
                                                                      <a:pt x="155205" y="189799"/>
                                                                      <a:pt x="145855" y="190734"/>
                                                                    </a:cubicBezTo>
                                                                    <a:lnTo>
                                                                      <a:pt x="129025" y="196344"/>
                                                                    </a:lnTo>
                                                                    <a:lnTo>
                                                                      <a:pt x="120611" y="199149"/>
                                                                    </a:lnTo>
                                                                    <a:cubicBezTo>
                                                                      <a:pt x="111184" y="227431"/>
                                                                      <a:pt x="125568" y="183563"/>
                                                                      <a:pt x="115001" y="218783"/>
                                                                    </a:cubicBezTo>
                                                                    <a:cubicBezTo>
                                                                      <a:pt x="113302" y="224447"/>
                                                                      <a:pt x="112671" y="230693"/>
                                                                      <a:pt x="109391" y="235613"/>
                                                                    </a:cubicBezTo>
                                                                    <a:lnTo>
                                                                      <a:pt x="103781" y="244027"/>
                                                                    </a:lnTo>
                                                                    <a:cubicBezTo>
                                                                      <a:pt x="102846" y="246832"/>
                                                                      <a:pt x="102823" y="250133"/>
                                                                      <a:pt x="100976" y="252442"/>
                                                                    </a:cubicBezTo>
                                                                    <a:cubicBezTo>
                                                                      <a:pt x="98870" y="255074"/>
                                                                      <a:pt x="94296" y="255161"/>
                                                                      <a:pt x="92562" y="258052"/>
                                                                    </a:cubicBezTo>
                                                                    <a:cubicBezTo>
                                                                      <a:pt x="91119" y="260457"/>
                                                                      <a:pt x="92562" y="263662"/>
                                                                      <a:pt x="92562" y="266467"/>
                                                                    </a:cubicBezTo>
                                                                    <a:lnTo>
                                                                      <a:pt x="84147" y="291711"/>
                                                                    </a:lnTo>
                                                                    <a:cubicBezTo>
                                                                      <a:pt x="77339" y="309865"/>
                                                                      <a:pt x="79024" y="318663"/>
                                                                      <a:pt x="58903" y="325370"/>
                                                                    </a:cubicBezTo>
                                                                    <a:lnTo>
                                                                      <a:pt x="42073" y="330980"/>
                                                                    </a:lnTo>
                                                                    <a:lnTo>
                                                                      <a:pt x="33659" y="333784"/>
                                                                    </a:lnTo>
                                                                    <a:cubicBezTo>
                                                                      <a:pt x="24769" y="347120"/>
                                                                      <a:pt x="29116" y="339000"/>
                                                                      <a:pt x="22439" y="359029"/>
                                                                    </a:cubicBezTo>
                                                                    <a:lnTo>
                                                                      <a:pt x="19634" y="367443"/>
                                                                    </a:lnTo>
                                                                    <a:cubicBezTo>
                                                                      <a:pt x="18557" y="373906"/>
                                                                      <a:pt x="17477" y="385783"/>
                                                                      <a:pt x="14024" y="392688"/>
                                                                    </a:cubicBezTo>
                                                                    <a:cubicBezTo>
                                                                      <a:pt x="12516" y="395703"/>
                                                                      <a:pt x="11046" y="398996"/>
                                                                      <a:pt x="8414" y="401102"/>
                                                                    </a:cubicBezTo>
                                                                    <a:cubicBezTo>
                                                                      <a:pt x="6105" y="402949"/>
                                                                      <a:pt x="2805" y="402972"/>
                                                                      <a:pt x="0" y="403907"/>
                                                                    </a:cubicBezTo>
                                                                    <a:cubicBezTo>
                                                                      <a:pt x="935" y="409517"/>
                                                                      <a:pt x="1426" y="415219"/>
                                                                      <a:pt x="2805" y="420737"/>
                                                                    </a:cubicBezTo>
                                                                    <a:cubicBezTo>
                                                                      <a:pt x="4239" y="426474"/>
                                                                      <a:pt x="7254" y="431768"/>
                                                                      <a:pt x="8414" y="437566"/>
                                                                    </a:cubicBezTo>
                                                                    <a:cubicBezTo>
                                                                      <a:pt x="11880" y="454896"/>
                                                                      <a:pt x="8574" y="447624"/>
                                                                      <a:pt x="16829" y="460005"/>
                                                                    </a:cubicBezTo>
                                                                    <a:cubicBezTo>
                                                                      <a:pt x="18699" y="465615"/>
                                                                      <a:pt x="18257" y="472654"/>
                                                                      <a:pt x="22439" y="476835"/>
                                                                    </a:cubicBezTo>
                                                                    <a:cubicBezTo>
                                                                      <a:pt x="25244" y="479640"/>
                                                                      <a:pt x="27554" y="483049"/>
                                                                      <a:pt x="30854" y="485249"/>
                                                                    </a:cubicBezTo>
                                                                    <a:cubicBezTo>
                                                                      <a:pt x="33314" y="486889"/>
                                                                      <a:pt x="36624" y="486732"/>
                                                                      <a:pt x="39268" y="488054"/>
                                                                    </a:cubicBezTo>
                                                                    <a:cubicBezTo>
                                                                      <a:pt x="42283" y="489562"/>
                                                                      <a:pt x="44878" y="491794"/>
                                                                      <a:pt x="47683" y="493664"/>
                                                                    </a:cubicBezTo>
                                                                    <a:cubicBezTo>
                                                                      <a:pt x="49553" y="496469"/>
                                                                      <a:pt x="51785" y="499064"/>
                                                                      <a:pt x="53293" y="502079"/>
                                                                    </a:cubicBezTo>
                                                                    <a:cubicBezTo>
                                                                      <a:pt x="56681" y="508855"/>
                                                                      <a:pt x="55008" y="513548"/>
                                                                      <a:pt x="61708" y="518908"/>
                                                                    </a:cubicBezTo>
                                                                    <a:cubicBezTo>
                                                                      <a:pt x="64017" y="520755"/>
                                                                      <a:pt x="67192" y="521322"/>
                                                                      <a:pt x="70122" y="521713"/>
                                                                    </a:cubicBezTo>
                                                                    <a:cubicBezTo>
                                                                      <a:pt x="81282" y="523201"/>
                                                                      <a:pt x="92561" y="523583"/>
                                                                      <a:pt x="103781" y="524518"/>
                                                                    </a:cubicBezTo>
                                                                    <a:cubicBezTo>
                                                                      <a:pt x="107521" y="523583"/>
                                                                      <a:pt x="111146" y="521713"/>
                                                                      <a:pt x="115001" y="521713"/>
                                                                    </a:cubicBezTo>
                                                                    <a:cubicBezTo>
                                                                      <a:pt x="118856" y="521713"/>
                                                                      <a:pt x="122514" y="523459"/>
                                                                      <a:pt x="126220" y="524518"/>
                                                                    </a:cubicBezTo>
                                                                    <a:cubicBezTo>
                                                                      <a:pt x="136382" y="527422"/>
                                                                      <a:pt x="133830" y="526786"/>
                                                                      <a:pt x="143050" y="532933"/>
                                                                    </a:cubicBezTo>
                                                                    <a:cubicBezTo>
                                                                      <a:pt x="143625" y="534659"/>
                                                                      <a:pt x="149954" y="548036"/>
                                                                      <a:pt x="143050" y="549762"/>
                                                                    </a:cubicBezTo>
                                                                    <a:cubicBezTo>
                                                                      <a:pt x="136636" y="551365"/>
                                                                      <a:pt x="129961" y="547892"/>
                                                                      <a:pt x="123416" y="546957"/>
                                                                    </a:cubicBezTo>
                                                                    <a:cubicBezTo>
                                                                      <a:pt x="116817" y="544758"/>
                                                                      <a:pt x="113185" y="541678"/>
                                                                      <a:pt x="106586" y="546957"/>
                                                                    </a:cubicBezTo>
                                                                    <a:cubicBezTo>
                                                                      <a:pt x="103953" y="549063"/>
                                                                      <a:pt x="103513" y="553152"/>
                                                                      <a:pt x="100976" y="555372"/>
                                                                    </a:cubicBezTo>
                                                                    <a:cubicBezTo>
                                                                      <a:pt x="95902" y="559812"/>
                                                                      <a:pt x="84147" y="566592"/>
                                                                      <a:pt x="84147" y="566592"/>
                                                                    </a:cubicBezTo>
                                                                    <a:cubicBezTo>
                                                                      <a:pt x="82277" y="569397"/>
                                                                      <a:pt x="79865" y="571908"/>
                                                                      <a:pt x="78537" y="575007"/>
                                                                    </a:cubicBezTo>
                                                                    <a:cubicBezTo>
                                                                      <a:pt x="77018" y="578550"/>
                                                                      <a:pt x="77870" y="583019"/>
                                                                      <a:pt x="75732" y="586226"/>
                                                                    </a:cubicBezTo>
                                                                    <a:cubicBezTo>
                                                                      <a:pt x="73862" y="589031"/>
                                                                      <a:pt x="70122" y="589966"/>
                                                                      <a:pt x="67317" y="591836"/>
                                                                    </a:cubicBezTo>
                                                                    <a:cubicBezTo>
                                                                      <a:pt x="69530" y="598476"/>
                                                                      <a:pt x="70608" y="610985"/>
                                                                      <a:pt x="84147" y="597446"/>
                                                                    </a:cubicBezTo>
                                                                    <a:cubicBezTo>
                                                                      <a:pt x="102992" y="578601"/>
                                                                      <a:pt x="79540" y="584862"/>
                                                                      <a:pt x="95366" y="572202"/>
                                                                    </a:cubicBezTo>
                                                                    <a:cubicBezTo>
                                                                      <a:pt x="97675" y="570355"/>
                                                                      <a:pt x="100976" y="570332"/>
                                                                      <a:pt x="103781" y="569397"/>
                                                                    </a:cubicBezTo>
                                                                    <a:cubicBezTo>
                                                                      <a:pt x="106586" y="570332"/>
                                                                      <a:pt x="110105" y="570111"/>
                                                                      <a:pt x="112196" y="572202"/>
                                                                    </a:cubicBezTo>
                                                                    <a:cubicBezTo>
                                                                      <a:pt x="114287" y="574292"/>
                                                                      <a:pt x="114360" y="577730"/>
                                                                      <a:pt x="115001" y="580616"/>
                                                                    </a:cubicBezTo>
                                                                    <a:cubicBezTo>
                                                                      <a:pt x="116235" y="586168"/>
                                                                      <a:pt x="114984" y="592508"/>
                                                                      <a:pt x="117806" y="597446"/>
                                                                    </a:cubicBezTo>
                                                                    <a:cubicBezTo>
                                                                      <a:pt x="119273" y="600013"/>
                                                                      <a:pt x="123415" y="599316"/>
                                                                      <a:pt x="126220" y="600251"/>
                                                                    </a:cubicBezTo>
                                                                    <a:cubicBezTo>
                                                                      <a:pt x="128090" y="603056"/>
                                                                      <a:pt x="129198" y="606559"/>
                                                                      <a:pt x="131830" y="608665"/>
                                                                    </a:cubicBezTo>
                                                                    <a:cubicBezTo>
                                                                      <a:pt x="134139" y="610512"/>
                                                                      <a:pt x="139375" y="608644"/>
                                                                      <a:pt x="140245" y="611470"/>
                                                                    </a:cubicBezTo>
                                                                    <a:cubicBezTo>
                                                                      <a:pt x="153779" y="655455"/>
                                                                      <a:pt x="130553" y="636798"/>
                                                                      <a:pt x="151465" y="650739"/>
                                                                    </a:cubicBezTo>
                                                                    <a:cubicBezTo>
                                                                      <a:pt x="154270" y="649804"/>
                                                                      <a:pt x="157419" y="649574"/>
                                                                      <a:pt x="159879" y="647934"/>
                                                                    </a:cubicBezTo>
                                                                    <a:cubicBezTo>
                                                                      <a:pt x="163180" y="645733"/>
                                                                      <a:pt x="164446" y="640481"/>
                                                                      <a:pt x="168294" y="639519"/>
                                                                    </a:cubicBezTo>
                                                                    <a:cubicBezTo>
                                                                      <a:pt x="172919" y="638363"/>
                                                                      <a:pt x="177644" y="641389"/>
                                                                      <a:pt x="182319" y="642324"/>
                                                                    </a:cubicBezTo>
                                                                    <a:cubicBezTo>
                                                                      <a:pt x="185124" y="644194"/>
                                                                      <a:pt x="187396" y="647457"/>
                                                                      <a:pt x="190733" y="647934"/>
                                                                    </a:cubicBezTo>
                                                                    <a:cubicBezTo>
                                                                      <a:pt x="198191" y="649000"/>
                                                                      <a:pt x="204895" y="643168"/>
                                                                      <a:pt x="210368" y="639519"/>
                                                                    </a:cubicBezTo>
                                                                    <a:cubicBezTo>
                                                                      <a:pt x="212238" y="636714"/>
                                                                      <a:pt x="212721" y="631974"/>
                                                                      <a:pt x="215978" y="631105"/>
                                                                    </a:cubicBezTo>
                                                                    <a:cubicBezTo>
                                                                      <a:pt x="237927" y="625252"/>
                                                                      <a:pt x="261320" y="629107"/>
                                                                      <a:pt x="283295" y="631105"/>
                                                                    </a:cubicBezTo>
                                                                    <a:cubicBezTo>
                                                                      <a:pt x="287035" y="632040"/>
                                                                      <a:pt x="290808" y="632851"/>
                                                                      <a:pt x="294515" y="633910"/>
                                                                    </a:cubicBezTo>
                                                                    <a:cubicBezTo>
                                                                      <a:pt x="297358" y="634722"/>
                                                                      <a:pt x="299973" y="636715"/>
                                                                      <a:pt x="302930" y="636715"/>
                                                                    </a:cubicBezTo>
                                                                    <a:cubicBezTo>
                                                                      <a:pt x="306785" y="636715"/>
                                                                      <a:pt x="310457" y="635018"/>
                                                                      <a:pt x="314149" y="633910"/>
                                                                    </a:cubicBezTo>
                                                                    <a:cubicBezTo>
                                                                      <a:pt x="319813" y="632211"/>
                                                                      <a:pt x="330979" y="628300"/>
                                                                      <a:pt x="330979" y="628300"/>
                                                                    </a:cubicBezTo>
                                                                    <a:cubicBezTo>
                                                                      <a:pt x="336589" y="629235"/>
                                                                      <a:pt x="342413" y="629307"/>
                                                                      <a:pt x="347808" y="631105"/>
                                                                    </a:cubicBezTo>
                                                                    <a:cubicBezTo>
                                                                      <a:pt x="350552" y="632020"/>
                                                                      <a:pt x="366783" y="644799"/>
                                                                      <a:pt x="367443" y="645129"/>
                                                                    </a:cubicBezTo>
                                                                    <a:cubicBezTo>
                                                                      <a:pt x="379481" y="651148"/>
                                                                      <a:pt x="385983" y="650465"/>
                                                                      <a:pt x="398297" y="653544"/>
                                                                    </a:cubicBezTo>
                                                                    <a:cubicBezTo>
                                                                      <a:pt x="401165" y="654261"/>
                                                                      <a:pt x="403843" y="655632"/>
                                                                      <a:pt x="406711" y="656349"/>
                                                                    </a:cubicBezTo>
                                                                    <a:lnTo>
                                                                      <a:pt x="429151" y="661959"/>
                                                                    </a:lnTo>
                                                                    <a:cubicBezTo>
                                                                      <a:pt x="431099" y="663907"/>
                                                                      <a:pt x="442690" y="672989"/>
                                                                      <a:pt x="440370" y="678788"/>
                                                                    </a:cubicBezTo>
                                                                    <a:cubicBezTo>
                                                                      <a:pt x="439118" y="681918"/>
                                                                      <a:pt x="435036" y="683029"/>
                                                                      <a:pt x="431955" y="684398"/>
                                                                    </a:cubicBezTo>
                                                                    <a:cubicBezTo>
                                                                      <a:pt x="426552" y="686800"/>
                                                                      <a:pt x="415126" y="690008"/>
                                                                      <a:pt x="415126" y="690008"/>
                                                                    </a:cubicBezTo>
                                                                    <a:cubicBezTo>
                                                                      <a:pt x="413256" y="692813"/>
                                                                      <a:pt x="411900" y="696038"/>
                                                                      <a:pt x="409516" y="698422"/>
                                                                    </a:cubicBezTo>
                                                                    <a:cubicBezTo>
                                                                      <a:pt x="404078" y="703859"/>
                                                                      <a:pt x="399531" y="704555"/>
                                                                      <a:pt x="392687" y="706837"/>
                                                                    </a:cubicBezTo>
                                                                    <a:cubicBezTo>
                                                                      <a:pt x="389882" y="705902"/>
                                                                      <a:pt x="386857" y="705468"/>
                                                                      <a:pt x="384272" y="704032"/>
                                                                    </a:cubicBezTo>
                                                                    <a:cubicBezTo>
                                                                      <a:pt x="378378" y="700758"/>
                                                                      <a:pt x="374168" y="693293"/>
                                                                      <a:pt x="367443" y="692813"/>
                                                                    </a:cubicBezTo>
                                                                    <a:lnTo>
                                                                      <a:pt x="328174" y="690008"/>
                                                                    </a:lnTo>
                                                                    <a:lnTo>
                                                                      <a:pt x="302930" y="681593"/>
                                                                    </a:lnTo>
                                                                    <a:cubicBezTo>
                                                                      <a:pt x="300125" y="680658"/>
                                                                      <a:pt x="297383" y="679505"/>
                                                                      <a:pt x="294515" y="678788"/>
                                                                    </a:cubicBezTo>
                                                                    <a:cubicBezTo>
                                                                      <a:pt x="290917" y="677889"/>
                                                                      <a:pt x="278907" y="675191"/>
                                                                      <a:pt x="274881" y="673178"/>
                                                                    </a:cubicBezTo>
                                                                    <a:cubicBezTo>
                                                                      <a:pt x="271866" y="671671"/>
                                                                      <a:pt x="269271" y="669439"/>
                                                                      <a:pt x="266466" y="667569"/>
                                                                    </a:cubicBezTo>
                                                                    <a:cubicBezTo>
                                                                      <a:pt x="258465" y="668458"/>
                                                                      <a:pt x="242206" y="668479"/>
                                                                      <a:pt x="232807" y="673178"/>
                                                                    </a:cubicBezTo>
                                                                    <a:cubicBezTo>
                                                                      <a:pt x="229792" y="674686"/>
                                                                      <a:pt x="227644" y="677901"/>
                                                                      <a:pt x="224392" y="678788"/>
                                                                    </a:cubicBezTo>
                                                                    <a:cubicBezTo>
                                                                      <a:pt x="217120" y="680771"/>
                                                                      <a:pt x="209388" y="680354"/>
                                                                      <a:pt x="201953" y="681593"/>
                                                                    </a:cubicBezTo>
                                                                    <a:cubicBezTo>
                                                                      <a:pt x="198150" y="682227"/>
                                                                      <a:pt x="194473" y="683463"/>
                                                                      <a:pt x="190733" y="684398"/>
                                                                    </a:cubicBezTo>
                                                                    <a:cubicBezTo>
                                                                      <a:pt x="188863" y="687203"/>
                                                                      <a:pt x="186631" y="689798"/>
                                                                      <a:pt x="185124" y="692813"/>
                                                                    </a:cubicBezTo>
                                                                    <a:cubicBezTo>
                                                                      <a:pt x="183802" y="695457"/>
                                                                      <a:pt x="183755" y="698643"/>
                                                                      <a:pt x="182319" y="701227"/>
                                                                    </a:cubicBezTo>
                                                                    <a:cubicBezTo>
                                                                      <a:pt x="179041" y="707127"/>
                                                                      <a:pt x="169899" y="721662"/>
                                                                      <a:pt x="162684" y="726472"/>
                                                                    </a:cubicBezTo>
                                                                    <a:cubicBezTo>
                                                                      <a:pt x="160224" y="728112"/>
                                                                      <a:pt x="157075" y="728341"/>
                                                                      <a:pt x="154270" y="729276"/>
                                                                    </a:cubicBezTo>
                                                                    <a:cubicBezTo>
                                                                      <a:pt x="151465" y="731146"/>
                                                                      <a:pt x="147961" y="732254"/>
                                                                      <a:pt x="145855" y="734886"/>
                                                                    </a:cubicBezTo>
                                                                    <a:cubicBezTo>
                                                                      <a:pt x="144008" y="737195"/>
                                                                      <a:pt x="141332" y="740895"/>
                                                                      <a:pt x="143050" y="743301"/>
                                                                    </a:cubicBezTo>
                                                                    <a:cubicBezTo>
                                                                      <a:pt x="151137" y="754624"/>
                                                                      <a:pt x="162254" y="754996"/>
                                                                      <a:pt x="173904" y="757326"/>
                                                                    </a:cubicBezTo>
                                                                    <a:cubicBezTo>
                                                                      <a:pt x="176709" y="759196"/>
                                                                      <a:pt x="179935" y="760551"/>
                                                                      <a:pt x="182319" y="762935"/>
                                                                    </a:cubicBezTo>
                                                                    <a:cubicBezTo>
                                                                      <a:pt x="184703" y="765319"/>
                                                                      <a:pt x="185069" y="769563"/>
                                                                      <a:pt x="187928" y="771350"/>
                                                                    </a:cubicBezTo>
                                                                    <a:cubicBezTo>
                                                                      <a:pt x="192943" y="774484"/>
                                                                      <a:pt x="199838" y="773680"/>
                                                                      <a:pt x="204758" y="776960"/>
                                                                    </a:cubicBezTo>
                                                                    <a:lnTo>
                                                                      <a:pt x="213173" y="782570"/>
                                                                    </a:lnTo>
                                                                    <a:cubicBezTo>
                                                                      <a:pt x="215043" y="786310"/>
                                                                      <a:pt x="217962" y="789689"/>
                                                                      <a:pt x="218782" y="793789"/>
                                                                    </a:cubicBezTo>
                                                                    <a:cubicBezTo>
                                                                      <a:pt x="227223" y="835996"/>
                                                                      <a:pt x="214118" y="813440"/>
                                                                      <a:pt x="227197" y="833058"/>
                                                                    </a:cubicBezTo>
                                                                    <a:cubicBezTo>
                                                                      <a:pt x="226262" y="837733"/>
                                                                      <a:pt x="225548" y="842458"/>
                                                                      <a:pt x="224392" y="847083"/>
                                                                    </a:cubicBezTo>
                                                                    <a:cubicBezTo>
                                                                      <a:pt x="223675" y="849951"/>
                                                                      <a:pt x="221798" y="852548"/>
                                                                      <a:pt x="221587" y="855497"/>
                                                                    </a:cubicBezTo>
                                                                    <a:cubicBezTo>
                                                                      <a:pt x="220854" y="865756"/>
                                                                      <a:pt x="221587" y="876066"/>
                                                                      <a:pt x="221587" y="886351"/>
                                                                    </a:cubicBezTo>
                                                                    <a:lnTo>
                                                                      <a:pt x="258051" y="931230"/>
                                                                    </a:lnTo>
                                                                    <a:cubicBezTo>
                                                                      <a:pt x="260856" y="923750"/>
                                                                      <a:pt x="263160" y="916063"/>
                                                                      <a:pt x="266466" y="908791"/>
                                                                    </a:cubicBezTo>
                                                                    <a:cubicBezTo>
                                                                      <a:pt x="267861" y="905722"/>
                                                                      <a:pt x="269217" y="902163"/>
                                                                      <a:pt x="272076" y="900376"/>
                                                                    </a:cubicBezTo>
                                                                    <a:cubicBezTo>
                                                                      <a:pt x="277090" y="897242"/>
                                                                      <a:pt x="283295" y="896636"/>
                                                                      <a:pt x="288905" y="894766"/>
                                                                    </a:cubicBezTo>
                                                                    <a:lnTo>
                                                                      <a:pt x="297320" y="891961"/>
                                                                    </a:lnTo>
                                                                    <a:cubicBezTo>
                                                                      <a:pt x="298255" y="900376"/>
                                                                      <a:pt x="296339" y="909632"/>
                                                                      <a:pt x="300125" y="917205"/>
                                                                    </a:cubicBezTo>
                                                                    <a:cubicBezTo>
                                                                      <a:pt x="301849" y="920653"/>
                                                                      <a:pt x="307652" y="918902"/>
                                                                      <a:pt x="311344" y="920010"/>
                                                                    </a:cubicBezTo>
                                                                    <a:cubicBezTo>
                                                                      <a:pt x="317008" y="921709"/>
                                                                      <a:pt x="328174" y="925620"/>
                                                                      <a:pt x="328174" y="925620"/>
                                                                    </a:cubicBezTo>
                                                                    <a:cubicBezTo>
                                                                      <a:pt x="330044" y="928425"/>
                                                                      <a:pt x="332415" y="930954"/>
                                                                      <a:pt x="333784" y="934035"/>
                                                                    </a:cubicBezTo>
                                                                    <a:cubicBezTo>
                                                                      <a:pt x="336185" y="939438"/>
                                                                      <a:pt x="339393" y="950864"/>
                                                                      <a:pt x="339393" y="950864"/>
                                                                    </a:cubicBezTo>
                                                                    <a:cubicBezTo>
                                                                      <a:pt x="336933" y="960709"/>
                                                                      <a:pt x="333414" y="968450"/>
                                                                      <a:pt x="339393" y="978913"/>
                                                                    </a:cubicBezTo>
                                                                    <a:cubicBezTo>
                                                                      <a:pt x="340860" y="981480"/>
                                                                      <a:pt x="345003" y="980783"/>
                                                                      <a:pt x="347808" y="981718"/>
                                                                    </a:cubicBezTo>
                                                                    <a:cubicBezTo>
                                                                      <a:pt x="351266" y="950596"/>
                                                                      <a:pt x="347935" y="964507"/>
                                                                      <a:pt x="356223" y="939645"/>
                                                                    </a:cubicBezTo>
                                                                    <a:cubicBezTo>
                                                                      <a:pt x="357158" y="936840"/>
                                                                      <a:pt x="356568" y="932870"/>
                                                                      <a:pt x="359028" y="931230"/>
                                                                    </a:cubicBezTo>
                                                                    <a:cubicBezTo>
                                                                      <a:pt x="369903" y="923980"/>
                                                                      <a:pt x="364245" y="926686"/>
                                                                      <a:pt x="375857" y="922815"/>
                                                                    </a:cubicBezTo>
                                                                    <a:cubicBezTo>
                                                                      <a:pt x="378662" y="923750"/>
                                                                      <a:pt x="382181" y="923529"/>
                                                                      <a:pt x="384272" y="925620"/>
                                                                    </a:cubicBezTo>
                                                                    <a:cubicBezTo>
                                                                      <a:pt x="386363" y="927711"/>
                                                                      <a:pt x="385755" y="931390"/>
                                                                      <a:pt x="387077" y="934035"/>
                                                                    </a:cubicBezTo>
                                                                    <a:cubicBezTo>
                                                                      <a:pt x="388585" y="937050"/>
                                                                      <a:pt x="390150" y="940229"/>
                                                                      <a:pt x="392687" y="942449"/>
                                                                    </a:cubicBezTo>
                                                                    <a:cubicBezTo>
                                                                      <a:pt x="397761" y="946889"/>
                                                                      <a:pt x="403120" y="951537"/>
                                                                      <a:pt x="409516" y="953669"/>
                                                                    </a:cubicBezTo>
                                                                    <a:lnTo>
                                                                      <a:pt x="426346" y="959279"/>
                                                                    </a:lnTo>
                                                                    <a:cubicBezTo>
                                                                      <a:pt x="429151" y="961149"/>
                                                                      <a:pt x="432376" y="962505"/>
                                                                      <a:pt x="434760" y="964889"/>
                                                                    </a:cubicBezTo>
                                                                    <a:cubicBezTo>
                                                                      <a:pt x="437144" y="967273"/>
                                                                      <a:pt x="437738" y="971197"/>
                                                                      <a:pt x="440370" y="973303"/>
                                                                    </a:cubicBezTo>
                                                                    <a:cubicBezTo>
                                                                      <a:pt x="442679" y="975150"/>
                                                                      <a:pt x="445980" y="975173"/>
                                                                      <a:pt x="448785" y="976108"/>
                                                                    </a:cubicBezTo>
                                                                    <a:cubicBezTo>
                                                                      <a:pt x="447850" y="973303"/>
                                                                      <a:pt x="447827" y="970003"/>
                                                                      <a:pt x="445980" y="967694"/>
                                                                    </a:cubicBezTo>
                                                                    <a:cubicBezTo>
                                                                      <a:pt x="443874" y="965062"/>
                                                                      <a:pt x="439949" y="964468"/>
                                                                      <a:pt x="437565" y="962084"/>
                                                                    </a:cubicBezTo>
                                                                    <a:cubicBezTo>
                                                                      <a:pt x="435181" y="959700"/>
                                                                      <a:pt x="433825" y="956474"/>
                                                                      <a:pt x="431955" y="953669"/>
                                                                    </a:cubicBezTo>
                                                                    <a:cubicBezTo>
                                                                      <a:pt x="431020" y="935905"/>
                                                                      <a:pt x="430761" y="918092"/>
                                                                      <a:pt x="429151" y="900376"/>
                                                                    </a:cubicBezTo>
                                                                    <a:cubicBezTo>
                                                                      <a:pt x="428883" y="897431"/>
                                                                      <a:pt x="428193" y="894270"/>
                                                                      <a:pt x="426346" y="891961"/>
                                                                    </a:cubicBezTo>
                                                                    <a:cubicBezTo>
                                                                      <a:pt x="424240" y="889329"/>
                                                                      <a:pt x="420736" y="888221"/>
                                                                      <a:pt x="417931" y="886351"/>
                                                                    </a:cubicBezTo>
                                                                    <a:lnTo>
                                                                      <a:pt x="409516" y="861107"/>
                                                                    </a:lnTo>
                                                                    <a:cubicBezTo>
                                                                      <a:pt x="408581" y="858302"/>
                                                                      <a:pt x="408351" y="855152"/>
                                                                      <a:pt x="406711" y="852692"/>
                                                                    </a:cubicBezTo>
                                                                    <a:lnTo>
                                                                      <a:pt x="401101" y="844278"/>
                                                                    </a:lnTo>
                                                                    <a:cubicBezTo>
                                                                      <a:pt x="400166" y="841473"/>
                                                                      <a:pt x="399733" y="838448"/>
                                                                      <a:pt x="398297" y="835863"/>
                                                                    </a:cubicBezTo>
                                                                    <a:cubicBezTo>
                                                                      <a:pt x="395023" y="829969"/>
                                                                      <a:pt x="387077" y="819034"/>
                                                                      <a:pt x="387077" y="819034"/>
                                                                    </a:cubicBezTo>
                                                                    <a:cubicBezTo>
                                                                      <a:pt x="383861" y="809385"/>
                                                                      <a:pt x="377678" y="800875"/>
                                                                      <a:pt x="384272" y="790984"/>
                                                                    </a:cubicBezTo>
                                                                    <a:cubicBezTo>
                                                                      <a:pt x="386142" y="788179"/>
                                                                      <a:pt x="389882" y="787245"/>
                                                                      <a:pt x="392687" y="785375"/>
                                                                    </a:cubicBezTo>
                                                                    <a:cubicBezTo>
                                                                      <a:pt x="397245" y="786135"/>
                                                                      <a:pt x="412016" y="787698"/>
                                                                      <a:pt x="417931" y="790984"/>
                                                                    </a:cubicBezTo>
                                                                    <a:cubicBezTo>
                                                                      <a:pt x="423825" y="794258"/>
                                                                      <a:pt x="434760" y="802204"/>
                                                                      <a:pt x="434760" y="802204"/>
                                                                    </a:cubicBezTo>
                                                                    <a:cubicBezTo>
                                                                      <a:pt x="435695" y="806879"/>
                                                                      <a:pt x="434920" y="812262"/>
                                                                      <a:pt x="437565" y="816229"/>
                                                                    </a:cubicBezTo>
                                                                    <a:cubicBezTo>
                                                                      <a:pt x="439205" y="818689"/>
                                                                      <a:pt x="443175" y="819969"/>
                                                                      <a:pt x="445980" y="819034"/>
                                                                    </a:cubicBezTo>
                                                                    <a:cubicBezTo>
                                                                      <a:pt x="452376" y="816902"/>
                                                                      <a:pt x="456413" y="809946"/>
                                                                      <a:pt x="462809" y="807814"/>
                                                                    </a:cubicBezTo>
                                                                    <a:cubicBezTo>
                                                                      <a:pt x="474881" y="803790"/>
                                                                      <a:pt x="468356" y="805726"/>
                                                                      <a:pt x="482444" y="802204"/>
                                                                    </a:cubicBezTo>
                                                                    <a:cubicBezTo>
                                                                      <a:pt x="483379" y="799399"/>
                                                                      <a:pt x="485249" y="796746"/>
                                                                      <a:pt x="485249" y="793789"/>
                                                                    </a:cubicBezTo>
                                                                    <a:cubicBezTo>
                                                                      <a:pt x="485249" y="789934"/>
                                                                      <a:pt x="484582" y="785777"/>
                                                                      <a:pt x="482444" y="782570"/>
                                                                    </a:cubicBezTo>
                                                                    <a:cubicBezTo>
                                                                      <a:pt x="478634" y="776855"/>
                                                                      <a:pt x="460520" y="772457"/>
                                                                      <a:pt x="457200" y="771350"/>
                                                                    </a:cubicBezTo>
                                                                    <a:lnTo>
                                                                      <a:pt x="448785" y="768545"/>
                                                                    </a:lnTo>
                                                                    <a:lnTo>
                                                                      <a:pt x="440370" y="765740"/>
                                                                    </a:lnTo>
                                                                    <a:cubicBezTo>
                                                                      <a:pt x="438500" y="762935"/>
                                                                      <a:pt x="436088" y="760424"/>
                                                                      <a:pt x="434760" y="757326"/>
                                                                    </a:cubicBezTo>
                                                                    <a:cubicBezTo>
                                                                      <a:pt x="433241" y="753783"/>
                                                                      <a:pt x="434093" y="749314"/>
                                                                      <a:pt x="431955" y="746106"/>
                                                                    </a:cubicBezTo>
                                                                    <a:cubicBezTo>
                                                                      <a:pt x="430085" y="743301"/>
                                                                      <a:pt x="426346" y="742366"/>
                                                                      <a:pt x="423541" y="740496"/>
                                                                    </a:cubicBezTo>
                                                                    <a:cubicBezTo>
                                                                      <a:pt x="421671" y="737691"/>
                                                                      <a:pt x="418408" y="735418"/>
                                                                      <a:pt x="417931" y="732081"/>
                                                                    </a:cubicBezTo>
                                                                    <a:cubicBezTo>
                                                                      <a:pt x="417386" y="728265"/>
                                                                      <a:pt x="418198" y="723763"/>
                                                                      <a:pt x="420736" y="720862"/>
                                                                    </a:cubicBezTo>
                                                                    <a:cubicBezTo>
                                                                      <a:pt x="425176" y="715788"/>
                                                                      <a:pt x="431955" y="713382"/>
                                                                      <a:pt x="437565" y="709642"/>
                                                                    </a:cubicBezTo>
                                                                    <a:cubicBezTo>
                                                                      <a:pt x="461673" y="693570"/>
                                                                      <a:pt x="431176" y="712836"/>
                                                                      <a:pt x="454395" y="701227"/>
                                                                    </a:cubicBezTo>
                                                                    <a:cubicBezTo>
                                                                      <a:pt x="476145" y="690353"/>
                                                                      <a:pt x="450072" y="699864"/>
                                                                      <a:pt x="471224" y="692813"/>
                                                                    </a:cubicBezTo>
                                                                    <a:cubicBezTo>
                                                                      <a:pt x="472159" y="690008"/>
                                                                      <a:pt x="471938" y="686489"/>
                                                                      <a:pt x="474029" y="684398"/>
                                                                    </a:cubicBezTo>
                                                                    <a:cubicBezTo>
                                                                      <a:pt x="479639" y="678788"/>
                                                                      <a:pt x="485249" y="682528"/>
                                                                      <a:pt x="490859" y="684398"/>
                                                                    </a:cubicBezTo>
                                                                    <a:cubicBezTo>
                                                                      <a:pt x="498121" y="691661"/>
                                                                      <a:pt x="506034" y="700675"/>
                                                                      <a:pt x="516103" y="704032"/>
                                                                    </a:cubicBezTo>
                                                                    <a:cubicBezTo>
                                                                      <a:pt x="518908" y="704967"/>
                                                                      <a:pt x="521873" y="705515"/>
                                                                      <a:pt x="524517" y="706837"/>
                                                                    </a:cubicBezTo>
                                                                    <a:cubicBezTo>
                                                                      <a:pt x="534964" y="712061"/>
                                                                      <a:pt x="532041" y="713107"/>
                                                                      <a:pt x="541347" y="720862"/>
                                                                    </a:cubicBezTo>
                                                                    <a:cubicBezTo>
                                                                      <a:pt x="543937" y="723020"/>
                                                                      <a:pt x="546957" y="724602"/>
                                                                      <a:pt x="549762" y="726472"/>
                                                                    </a:cubicBezTo>
                                                                    <a:cubicBezTo>
                                                                      <a:pt x="565836" y="750584"/>
                                                                      <a:pt x="544432" y="722208"/>
                                                                      <a:pt x="563786" y="737691"/>
                                                                    </a:cubicBezTo>
                                                                    <a:cubicBezTo>
                                                                      <a:pt x="566418" y="739797"/>
                                                                      <a:pt x="569396" y="749477"/>
                                                                      <a:pt x="569396" y="746106"/>
                                                                    </a:cubicBezTo>
                                                                    <a:cubicBezTo>
                                                                      <a:pt x="569396" y="746103"/>
                                                                      <a:pt x="562384" y="725071"/>
                                                                      <a:pt x="560981" y="720862"/>
                                                                    </a:cubicBezTo>
                                                                    <a:lnTo>
                                                                      <a:pt x="558176" y="712447"/>
                                                                    </a:lnTo>
                                                                    <a:lnTo>
                                                                      <a:pt x="555371" y="704032"/>
                                                                    </a:lnTo>
                                                                    <a:cubicBezTo>
                                                                      <a:pt x="564143" y="668947"/>
                                                                      <a:pt x="552930" y="712576"/>
                                                                      <a:pt x="560981" y="684398"/>
                                                                    </a:cubicBezTo>
                                                                    <a:cubicBezTo>
                                                                      <a:pt x="562040" y="680691"/>
                                                                      <a:pt x="562851" y="676918"/>
                                                                      <a:pt x="563786" y="673178"/>
                                                                    </a:cubicBezTo>
                                                                    <a:cubicBezTo>
                                                                      <a:pt x="562851" y="666633"/>
                                                                      <a:pt x="564485" y="659150"/>
                                                                      <a:pt x="560981" y="653544"/>
                                                                    </a:cubicBezTo>
                                                                    <a:cubicBezTo>
                                                                      <a:pt x="558938" y="650275"/>
                                                                      <a:pt x="553454" y="651847"/>
                                                                      <a:pt x="549762" y="650739"/>
                                                                    </a:cubicBezTo>
                                                                    <a:cubicBezTo>
                                                                      <a:pt x="544098" y="649040"/>
                                                                      <a:pt x="538542" y="646999"/>
                                                                      <a:pt x="532932" y="645129"/>
                                                                    </a:cubicBezTo>
                                                                    <a:cubicBezTo>
                                                                      <a:pt x="530127" y="644194"/>
                                                                      <a:pt x="527433" y="642810"/>
                                                                      <a:pt x="524517" y="642324"/>
                                                                    </a:cubicBezTo>
                                                                    <a:lnTo>
                                                                      <a:pt x="507688" y="639519"/>
                                                                    </a:lnTo>
                                                                    <a:cubicBezTo>
                                                                      <a:pt x="502078" y="633909"/>
                                                                      <a:pt x="498385" y="625199"/>
                                                                      <a:pt x="490859" y="622690"/>
                                                                    </a:cubicBezTo>
                                                                    <a:cubicBezTo>
                                                                      <a:pt x="468634" y="615282"/>
                                                                      <a:pt x="479862" y="618052"/>
                                                                      <a:pt x="457200" y="614275"/>
                                                                    </a:cubicBezTo>
                                                                    <a:cubicBezTo>
                                                                      <a:pt x="455330" y="611470"/>
                                                                      <a:pt x="453098" y="608876"/>
                                                                      <a:pt x="451590" y="605861"/>
                                                                    </a:cubicBezTo>
                                                                    <a:cubicBezTo>
                                                                      <a:pt x="447778" y="598237"/>
                                                                      <a:pt x="451178" y="594538"/>
                                                                      <a:pt x="440370" y="591836"/>
                                                                    </a:cubicBezTo>
                                                                    <a:cubicBezTo>
                                                                      <a:pt x="432156" y="589783"/>
                                                                      <a:pt x="423541" y="589966"/>
                                                                      <a:pt x="415126" y="589031"/>
                                                                    </a:cubicBezTo>
                                                                    <a:cubicBezTo>
                                                                      <a:pt x="412321" y="587161"/>
                                                                      <a:pt x="409301" y="585579"/>
                                                                      <a:pt x="406711" y="583421"/>
                                                                    </a:cubicBezTo>
                                                                    <a:cubicBezTo>
                                                                      <a:pt x="403664" y="580882"/>
                                                                      <a:pt x="401597" y="577207"/>
                                                                      <a:pt x="398297" y="575007"/>
                                                                    </a:cubicBezTo>
                                                                    <a:cubicBezTo>
                                                                      <a:pt x="394450" y="572442"/>
                                                                      <a:pt x="378123" y="569964"/>
                                                                      <a:pt x="375857" y="569397"/>
                                                                    </a:cubicBezTo>
                                                                    <a:cubicBezTo>
                                                                      <a:pt x="349746" y="562869"/>
                                                                      <a:pt x="395920" y="570660"/>
                                                                      <a:pt x="347808" y="563787"/>
                                                                    </a:cubicBezTo>
                                                                    <a:cubicBezTo>
                                                                      <a:pt x="345003" y="561917"/>
                                                                      <a:pt x="340645" y="561307"/>
                                                                      <a:pt x="339393" y="558177"/>
                                                                    </a:cubicBezTo>
                                                                    <a:cubicBezTo>
                                                                      <a:pt x="338295" y="555432"/>
                                                                      <a:pt x="339792" y="551480"/>
                                                                      <a:pt x="342198" y="549762"/>
                                                                    </a:cubicBezTo>
                                                                    <a:cubicBezTo>
                                                                      <a:pt x="349897" y="544263"/>
                                                                      <a:pt x="370395" y="542529"/>
                                                                      <a:pt x="378662" y="541348"/>
                                                                    </a:cubicBezTo>
                                                                    <a:cubicBezTo>
                                                                      <a:pt x="381467" y="540413"/>
                                                                      <a:pt x="384986" y="540634"/>
                                                                      <a:pt x="387077" y="538543"/>
                                                                    </a:cubicBezTo>
                                                                    <a:cubicBezTo>
                                                                      <a:pt x="391845" y="533775"/>
                                                                      <a:pt x="398297" y="521713"/>
                                                                      <a:pt x="398297" y="521713"/>
                                                                    </a:cubicBezTo>
                                                                    <a:cubicBezTo>
                                                                      <a:pt x="395804" y="501767"/>
                                                                      <a:pt x="401438" y="500844"/>
                                                                      <a:pt x="387077" y="493664"/>
                                                                    </a:cubicBezTo>
                                                                    <a:cubicBezTo>
                                                                      <a:pt x="384432" y="492342"/>
                                                                      <a:pt x="381467" y="491794"/>
                                                                      <a:pt x="378662" y="490859"/>
                                                                    </a:cubicBezTo>
                                                                    <a:cubicBezTo>
                                                                      <a:pt x="377727" y="488054"/>
                                                                      <a:pt x="374139" y="484851"/>
                                                                      <a:pt x="375857" y="482445"/>
                                                                    </a:cubicBezTo>
                                                                    <a:cubicBezTo>
                                                                      <a:pt x="379776" y="476959"/>
                                                                      <a:pt x="387920" y="475993"/>
                                                                      <a:pt x="392687" y="471225"/>
                                                                    </a:cubicBezTo>
                                                                    <a:cubicBezTo>
                                                                      <a:pt x="395492" y="468420"/>
                                                                      <a:pt x="397801" y="465010"/>
                                                                      <a:pt x="401101" y="462810"/>
                                                                    </a:cubicBezTo>
                                                                    <a:cubicBezTo>
                                                                      <a:pt x="403561" y="461170"/>
                                                                      <a:pt x="406711" y="460940"/>
                                                                      <a:pt x="409516" y="460005"/>
                                                                    </a:cubicBezTo>
                                                                    <a:cubicBezTo>
                                                                      <a:pt x="412321" y="462810"/>
                                                                      <a:pt x="417153" y="464530"/>
                                                                      <a:pt x="417931" y="468420"/>
                                                                    </a:cubicBezTo>
                                                                    <a:cubicBezTo>
                                                                      <a:pt x="419228" y="474903"/>
                                                                      <a:pt x="415126" y="481443"/>
                                                                      <a:pt x="415126" y="488054"/>
                                                                    </a:cubicBezTo>
                                                                    <a:cubicBezTo>
                                                                      <a:pt x="415126" y="493741"/>
                                                                      <a:pt x="416996" y="499274"/>
                                                                      <a:pt x="417931" y="504884"/>
                                                                    </a:cubicBezTo>
                                                                    <a:cubicBezTo>
                                                                      <a:pt x="422606" y="503949"/>
                                                                      <a:pt x="428584" y="505450"/>
                                                                      <a:pt x="431955" y="502079"/>
                                                                    </a:cubicBezTo>
                                                                    <a:cubicBezTo>
                                                                      <a:pt x="436136" y="497897"/>
                                                                      <a:pt x="435695" y="490859"/>
                                                                      <a:pt x="437565" y="485249"/>
                                                                    </a:cubicBezTo>
                                                                    <a:lnTo>
                                                                      <a:pt x="440370" y="476835"/>
                                                                    </a:lnTo>
                                                                    <a:cubicBezTo>
                                                                      <a:pt x="438363" y="466799"/>
                                                                      <a:pt x="439178" y="461619"/>
                                                                      <a:pt x="431955" y="454396"/>
                                                                    </a:cubicBezTo>
                                                                    <a:cubicBezTo>
                                                                      <a:pt x="429571" y="452012"/>
                                                                      <a:pt x="426346" y="450656"/>
                                                                      <a:pt x="423541" y="448786"/>
                                                                    </a:cubicBezTo>
                                                                    <a:cubicBezTo>
                                                                      <a:pt x="421887" y="445479"/>
                                                                      <a:pt x="415845" y="432235"/>
                                                                      <a:pt x="412321" y="429151"/>
                                                                    </a:cubicBezTo>
                                                                    <a:cubicBezTo>
                                                                      <a:pt x="407247" y="424711"/>
                                                                      <a:pt x="395492" y="417932"/>
                                                                      <a:pt x="395492" y="417932"/>
                                                                    </a:cubicBezTo>
                                                                    <a:cubicBezTo>
                                                                      <a:pt x="394557" y="415127"/>
                                                                      <a:pt x="393499" y="412360"/>
                                                                      <a:pt x="392687" y="409517"/>
                                                                    </a:cubicBezTo>
                                                                    <a:cubicBezTo>
                                                                      <a:pt x="391628" y="405810"/>
                                                                      <a:pt x="391606" y="401745"/>
                                                                      <a:pt x="389882" y="398297"/>
                                                                    </a:cubicBezTo>
                                                                    <a:cubicBezTo>
                                                                      <a:pt x="386867" y="392267"/>
                                                                      <a:pt x="380794" y="387864"/>
                                                                      <a:pt x="378662" y="381468"/>
                                                                    </a:cubicBezTo>
                                                                    <a:lnTo>
                                                                      <a:pt x="373052" y="364638"/>
                                                                    </a:lnTo>
                                                                    <a:cubicBezTo>
                                                                      <a:pt x="370771" y="357797"/>
                                                                      <a:pt x="370073" y="353245"/>
                                                                      <a:pt x="364638" y="347809"/>
                                                                    </a:cubicBezTo>
                                                                    <a:cubicBezTo>
                                                                      <a:pt x="362254" y="345425"/>
                                                                      <a:pt x="359028" y="344069"/>
                                                                      <a:pt x="356223" y="342199"/>
                                                                    </a:cubicBezTo>
                                                                    <a:cubicBezTo>
                                                                      <a:pt x="354353" y="339394"/>
                                                                      <a:pt x="351982" y="336865"/>
                                                                      <a:pt x="350613" y="333784"/>
                                                                    </a:cubicBezTo>
                                                                    <a:cubicBezTo>
                                                                      <a:pt x="348211" y="328381"/>
                                                                      <a:pt x="345003" y="316955"/>
                                                                      <a:pt x="345003" y="316955"/>
                                                                    </a:cubicBezTo>
                                                                    <a:cubicBezTo>
                                                                      <a:pt x="346932" y="307312"/>
                                                                      <a:pt x="347971" y="300956"/>
                                                                      <a:pt x="350613" y="291711"/>
                                                                    </a:cubicBezTo>
                                                                    <a:cubicBezTo>
                                                                      <a:pt x="351425" y="288868"/>
                                                                      <a:pt x="352483" y="286101"/>
                                                                      <a:pt x="353418" y="283296"/>
                                                                    </a:cubicBezTo>
                                                                    <a:cubicBezTo>
                                                                      <a:pt x="351548" y="277686"/>
                                                                      <a:pt x="352728" y="269747"/>
                                                                      <a:pt x="347808" y="266467"/>
                                                                    </a:cubicBezTo>
                                                                    <a:cubicBezTo>
                                                                      <a:pt x="338615" y="260338"/>
                                                                      <a:pt x="339393" y="264228"/>
                                                                      <a:pt x="339393" y="258052"/>
                                                                    </a:cubicBezTo>
                                                                    <a:lnTo>
                                                                      <a:pt x="361833" y="241222"/>
                                                                    </a:lnTo>
                                                                    <a:cubicBezTo>
                                                                      <a:pt x="369313" y="236547"/>
                                                                      <a:pt x="375452" y="227198"/>
                                                                      <a:pt x="384272" y="227198"/>
                                                                    </a:cubicBezTo>
                                                                    <a:cubicBezTo>
                                                                      <a:pt x="389039" y="227198"/>
                                                                      <a:pt x="382721" y="236623"/>
                                                                      <a:pt x="381467" y="241222"/>
                                                                    </a:cubicBezTo>
                                                                    <a:cubicBezTo>
                                                                      <a:pt x="379911" y="246927"/>
                                                                      <a:pt x="375857" y="258052"/>
                                                                      <a:pt x="375857" y="258052"/>
                                                                    </a:cubicBezTo>
                                                                    <a:cubicBezTo>
                                                                      <a:pt x="402700" y="284895"/>
                                                                      <a:pt x="368332" y="253036"/>
                                                                      <a:pt x="392687" y="269272"/>
                                                                    </a:cubicBezTo>
                                                                    <a:cubicBezTo>
                                                                      <a:pt x="395987" y="271472"/>
                                                                      <a:pt x="398054" y="275147"/>
                                                                      <a:pt x="401101" y="277686"/>
                                                                    </a:cubicBezTo>
                                                                    <a:cubicBezTo>
                                                                      <a:pt x="403691" y="279844"/>
                                                                      <a:pt x="406926" y="281138"/>
                                                                      <a:pt x="409516" y="283296"/>
                                                                    </a:cubicBezTo>
                                                                    <a:cubicBezTo>
                                                                      <a:pt x="412563" y="285836"/>
                                                                      <a:pt x="414884" y="289171"/>
                                                                      <a:pt x="417931" y="291711"/>
                                                                    </a:cubicBezTo>
                                                                    <a:cubicBezTo>
                                                                      <a:pt x="429965" y="301739"/>
                                                                      <a:pt x="423587" y="292327"/>
                                                                      <a:pt x="434760" y="305735"/>
                                                                    </a:cubicBezTo>
                                                                    <a:cubicBezTo>
                                                                      <a:pt x="436918" y="308325"/>
                                                                      <a:pt x="438862" y="311135"/>
                                                                      <a:pt x="440370" y="314150"/>
                                                                    </a:cubicBezTo>
                                                                    <a:cubicBezTo>
                                                                      <a:pt x="441692" y="316795"/>
                                                                      <a:pt x="441360" y="320231"/>
                                                                      <a:pt x="443175" y="322565"/>
                                                                    </a:cubicBezTo>
                                                                    <a:cubicBezTo>
                                                                      <a:pt x="463270" y="348401"/>
                                                                      <a:pt x="453030" y="332179"/>
                                                                      <a:pt x="468419" y="345004"/>
                                                                    </a:cubicBezTo>
                                                                    <a:cubicBezTo>
                                                                      <a:pt x="482425" y="356677"/>
                                                                      <a:pt x="470462" y="351295"/>
                                                                      <a:pt x="485249" y="356224"/>
                                                                    </a:cubicBezTo>
                                                                    <a:cubicBezTo>
                                                                      <a:pt x="488054" y="355289"/>
                                                                      <a:pt x="492565" y="356164"/>
                                                                      <a:pt x="493663" y="353419"/>
                                                                    </a:cubicBezTo>
                                                                    <a:cubicBezTo>
                                                                      <a:pt x="497477" y="343885"/>
                                                                      <a:pt x="487565" y="340003"/>
                                                                      <a:pt x="482444" y="336589"/>
                                                                    </a:cubicBezTo>
                                                                    <a:cubicBezTo>
                                                                      <a:pt x="480574" y="333784"/>
                                                                      <a:pt x="479466" y="330281"/>
                                                                      <a:pt x="476834" y="328175"/>
                                                                    </a:cubicBezTo>
                                                                    <a:cubicBezTo>
                                                                      <a:pt x="474525" y="326328"/>
                                                                      <a:pt x="470138" y="327776"/>
                                                                      <a:pt x="468419" y="325370"/>
                                                                    </a:cubicBezTo>
                                                                    <a:cubicBezTo>
                                                                      <a:pt x="464982" y="320558"/>
                                                                      <a:pt x="466089" y="313460"/>
                                                                      <a:pt x="462809" y="308540"/>
                                                                    </a:cubicBezTo>
                                                                    <a:lnTo>
                                                                      <a:pt x="457200" y="300126"/>
                                                                    </a:lnTo>
                                                                    <a:cubicBezTo>
                                                                      <a:pt x="460005" y="298256"/>
                                                                      <a:pt x="462269" y="294934"/>
                                                                      <a:pt x="465614" y="294516"/>
                                                                    </a:cubicBezTo>
                                                                    <a:cubicBezTo>
                                                                      <a:pt x="470537" y="293901"/>
                                                                      <a:pt x="482559" y="298294"/>
                                                                      <a:pt x="488054" y="300126"/>
                                                                    </a:cubicBezTo>
                                                                    <a:cubicBezTo>
                                                                      <a:pt x="494799" y="310244"/>
                                                                      <a:pt x="498964" y="317684"/>
                                                                      <a:pt x="510493" y="325370"/>
                                                                    </a:cubicBezTo>
                                                                    <a:cubicBezTo>
                                                                      <a:pt x="516103" y="329110"/>
                                                                      <a:pt x="520926" y="334457"/>
                                                                      <a:pt x="527322" y="336589"/>
                                                                    </a:cubicBezTo>
                                                                    <a:lnTo>
                                                                      <a:pt x="535737" y="339394"/>
                                                                    </a:lnTo>
                                                                    <a:cubicBezTo>
                                                                      <a:pt x="538542" y="336589"/>
                                                                      <a:pt x="543374" y="334870"/>
                                                                      <a:pt x="544152" y="330980"/>
                                                                    </a:cubicBezTo>
                                                                    <a:cubicBezTo>
                                                                      <a:pt x="545449" y="324497"/>
                                                                      <a:pt x="545406" y="316564"/>
                                                                      <a:pt x="541347" y="311345"/>
                                                                    </a:cubicBezTo>
                                                                    <a:cubicBezTo>
                                                                      <a:pt x="537716" y="306677"/>
                                                                      <a:pt x="529437" y="309015"/>
                                                                      <a:pt x="524517" y="305735"/>
                                                                    </a:cubicBezTo>
                                                                    <a:cubicBezTo>
                                                                      <a:pt x="521712" y="303865"/>
                                                                      <a:pt x="519118" y="301633"/>
                                                                      <a:pt x="516103" y="300126"/>
                                                                    </a:cubicBezTo>
                                                                    <a:cubicBezTo>
                                                                      <a:pt x="513458" y="298804"/>
                                                                      <a:pt x="510493" y="298256"/>
                                                                      <a:pt x="507688" y="297321"/>
                                                                    </a:cubicBezTo>
                                                                    <a:cubicBezTo>
                                                                      <a:pt x="500801" y="286991"/>
                                                                      <a:pt x="491133" y="281482"/>
                                                                      <a:pt x="499273" y="269272"/>
                                                                    </a:cubicBezTo>
                                                                    <a:cubicBezTo>
                                                                      <a:pt x="501143" y="266467"/>
                                                                      <a:pt x="504883" y="265532"/>
                                                                      <a:pt x="507688" y="263662"/>
                                                                    </a:cubicBezTo>
                                                                    <a:cubicBezTo>
                                                                      <a:pt x="514154" y="264740"/>
                                                                      <a:pt x="526026" y="265819"/>
                                                                      <a:pt x="532932" y="269272"/>
                                                                    </a:cubicBezTo>
                                                                    <a:cubicBezTo>
                                                                      <a:pt x="543379" y="274495"/>
                                                                      <a:pt x="540456" y="275541"/>
                                                                      <a:pt x="549762" y="283296"/>
                                                                    </a:cubicBezTo>
                                                                    <a:cubicBezTo>
                                                                      <a:pt x="552352" y="285454"/>
                                                                      <a:pt x="555371" y="287036"/>
                                                                      <a:pt x="558176" y="288906"/>
                                                                    </a:cubicBezTo>
                                                                    <a:cubicBezTo>
                                                                      <a:pt x="560046" y="291711"/>
                                                                      <a:pt x="560927" y="295534"/>
                                                                      <a:pt x="563786" y="297321"/>
                                                                    </a:cubicBezTo>
                                                                    <a:cubicBezTo>
                                                                      <a:pt x="568801" y="300455"/>
                                                                      <a:pt x="580616" y="302930"/>
                                                                      <a:pt x="580616" y="302930"/>
                                                                    </a:cubicBezTo>
                                                                    <a:cubicBezTo>
                                                                      <a:pt x="584356" y="301995"/>
                                                                      <a:pt x="590111" y="303574"/>
                                                                      <a:pt x="591835" y="300126"/>
                                                                    </a:cubicBezTo>
                                                                    <a:cubicBezTo>
                                                                      <a:pt x="593343" y="297111"/>
                                                                      <a:pt x="588609" y="294095"/>
                                                                      <a:pt x="586225" y="291711"/>
                                                                    </a:cubicBezTo>
                                                                    <a:cubicBezTo>
                                                                      <a:pt x="579768" y="285254"/>
                                                                      <a:pt x="575175" y="285442"/>
                                                                      <a:pt x="566591" y="283296"/>
                                                                    </a:cubicBezTo>
                                                                    <a:cubicBezTo>
                                                                      <a:pt x="560382" y="279157"/>
                                                                      <a:pt x="554081" y="275751"/>
                                                                      <a:pt x="549762" y="269272"/>
                                                                    </a:cubicBezTo>
                                                                    <a:cubicBezTo>
                                                                      <a:pt x="548122" y="266812"/>
                                                                      <a:pt x="549048" y="262948"/>
                                                                      <a:pt x="546957" y="260857"/>
                                                                    </a:cubicBezTo>
                                                                    <a:cubicBezTo>
                                                                      <a:pt x="544866" y="258766"/>
                                                                      <a:pt x="541187" y="259374"/>
                                                                      <a:pt x="538542" y="258052"/>
                                                                    </a:cubicBezTo>
                                                                    <a:cubicBezTo>
                                                                      <a:pt x="516792" y="247177"/>
                                                                      <a:pt x="542863" y="256687"/>
                                                                      <a:pt x="521712" y="249637"/>
                                                                    </a:cubicBezTo>
                                                                    <a:cubicBezTo>
                                                                      <a:pt x="515139" y="229911"/>
                                                                      <a:pt x="523691" y="254252"/>
                                                                      <a:pt x="513298" y="230003"/>
                                                                    </a:cubicBezTo>
                                                                    <a:cubicBezTo>
                                                                      <a:pt x="512133" y="227285"/>
                                                                      <a:pt x="512584" y="223679"/>
                                                                      <a:pt x="510493" y="221588"/>
                                                                    </a:cubicBezTo>
                                                                    <a:cubicBezTo>
                                                                      <a:pt x="508402" y="219497"/>
                                                                      <a:pt x="504883" y="219718"/>
                                                                      <a:pt x="502078" y="218783"/>
                                                                    </a:cubicBezTo>
                                                                    <a:cubicBezTo>
                                                                      <a:pt x="498359" y="213205"/>
                                                                      <a:pt x="492305" y="208922"/>
                                                                      <a:pt x="499273" y="201954"/>
                                                                    </a:cubicBezTo>
                                                                    <a:cubicBezTo>
                                                                      <a:pt x="501364" y="199863"/>
                                                                      <a:pt x="504883" y="200084"/>
                                                                      <a:pt x="507688" y="199149"/>
                                                                    </a:cubicBezTo>
                                                                    <a:cubicBezTo>
                                                                      <a:pt x="517038" y="200084"/>
                                                                      <a:pt x="526581" y="199841"/>
                                                                      <a:pt x="535737" y="201954"/>
                                                                    </a:cubicBezTo>
                                                                    <a:cubicBezTo>
                                                                      <a:pt x="557896" y="207068"/>
                                                                      <a:pt x="528833" y="211394"/>
                                                                      <a:pt x="555371" y="204759"/>
                                                                    </a:cubicBezTo>
                                                                    <a:cubicBezTo>
                                                                      <a:pt x="559111" y="201954"/>
                                                                      <a:pt x="563598" y="199935"/>
                                                                      <a:pt x="566591" y="196344"/>
                                                                    </a:cubicBezTo>
                                                                    <a:cubicBezTo>
                                                                      <a:pt x="568484" y="194073"/>
                                                                      <a:pt x="568074" y="190574"/>
                                                                      <a:pt x="569396" y="187929"/>
                                                                    </a:cubicBezTo>
                                                                    <a:cubicBezTo>
                                                                      <a:pt x="570904" y="184914"/>
                                                                      <a:pt x="573136" y="182320"/>
                                                                      <a:pt x="575006" y="179515"/>
                                                                    </a:cubicBezTo>
                                                                    <a:cubicBezTo>
                                                                      <a:pt x="575941" y="172970"/>
                                                                      <a:pt x="574854" y="165794"/>
                                                                      <a:pt x="577811" y="159880"/>
                                                                    </a:cubicBezTo>
                                                                    <a:cubicBezTo>
                                                                      <a:pt x="579133" y="157236"/>
                                                                      <a:pt x="583581" y="158397"/>
                                                                      <a:pt x="586225" y="157075"/>
                                                                    </a:cubicBezTo>
                                                                    <a:cubicBezTo>
                                                                      <a:pt x="589240" y="155567"/>
                                                                      <a:pt x="591835" y="153335"/>
                                                                      <a:pt x="594640" y="151465"/>
                                                                    </a:cubicBezTo>
                                                                    <a:cubicBezTo>
                                                                      <a:pt x="603055" y="152400"/>
                                                                      <a:pt x="611582" y="152610"/>
                                                                      <a:pt x="619884" y="154270"/>
                                                                    </a:cubicBezTo>
                                                                    <a:cubicBezTo>
                                                                      <a:pt x="625683" y="155430"/>
                                                                      <a:pt x="631104" y="158010"/>
                                                                      <a:pt x="636714" y="159880"/>
                                                                    </a:cubicBezTo>
                                                                    <a:lnTo>
                                                                      <a:pt x="645128" y="162685"/>
                                                                    </a:lnTo>
                                                                    <a:cubicBezTo>
                                                                      <a:pt x="648868" y="161750"/>
                                                                      <a:pt x="652900" y="161604"/>
                                                                      <a:pt x="656348" y="159880"/>
                                                                    </a:cubicBezTo>
                                                                    <a:cubicBezTo>
                                                                      <a:pt x="690301" y="142904"/>
                                                                      <a:pt x="650253" y="157235"/>
                                                                      <a:pt x="675982" y="148661"/>
                                                                    </a:cubicBezTo>
                                                                    <a:cubicBezTo>
                                                                      <a:pt x="678787" y="146791"/>
                                                                      <a:pt x="681030" y="143228"/>
                                                                      <a:pt x="684397" y="143051"/>
                                                                    </a:cubicBezTo>
                                                                    <a:lnTo>
                                                                      <a:pt x="729276" y="145856"/>
                                                                    </a:lnTo>
                                                                    <a:lnTo>
                                                                      <a:pt x="782569" y="148661"/>
                                                                    </a:lnTo>
                                                                    <a:cubicBezTo>
                                                                      <a:pt x="785374" y="150531"/>
                                                                      <a:pt x="787969" y="152763"/>
                                                                      <a:pt x="790984" y="154270"/>
                                                                    </a:cubicBezTo>
                                                                    <a:cubicBezTo>
                                                                      <a:pt x="793628" y="155592"/>
                                                                      <a:pt x="797089" y="155228"/>
                                                                      <a:pt x="799398" y="157075"/>
                                                                    </a:cubicBezTo>
                                                                    <a:cubicBezTo>
                                                                      <a:pt x="802030" y="159181"/>
                                                                      <a:pt x="802149" y="163703"/>
                                                                      <a:pt x="805008" y="165490"/>
                                                                    </a:cubicBezTo>
                                                                    <a:cubicBezTo>
                                                                      <a:pt x="810023" y="168624"/>
                                                                      <a:pt x="821838" y="171100"/>
                                                                      <a:pt x="821838" y="171100"/>
                                                                    </a:cubicBezTo>
                                                                    <a:cubicBezTo>
                                                                      <a:pt x="829318" y="170165"/>
                                                                      <a:pt x="838102" y="172618"/>
                                                                      <a:pt x="844277" y="168295"/>
                                                                    </a:cubicBezTo>
                                                                    <a:cubicBezTo>
                                                                      <a:pt x="849121" y="164904"/>
                                                                      <a:pt x="848017" y="157075"/>
                                                                      <a:pt x="849887" y="151465"/>
                                                                    </a:cubicBezTo>
                                                                    <a:lnTo>
                                                                      <a:pt x="852692" y="143051"/>
                                                                    </a:lnTo>
                                                                    <a:cubicBezTo>
                                                                      <a:pt x="853627" y="128091"/>
                                                                      <a:pt x="850545" y="112319"/>
                                                                      <a:pt x="855497" y="98172"/>
                                                                    </a:cubicBezTo>
                                                                    <a:cubicBezTo>
                                                                      <a:pt x="857724" y="91809"/>
                                                                      <a:pt x="872326" y="86953"/>
                                                                      <a:pt x="872326" y="86953"/>
                                                                    </a:cubicBezTo>
                                                                    <a:cubicBezTo>
                                                                      <a:pt x="887963" y="63497"/>
                                                                      <a:pt x="889597" y="68492"/>
                                                                      <a:pt x="880741" y="30854"/>
                                                                    </a:cubicBezTo>
                                                                    <a:cubicBezTo>
                                                                      <a:pt x="879832" y="26993"/>
                                                                      <a:pt x="875793" y="24366"/>
                                                                      <a:pt x="872326" y="22440"/>
                                                                    </a:cubicBezTo>
                                                                    <a:cubicBezTo>
                                                                      <a:pt x="867157" y="19568"/>
                                                                      <a:pt x="860786" y="19474"/>
                                                                      <a:pt x="855497" y="16830"/>
                                                                    </a:cubicBezTo>
                                                                    <a:lnTo>
                                                                      <a:pt x="861106" y="0"/>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2" name="Freeform 231"/>
                                                              <p:cNvSpPr/>
                                                              <p:nvPr/>
                                                            </p:nvSpPr>
                                                            <p:spPr>
                                                              <a:xfrm>
                                                                <a:off x="5074079" y="6111894"/>
                                                                <a:ext cx="209397" cy="173905"/>
                                                              </a:xfrm>
                                                              <a:custGeom>
                                                                <a:avLst/>
                                                                <a:gdLst>
                                                                  <a:gd name="connsiteX0" fmla="*/ 28049 w 209397"/>
                                                                  <a:gd name="connsiteY0" fmla="*/ 0 h 173905"/>
                                                                  <a:gd name="connsiteX1" fmla="*/ 28049 w 209397"/>
                                                                  <a:gd name="connsiteY1" fmla="*/ 0 h 173905"/>
                                                                  <a:gd name="connsiteX2" fmla="*/ 8414 w 209397"/>
                                                                  <a:gd name="connsiteY2" fmla="*/ 14025 h 173905"/>
                                                                  <a:gd name="connsiteX3" fmla="*/ 0 w 209397"/>
                                                                  <a:gd name="connsiteY3" fmla="*/ 16830 h 173905"/>
                                                                  <a:gd name="connsiteX4" fmla="*/ 8414 w 209397"/>
                                                                  <a:gd name="connsiteY4" fmla="*/ 19635 h 173905"/>
                                                                  <a:gd name="connsiteX5" fmla="*/ 28049 w 209397"/>
                                                                  <a:gd name="connsiteY5" fmla="*/ 25245 h 173905"/>
                                                                  <a:gd name="connsiteX6" fmla="*/ 36463 w 209397"/>
                                                                  <a:gd name="connsiteY6" fmla="*/ 42074 h 173905"/>
                                                                  <a:gd name="connsiteX7" fmla="*/ 53293 w 209397"/>
                                                                  <a:gd name="connsiteY7" fmla="*/ 47684 h 173905"/>
                                                                  <a:gd name="connsiteX8" fmla="*/ 61708 w 209397"/>
                                                                  <a:gd name="connsiteY8" fmla="*/ 53294 h 173905"/>
                                                                  <a:gd name="connsiteX9" fmla="*/ 72927 w 209397"/>
                                                                  <a:gd name="connsiteY9" fmla="*/ 78538 h 173905"/>
                                                                  <a:gd name="connsiteX10" fmla="*/ 81342 w 209397"/>
                                                                  <a:gd name="connsiteY10" fmla="*/ 84148 h 173905"/>
                                                                  <a:gd name="connsiteX11" fmla="*/ 86952 w 209397"/>
                                                                  <a:gd name="connsiteY11" fmla="*/ 92562 h 173905"/>
                                                                  <a:gd name="connsiteX12" fmla="*/ 89757 w 209397"/>
                                                                  <a:gd name="connsiteY12" fmla="*/ 100977 h 173905"/>
                                                                  <a:gd name="connsiteX13" fmla="*/ 100976 w 209397"/>
                                                                  <a:gd name="connsiteY13" fmla="*/ 103782 h 173905"/>
                                                                  <a:gd name="connsiteX14" fmla="*/ 145855 w 209397"/>
                                                                  <a:gd name="connsiteY14" fmla="*/ 106587 h 173905"/>
                                                                  <a:gd name="connsiteX15" fmla="*/ 154269 w 209397"/>
                                                                  <a:gd name="connsiteY15" fmla="*/ 123416 h 173905"/>
                                                                  <a:gd name="connsiteX16" fmla="*/ 159879 w 209397"/>
                                                                  <a:gd name="connsiteY16" fmla="*/ 131831 h 173905"/>
                                                                  <a:gd name="connsiteX17" fmla="*/ 168294 w 209397"/>
                                                                  <a:gd name="connsiteY17" fmla="*/ 148661 h 173905"/>
                                                                  <a:gd name="connsiteX18" fmla="*/ 176709 w 209397"/>
                                                                  <a:gd name="connsiteY18" fmla="*/ 154270 h 173905"/>
                                                                  <a:gd name="connsiteX19" fmla="*/ 196343 w 209397"/>
                                                                  <a:gd name="connsiteY19" fmla="*/ 173905 h 173905"/>
                                                                  <a:gd name="connsiteX20" fmla="*/ 204758 w 209397"/>
                                                                  <a:gd name="connsiteY20" fmla="*/ 162685 h 173905"/>
                                                                  <a:gd name="connsiteX21" fmla="*/ 187928 w 209397"/>
                                                                  <a:gd name="connsiteY21" fmla="*/ 157075 h 173905"/>
                                                                  <a:gd name="connsiteX22" fmla="*/ 182319 w 209397"/>
                                                                  <a:gd name="connsiteY22" fmla="*/ 148661 h 173905"/>
                                                                  <a:gd name="connsiteX23" fmla="*/ 173904 w 209397"/>
                                                                  <a:gd name="connsiteY23" fmla="*/ 143051 h 173905"/>
                                                                  <a:gd name="connsiteX24" fmla="*/ 168294 w 209397"/>
                                                                  <a:gd name="connsiteY24" fmla="*/ 123416 h 173905"/>
                                                                  <a:gd name="connsiteX25" fmla="*/ 165489 w 209397"/>
                                                                  <a:gd name="connsiteY25" fmla="*/ 115002 h 173905"/>
                                                                  <a:gd name="connsiteX26" fmla="*/ 157074 w 209397"/>
                                                                  <a:gd name="connsiteY26" fmla="*/ 109392 h 173905"/>
                                                                  <a:gd name="connsiteX27" fmla="*/ 154269 w 209397"/>
                                                                  <a:gd name="connsiteY27" fmla="*/ 81343 h 173905"/>
                                                                  <a:gd name="connsiteX28" fmla="*/ 148660 w 209397"/>
                                                                  <a:gd name="connsiteY28" fmla="*/ 72928 h 173905"/>
                                                                  <a:gd name="connsiteX29" fmla="*/ 109391 w 209397"/>
                                                                  <a:gd name="connsiteY29" fmla="*/ 70123 h 173905"/>
                                                                  <a:gd name="connsiteX30" fmla="*/ 78537 w 209397"/>
                                                                  <a:gd name="connsiteY30" fmla="*/ 64513 h 173905"/>
                                                                  <a:gd name="connsiteX31" fmla="*/ 70122 w 209397"/>
                                                                  <a:gd name="connsiteY31" fmla="*/ 58904 h 173905"/>
                                                                  <a:gd name="connsiteX32" fmla="*/ 53293 w 209397"/>
                                                                  <a:gd name="connsiteY32" fmla="*/ 53294 h 173905"/>
                                                                  <a:gd name="connsiteX33" fmla="*/ 28049 w 209397"/>
                                                                  <a:gd name="connsiteY33" fmla="*/ 0 h 17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9397" h="173905">
                                                                    <a:moveTo>
                                                                      <a:pt x="28049" y="0"/>
                                                                    </a:moveTo>
                                                                    <a:lnTo>
                                                                      <a:pt x="28049" y="0"/>
                                                                    </a:lnTo>
                                                                    <a:cubicBezTo>
                                                                      <a:pt x="21504" y="4675"/>
                                                                      <a:pt x="15311" y="9887"/>
                                                                      <a:pt x="8414" y="14025"/>
                                                                    </a:cubicBezTo>
                                                                    <a:cubicBezTo>
                                                                      <a:pt x="5879" y="15546"/>
                                                                      <a:pt x="0" y="13874"/>
                                                                      <a:pt x="0" y="16830"/>
                                                                    </a:cubicBezTo>
                                                                    <a:cubicBezTo>
                                                                      <a:pt x="0" y="19786"/>
                                                                      <a:pt x="5571" y="18823"/>
                                                                      <a:pt x="8414" y="19635"/>
                                                                    </a:cubicBezTo>
                                                                    <a:cubicBezTo>
                                                                      <a:pt x="33076" y="26682"/>
                                                                      <a:pt x="7867" y="18518"/>
                                                                      <a:pt x="28049" y="25245"/>
                                                                    </a:cubicBezTo>
                                                                    <a:cubicBezTo>
                                                                      <a:pt x="29577" y="29828"/>
                                                                      <a:pt x="31886" y="39213"/>
                                                                      <a:pt x="36463" y="42074"/>
                                                                    </a:cubicBezTo>
                                                                    <a:cubicBezTo>
                                                                      <a:pt x="41478" y="45208"/>
                                                                      <a:pt x="47683" y="45814"/>
                                                                      <a:pt x="53293" y="47684"/>
                                                                    </a:cubicBezTo>
                                                                    <a:cubicBezTo>
                                                                      <a:pt x="56491" y="48750"/>
                                                                      <a:pt x="58903" y="51424"/>
                                                                      <a:pt x="61708" y="53294"/>
                                                                    </a:cubicBezTo>
                                                                    <a:cubicBezTo>
                                                                      <a:pt x="64485" y="61627"/>
                                                                      <a:pt x="66259" y="71870"/>
                                                                      <a:pt x="72927" y="78538"/>
                                                                    </a:cubicBezTo>
                                                                    <a:cubicBezTo>
                                                                      <a:pt x="75311" y="80922"/>
                                                                      <a:pt x="78537" y="82278"/>
                                                                      <a:pt x="81342" y="84148"/>
                                                                    </a:cubicBezTo>
                                                                    <a:cubicBezTo>
                                                                      <a:pt x="83212" y="86953"/>
                                                                      <a:pt x="85444" y="89547"/>
                                                                      <a:pt x="86952" y="92562"/>
                                                                    </a:cubicBezTo>
                                                                    <a:cubicBezTo>
                                                                      <a:pt x="88274" y="95207"/>
                                                                      <a:pt x="87448" y="99130"/>
                                                                      <a:pt x="89757" y="100977"/>
                                                                    </a:cubicBezTo>
                                                                    <a:cubicBezTo>
                                                                      <a:pt x="92767" y="103385"/>
                                                                      <a:pt x="97140" y="103398"/>
                                                                      <a:pt x="100976" y="103782"/>
                                                                    </a:cubicBezTo>
                                                                    <a:cubicBezTo>
                                                                      <a:pt x="115890" y="105273"/>
                                                                      <a:pt x="130895" y="105652"/>
                                                                      <a:pt x="145855" y="106587"/>
                                                                    </a:cubicBezTo>
                                                                    <a:cubicBezTo>
                                                                      <a:pt x="161934" y="130705"/>
                                                                      <a:pt x="142657" y="100190"/>
                                                                      <a:pt x="154269" y="123416"/>
                                                                    </a:cubicBezTo>
                                                                    <a:cubicBezTo>
                                                                      <a:pt x="155777" y="126431"/>
                                                                      <a:pt x="158371" y="128816"/>
                                                                      <a:pt x="159879" y="131831"/>
                                                                    </a:cubicBezTo>
                                                                    <a:cubicBezTo>
                                                                      <a:pt x="164441" y="140955"/>
                                                                      <a:pt x="160256" y="140623"/>
                                                                      <a:pt x="168294" y="148661"/>
                                                                    </a:cubicBezTo>
                                                                    <a:cubicBezTo>
                                                                      <a:pt x="170678" y="151045"/>
                                                                      <a:pt x="173904" y="152400"/>
                                                                      <a:pt x="176709" y="154270"/>
                                                                    </a:cubicBezTo>
                                                                    <a:cubicBezTo>
                                                                      <a:pt x="189568" y="173560"/>
                                                                      <a:pt x="181532" y="168968"/>
                                                                      <a:pt x="196343" y="173905"/>
                                                                    </a:cubicBezTo>
                                                                    <a:cubicBezTo>
                                                                      <a:pt x="197995" y="173492"/>
                                                                      <a:pt x="218321" y="172373"/>
                                                                      <a:pt x="204758" y="162685"/>
                                                                    </a:cubicBezTo>
                                                                    <a:cubicBezTo>
                                                                      <a:pt x="199946" y="159248"/>
                                                                      <a:pt x="187928" y="157075"/>
                                                                      <a:pt x="187928" y="157075"/>
                                                                    </a:cubicBezTo>
                                                                    <a:cubicBezTo>
                                                                      <a:pt x="186058" y="154270"/>
                                                                      <a:pt x="184702" y="151044"/>
                                                                      <a:pt x="182319" y="148661"/>
                                                                    </a:cubicBezTo>
                                                                    <a:cubicBezTo>
                                                                      <a:pt x="179935" y="146277"/>
                                                                      <a:pt x="176010" y="145683"/>
                                                                      <a:pt x="173904" y="143051"/>
                                                                    </a:cubicBezTo>
                                                                    <a:cubicBezTo>
                                                                      <a:pt x="172409" y="141183"/>
                                                                      <a:pt x="168518" y="124200"/>
                                                                      <a:pt x="168294" y="123416"/>
                                                                    </a:cubicBezTo>
                                                                    <a:cubicBezTo>
                                                                      <a:pt x="167482" y="120573"/>
                                                                      <a:pt x="167336" y="117311"/>
                                                                      <a:pt x="165489" y="115002"/>
                                                                    </a:cubicBezTo>
                                                                    <a:cubicBezTo>
                                                                      <a:pt x="163383" y="112370"/>
                                                                      <a:pt x="159879" y="111262"/>
                                                                      <a:pt x="157074" y="109392"/>
                                                                    </a:cubicBezTo>
                                                                    <a:cubicBezTo>
                                                                      <a:pt x="150246" y="88905"/>
                                                                      <a:pt x="150031" y="98299"/>
                                                                      <a:pt x="154269" y="81343"/>
                                                                    </a:cubicBezTo>
                                                                    <a:cubicBezTo>
                                                                      <a:pt x="152399" y="78538"/>
                                                                      <a:pt x="151044" y="75312"/>
                                                                      <a:pt x="148660" y="72928"/>
                                                                    </a:cubicBezTo>
                                                                    <a:cubicBezTo>
                                                                      <a:pt x="136850" y="61117"/>
                                                                      <a:pt x="127681" y="68460"/>
                                                                      <a:pt x="109391" y="70123"/>
                                                                    </a:cubicBezTo>
                                                                    <a:cubicBezTo>
                                                                      <a:pt x="101652" y="69156"/>
                                                                      <a:pt x="87186" y="68837"/>
                                                                      <a:pt x="78537" y="64513"/>
                                                                    </a:cubicBezTo>
                                                                    <a:cubicBezTo>
                                                                      <a:pt x="75522" y="63006"/>
                                                                      <a:pt x="73202" y="60273"/>
                                                                      <a:pt x="70122" y="58904"/>
                                                                    </a:cubicBezTo>
                                                                    <a:cubicBezTo>
                                                                      <a:pt x="64718" y="56503"/>
                                                                      <a:pt x="58213" y="56574"/>
                                                                      <a:pt x="53293" y="53294"/>
                                                                    </a:cubicBezTo>
                                                                    <a:cubicBezTo>
                                                                      <a:pt x="44100" y="47165"/>
                                                                      <a:pt x="32256" y="8882"/>
                                                                      <a:pt x="28049"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0" name="Freeform 229"/>
                                                            <p:cNvSpPr/>
                                                            <p:nvPr/>
                                                          </p:nvSpPr>
                                                          <p:spPr>
                                                            <a:xfrm>
                                                              <a:off x="4574662" y="5977259"/>
                                                              <a:ext cx="42217" cy="59972"/>
                                                            </a:xfrm>
                                                            <a:custGeom>
                                                              <a:avLst/>
                                                              <a:gdLst>
                                                                <a:gd name="connsiteX0" fmla="*/ 11363 w 42217"/>
                                                                <a:gd name="connsiteY0" fmla="*/ 0 h 59972"/>
                                                                <a:gd name="connsiteX1" fmla="*/ 11363 w 42217"/>
                                                                <a:gd name="connsiteY1" fmla="*/ 0 h 59972"/>
                                                                <a:gd name="connsiteX2" fmla="*/ 143 w 42217"/>
                                                                <a:gd name="connsiteY2" fmla="*/ 22439 h 59972"/>
                                                                <a:gd name="connsiteX3" fmla="*/ 16972 w 42217"/>
                                                                <a:gd name="connsiteY3" fmla="*/ 33659 h 59972"/>
                                                                <a:gd name="connsiteX4" fmla="*/ 28192 w 42217"/>
                                                                <a:gd name="connsiteY4" fmla="*/ 47683 h 59972"/>
                                                                <a:gd name="connsiteX5" fmla="*/ 33802 w 42217"/>
                                                                <a:gd name="connsiteY5" fmla="*/ 56098 h 59972"/>
                                                                <a:gd name="connsiteX6" fmla="*/ 42217 w 42217"/>
                                                                <a:gd name="connsiteY6" fmla="*/ 58903 h 59972"/>
                                                                <a:gd name="connsiteX7" fmla="*/ 33802 w 42217"/>
                                                                <a:gd name="connsiteY7" fmla="*/ 53293 h 59972"/>
                                                                <a:gd name="connsiteX8" fmla="*/ 30997 w 42217"/>
                                                                <a:gd name="connsiteY8" fmla="*/ 44878 h 59972"/>
                                                                <a:gd name="connsiteX9" fmla="*/ 11363 w 42217"/>
                                                                <a:gd name="connsiteY9" fmla="*/ 0 h 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17" h="59972">
                                                                  <a:moveTo>
                                                                    <a:pt x="11363" y="0"/>
                                                                  </a:moveTo>
                                                                  <a:lnTo>
                                                                    <a:pt x="11363" y="0"/>
                                                                  </a:lnTo>
                                                                  <a:cubicBezTo>
                                                                    <a:pt x="7623" y="7480"/>
                                                                    <a:pt x="-1232" y="14190"/>
                                                                    <a:pt x="143" y="22439"/>
                                                                  </a:cubicBezTo>
                                                                  <a:cubicBezTo>
                                                                    <a:pt x="1251" y="29089"/>
                                                                    <a:pt x="16972" y="33659"/>
                                                                    <a:pt x="16972" y="33659"/>
                                                                  </a:cubicBezTo>
                                                                  <a:cubicBezTo>
                                                                    <a:pt x="22433" y="50042"/>
                                                                    <a:pt x="15504" y="34996"/>
                                                                    <a:pt x="28192" y="47683"/>
                                                                  </a:cubicBezTo>
                                                                  <a:cubicBezTo>
                                                                    <a:pt x="30576" y="50067"/>
                                                                    <a:pt x="31170" y="53992"/>
                                                                    <a:pt x="33802" y="56098"/>
                                                                  </a:cubicBezTo>
                                                                  <a:cubicBezTo>
                                                                    <a:pt x="36111" y="57945"/>
                                                                    <a:pt x="42217" y="61860"/>
                                                                    <a:pt x="42217" y="58903"/>
                                                                  </a:cubicBezTo>
                                                                  <a:cubicBezTo>
                                                                    <a:pt x="42217" y="55532"/>
                                                                    <a:pt x="36607" y="55163"/>
                                                                    <a:pt x="33802" y="53293"/>
                                                                  </a:cubicBezTo>
                                                                  <a:cubicBezTo>
                                                                    <a:pt x="32867" y="50488"/>
                                                                    <a:pt x="31388" y="47809"/>
                                                                    <a:pt x="30997" y="44878"/>
                                                                  </a:cubicBezTo>
                                                                  <a:cubicBezTo>
                                                                    <a:pt x="26104" y="8179"/>
                                                                    <a:pt x="14635" y="7480"/>
                                                                    <a:pt x="1136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8" name="Freeform 227"/>
                                                          <p:cNvSpPr/>
                                                          <p:nvPr/>
                                                        </p:nvSpPr>
                                                        <p:spPr>
                                                          <a:xfrm>
                                                            <a:off x="5256341" y="5783720"/>
                                                            <a:ext cx="19747" cy="33659"/>
                                                          </a:xfrm>
                                                          <a:custGeom>
                                                            <a:avLst/>
                                                            <a:gdLst>
                                                              <a:gd name="connsiteX0" fmla="*/ 14081 w 19747"/>
                                                              <a:gd name="connsiteY0" fmla="*/ 0 h 33659"/>
                                                              <a:gd name="connsiteX1" fmla="*/ 14081 w 19747"/>
                                                              <a:gd name="connsiteY1" fmla="*/ 0 h 33659"/>
                                                              <a:gd name="connsiteX2" fmla="*/ 5666 w 19747"/>
                                                              <a:gd name="connsiteY2" fmla="*/ 28049 h 33659"/>
                                                              <a:gd name="connsiteX3" fmla="*/ 14081 w 19747"/>
                                                              <a:gd name="connsiteY3" fmla="*/ 33659 h 33659"/>
                                                              <a:gd name="connsiteX4" fmla="*/ 19691 w 19747"/>
                                                              <a:gd name="connsiteY4" fmla="*/ 25244 h 33659"/>
                                                              <a:gd name="connsiteX5" fmla="*/ 14081 w 19747"/>
                                                              <a:gd name="connsiteY5" fmla="*/ 0 h 3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47" h="33659">
                                                                <a:moveTo>
                                                                  <a:pt x="14081" y="0"/>
                                                                </a:moveTo>
                                                                <a:lnTo>
                                                                  <a:pt x="14081" y="0"/>
                                                                </a:lnTo>
                                                                <a:cubicBezTo>
                                                                  <a:pt x="3105" y="15368"/>
                                                                  <a:pt x="-6503" y="15880"/>
                                                                  <a:pt x="5666" y="28049"/>
                                                                </a:cubicBezTo>
                                                                <a:cubicBezTo>
                                                                  <a:pt x="8050" y="30433"/>
                                                                  <a:pt x="11276" y="31789"/>
                                                                  <a:pt x="14081" y="33659"/>
                                                                </a:cubicBezTo>
                                                                <a:cubicBezTo>
                                                                  <a:pt x="15951" y="30854"/>
                                                                  <a:pt x="19356" y="28598"/>
                                                                  <a:pt x="19691" y="25244"/>
                                                                </a:cubicBezTo>
                                                                <a:cubicBezTo>
                                                                  <a:pt x="20349" y="18666"/>
                                                                  <a:pt x="15016" y="4207"/>
                                                                  <a:pt x="1408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6" name="Freeform 225"/>
                                                        <p:cNvSpPr/>
                                                        <p:nvPr/>
                                                      </p:nvSpPr>
                                                      <p:spPr>
                                                        <a:xfrm>
                                                          <a:off x="5334935" y="5912441"/>
                                                          <a:ext cx="53293" cy="39574"/>
                                                        </a:xfrm>
                                                        <a:custGeom>
                                                          <a:avLst/>
                                                          <a:gdLst>
                                                            <a:gd name="connsiteX0" fmla="*/ 33659 w 53293"/>
                                                            <a:gd name="connsiteY0" fmla="*/ 305 h 39574"/>
                                                            <a:gd name="connsiteX1" fmla="*/ 33659 w 53293"/>
                                                            <a:gd name="connsiteY1" fmla="*/ 305 h 39574"/>
                                                            <a:gd name="connsiteX2" fmla="*/ 11220 w 53293"/>
                                                            <a:gd name="connsiteY2" fmla="*/ 11525 h 39574"/>
                                                            <a:gd name="connsiteX3" fmla="*/ 2805 w 53293"/>
                                                            <a:gd name="connsiteY3" fmla="*/ 14330 h 39574"/>
                                                            <a:gd name="connsiteX4" fmla="*/ 0 w 53293"/>
                                                            <a:gd name="connsiteY4" fmla="*/ 22744 h 39574"/>
                                                            <a:gd name="connsiteX5" fmla="*/ 2805 w 53293"/>
                                                            <a:gd name="connsiteY5" fmla="*/ 31159 h 39574"/>
                                                            <a:gd name="connsiteX6" fmla="*/ 33659 w 53293"/>
                                                            <a:gd name="connsiteY6" fmla="*/ 39574 h 39574"/>
                                                            <a:gd name="connsiteX7" fmla="*/ 44878 w 53293"/>
                                                            <a:gd name="connsiteY7" fmla="*/ 17134 h 39574"/>
                                                            <a:gd name="connsiteX8" fmla="*/ 53293 w 53293"/>
                                                            <a:gd name="connsiteY8" fmla="*/ 11525 h 39574"/>
                                                            <a:gd name="connsiteX9" fmla="*/ 36464 w 53293"/>
                                                            <a:gd name="connsiteY9" fmla="*/ 305 h 39574"/>
                                                            <a:gd name="connsiteX10" fmla="*/ 33659 w 53293"/>
                                                            <a:gd name="connsiteY10" fmla="*/ 305 h 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93" h="39574">
                                                              <a:moveTo>
                                                                <a:pt x="33659" y="305"/>
                                                              </a:moveTo>
                                                              <a:lnTo>
                                                                <a:pt x="33659" y="305"/>
                                                              </a:lnTo>
                                                              <a:cubicBezTo>
                                                                <a:pt x="26179" y="4045"/>
                                                                <a:pt x="18833" y="8064"/>
                                                                <a:pt x="11220" y="11525"/>
                                                              </a:cubicBezTo>
                                                              <a:cubicBezTo>
                                                                <a:pt x="8528" y="12749"/>
                                                                <a:pt x="4896" y="12239"/>
                                                                <a:pt x="2805" y="14330"/>
                                                              </a:cubicBezTo>
                                                              <a:cubicBezTo>
                                                                <a:pt x="714" y="16420"/>
                                                                <a:pt x="935" y="19939"/>
                                                                <a:pt x="0" y="22744"/>
                                                              </a:cubicBezTo>
                                                              <a:cubicBezTo>
                                                                <a:pt x="935" y="25549"/>
                                                                <a:pt x="399" y="29440"/>
                                                                <a:pt x="2805" y="31159"/>
                                                              </a:cubicBezTo>
                                                              <a:cubicBezTo>
                                                                <a:pt x="8341" y="35114"/>
                                                                <a:pt x="26587" y="38160"/>
                                                                <a:pt x="33659" y="39574"/>
                                                              </a:cubicBezTo>
                                                              <a:cubicBezTo>
                                                                <a:pt x="51919" y="33487"/>
                                                                <a:pt x="33668" y="42359"/>
                                                                <a:pt x="44878" y="17134"/>
                                                              </a:cubicBezTo>
                                                              <a:cubicBezTo>
                                                                <a:pt x="46247" y="14054"/>
                                                                <a:pt x="50488" y="13395"/>
                                                                <a:pt x="53293" y="11525"/>
                                                              </a:cubicBezTo>
                                                              <a:cubicBezTo>
                                                                <a:pt x="47683" y="7785"/>
                                                                <a:pt x="42860" y="-1827"/>
                                                                <a:pt x="36464" y="305"/>
                                                              </a:cubicBezTo>
                                                              <a:lnTo>
                                                                <a:pt x="33659" y="305"/>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4" name="Freeform 223"/>
                                                      <p:cNvSpPr/>
                                                      <p:nvPr/>
                                                    </p:nvSpPr>
                                                    <p:spPr>
                                                      <a:xfrm>
                                                        <a:off x="4678587" y="6231893"/>
                                                        <a:ext cx="58903" cy="62557"/>
                                                      </a:xfrm>
                                                      <a:custGeom>
                                                        <a:avLst/>
                                                        <a:gdLst>
                                                          <a:gd name="connsiteX0" fmla="*/ 56098 w 58903"/>
                                                          <a:gd name="connsiteY0" fmla="*/ 45491 h 62557"/>
                                                          <a:gd name="connsiteX1" fmla="*/ 56098 w 58903"/>
                                                          <a:gd name="connsiteY1" fmla="*/ 45491 h 62557"/>
                                                          <a:gd name="connsiteX2" fmla="*/ 36463 w 58903"/>
                                                          <a:gd name="connsiteY2" fmla="*/ 28662 h 62557"/>
                                                          <a:gd name="connsiteX3" fmla="*/ 25244 w 58903"/>
                                                          <a:gd name="connsiteY3" fmla="*/ 17442 h 62557"/>
                                                          <a:gd name="connsiteX4" fmla="*/ 22439 w 58903"/>
                                                          <a:gd name="connsiteY4" fmla="*/ 613 h 62557"/>
                                                          <a:gd name="connsiteX5" fmla="*/ 14024 w 58903"/>
                                                          <a:gd name="connsiteY5" fmla="*/ 6222 h 62557"/>
                                                          <a:gd name="connsiteX6" fmla="*/ 0 w 58903"/>
                                                          <a:gd name="connsiteY6" fmla="*/ 28662 h 62557"/>
                                                          <a:gd name="connsiteX7" fmla="*/ 22439 w 58903"/>
                                                          <a:gd name="connsiteY7" fmla="*/ 39881 h 62557"/>
                                                          <a:gd name="connsiteX8" fmla="*/ 28049 w 58903"/>
                                                          <a:gd name="connsiteY8" fmla="*/ 48296 h 62557"/>
                                                          <a:gd name="connsiteX9" fmla="*/ 30853 w 58903"/>
                                                          <a:gd name="connsiteY9" fmla="*/ 59516 h 62557"/>
                                                          <a:gd name="connsiteX10" fmla="*/ 47683 w 58903"/>
                                                          <a:gd name="connsiteY10" fmla="*/ 59516 h 62557"/>
                                                          <a:gd name="connsiteX11" fmla="*/ 58903 w 58903"/>
                                                          <a:gd name="connsiteY11" fmla="*/ 56711 h 62557"/>
                                                          <a:gd name="connsiteX12" fmla="*/ 56098 w 58903"/>
                                                          <a:gd name="connsiteY12" fmla="*/ 45491 h 62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03" h="62557">
                                                            <a:moveTo>
                                                              <a:pt x="56098" y="45491"/>
                                                            </a:moveTo>
                                                            <a:lnTo>
                                                              <a:pt x="56098" y="45491"/>
                                                            </a:lnTo>
                                                            <a:cubicBezTo>
                                                              <a:pt x="49553" y="39881"/>
                                                              <a:pt x="42190" y="35105"/>
                                                              <a:pt x="36463" y="28662"/>
                                                            </a:cubicBezTo>
                                                            <a:cubicBezTo>
                                                              <a:pt x="23864" y="14489"/>
                                                              <a:pt x="45321" y="24135"/>
                                                              <a:pt x="25244" y="17442"/>
                                                            </a:cubicBezTo>
                                                            <a:cubicBezTo>
                                                              <a:pt x="24309" y="11832"/>
                                                              <a:pt x="26460" y="4634"/>
                                                              <a:pt x="22439" y="613"/>
                                                            </a:cubicBezTo>
                                                            <a:cubicBezTo>
                                                              <a:pt x="20055" y="-1771"/>
                                                              <a:pt x="15811" y="3363"/>
                                                              <a:pt x="14024" y="6222"/>
                                                            </a:cubicBezTo>
                                                            <a:cubicBezTo>
                                                              <a:pt x="-2668" y="32928"/>
                                                              <a:pt x="19044" y="15965"/>
                                                              <a:pt x="0" y="28662"/>
                                                            </a:cubicBezTo>
                                                            <a:cubicBezTo>
                                                              <a:pt x="6085" y="46920"/>
                                                              <a:pt x="-2784" y="28671"/>
                                                              <a:pt x="22439" y="39881"/>
                                                            </a:cubicBezTo>
                                                            <a:cubicBezTo>
                                                              <a:pt x="25520" y="41250"/>
                                                              <a:pt x="26179" y="45491"/>
                                                              <a:pt x="28049" y="48296"/>
                                                            </a:cubicBezTo>
                                                            <a:cubicBezTo>
                                                              <a:pt x="28984" y="52036"/>
                                                              <a:pt x="28445" y="56506"/>
                                                              <a:pt x="30853" y="59516"/>
                                                            </a:cubicBezTo>
                                                            <a:cubicBezTo>
                                                              <a:pt x="35722" y="65602"/>
                                                              <a:pt x="42814" y="60907"/>
                                                              <a:pt x="47683" y="59516"/>
                                                            </a:cubicBezTo>
                                                            <a:cubicBezTo>
                                                              <a:pt x="51390" y="58457"/>
                                                              <a:pt x="55163" y="57646"/>
                                                              <a:pt x="58903" y="56711"/>
                                                            </a:cubicBezTo>
                                                            <a:cubicBezTo>
                                                              <a:pt x="48505" y="53245"/>
                                                              <a:pt x="56566" y="47361"/>
                                                              <a:pt x="56098" y="4549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2" name="Freeform 221"/>
                                                    <p:cNvSpPr/>
                                                    <p:nvPr/>
                                                  </p:nvSpPr>
                                                  <p:spPr>
                                                    <a:xfrm>
                                                      <a:off x="4726150" y="6319458"/>
                                                      <a:ext cx="37321" cy="42073"/>
                                                    </a:xfrm>
                                                    <a:custGeom>
                                                      <a:avLst/>
                                                      <a:gdLst>
                                                        <a:gd name="connsiteX0" fmla="*/ 2925 w 37321"/>
                                                        <a:gd name="connsiteY0" fmla="*/ 0 h 42073"/>
                                                        <a:gd name="connsiteX1" fmla="*/ 2925 w 37321"/>
                                                        <a:gd name="connsiteY1" fmla="*/ 0 h 42073"/>
                                                        <a:gd name="connsiteX2" fmla="*/ 120 w 37321"/>
                                                        <a:gd name="connsiteY2" fmla="*/ 25244 h 42073"/>
                                                        <a:gd name="connsiteX3" fmla="*/ 5730 w 37321"/>
                                                        <a:gd name="connsiteY3" fmla="*/ 33659 h 42073"/>
                                                        <a:gd name="connsiteX4" fmla="*/ 22559 w 37321"/>
                                                        <a:gd name="connsiteY4" fmla="*/ 42073 h 42073"/>
                                                        <a:gd name="connsiteX5" fmla="*/ 36584 w 37321"/>
                                                        <a:gd name="connsiteY5" fmla="*/ 39268 h 42073"/>
                                                        <a:gd name="connsiteX6" fmla="*/ 33779 w 37321"/>
                                                        <a:gd name="connsiteY6" fmla="*/ 30854 h 42073"/>
                                                        <a:gd name="connsiteX7" fmla="*/ 25364 w 37321"/>
                                                        <a:gd name="connsiteY7" fmla="*/ 28049 h 42073"/>
                                                        <a:gd name="connsiteX8" fmla="*/ 11340 w 37321"/>
                                                        <a:gd name="connsiteY8" fmla="*/ 25244 h 42073"/>
                                                        <a:gd name="connsiteX9" fmla="*/ 2925 w 37321"/>
                                                        <a:gd name="connsiteY9" fmla="*/ 0 h 4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21" h="42073">
                                                          <a:moveTo>
                                                            <a:pt x="2925" y="0"/>
                                                          </a:moveTo>
                                                          <a:lnTo>
                                                            <a:pt x="2925" y="0"/>
                                                          </a:lnTo>
                                                          <a:cubicBezTo>
                                                            <a:pt x="1990" y="8415"/>
                                                            <a:pt x="-583" y="16807"/>
                                                            <a:pt x="120" y="25244"/>
                                                          </a:cubicBezTo>
                                                          <a:cubicBezTo>
                                                            <a:pt x="400" y="28604"/>
                                                            <a:pt x="3346" y="31275"/>
                                                            <a:pt x="5730" y="33659"/>
                                                          </a:cubicBezTo>
                                                          <a:cubicBezTo>
                                                            <a:pt x="11166" y="39095"/>
                                                            <a:pt x="15716" y="39792"/>
                                                            <a:pt x="22559" y="42073"/>
                                                          </a:cubicBezTo>
                                                          <a:cubicBezTo>
                                                            <a:pt x="27234" y="41138"/>
                                                            <a:pt x="33213" y="42639"/>
                                                            <a:pt x="36584" y="39268"/>
                                                          </a:cubicBezTo>
                                                          <a:cubicBezTo>
                                                            <a:pt x="38675" y="37178"/>
                                                            <a:pt x="35870" y="32944"/>
                                                            <a:pt x="33779" y="30854"/>
                                                          </a:cubicBezTo>
                                                          <a:cubicBezTo>
                                                            <a:pt x="31688" y="28763"/>
                                                            <a:pt x="28232" y="28766"/>
                                                            <a:pt x="25364" y="28049"/>
                                                          </a:cubicBezTo>
                                                          <a:cubicBezTo>
                                                            <a:pt x="20739" y="26893"/>
                                                            <a:pt x="16015" y="26179"/>
                                                            <a:pt x="11340" y="25244"/>
                                                          </a:cubicBezTo>
                                                          <a:lnTo>
                                                            <a:pt x="2925"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0" name="Freeform 219"/>
                                                  <p:cNvSpPr/>
                                                  <p:nvPr/>
                                                </p:nvSpPr>
                                                <p:spPr>
                                                  <a:xfrm>
                                                    <a:off x="5466558" y="6019333"/>
                                                    <a:ext cx="87440" cy="75732"/>
                                                  </a:xfrm>
                                                  <a:custGeom>
                                                    <a:avLst/>
                                                    <a:gdLst>
                                                      <a:gd name="connsiteX0" fmla="*/ 59111 w 87440"/>
                                                      <a:gd name="connsiteY0" fmla="*/ 0 h 75732"/>
                                                      <a:gd name="connsiteX1" fmla="*/ 59111 w 87440"/>
                                                      <a:gd name="connsiteY1" fmla="*/ 0 h 75732"/>
                                                      <a:gd name="connsiteX2" fmla="*/ 22647 w 87440"/>
                                                      <a:gd name="connsiteY2" fmla="*/ 11219 h 75732"/>
                                                      <a:gd name="connsiteX3" fmla="*/ 5817 w 87440"/>
                                                      <a:gd name="connsiteY3" fmla="*/ 22439 h 75732"/>
                                                      <a:gd name="connsiteX4" fmla="*/ 208 w 87440"/>
                                                      <a:gd name="connsiteY4" fmla="*/ 30854 h 75732"/>
                                                      <a:gd name="connsiteX5" fmla="*/ 8622 w 87440"/>
                                                      <a:gd name="connsiteY5" fmla="*/ 53293 h 75732"/>
                                                      <a:gd name="connsiteX6" fmla="*/ 25452 w 87440"/>
                                                      <a:gd name="connsiteY6" fmla="*/ 50488 h 75732"/>
                                                      <a:gd name="connsiteX7" fmla="*/ 33867 w 87440"/>
                                                      <a:gd name="connsiteY7" fmla="*/ 47683 h 75732"/>
                                                      <a:gd name="connsiteX8" fmla="*/ 39476 w 87440"/>
                                                      <a:gd name="connsiteY8" fmla="*/ 56098 h 75732"/>
                                                      <a:gd name="connsiteX9" fmla="*/ 42281 w 87440"/>
                                                      <a:gd name="connsiteY9" fmla="*/ 70122 h 75732"/>
                                                      <a:gd name="connsiteX10" fmla="*/ 50696 w 87440"/>
                                                      <a:gd name="connsiteY10" fmla="*/ 72927 h 75732"/>
                                                      <a:gd name="connsiteX11" fmla="*/ 64721 w 87440"/>
                                                      <a:gd name="connsiteY11" fmla="*/ 75732 h 75732"/>
                                                      <a:gd name="connsiteX12" fmla="*/ 87160 w 87440"/>
                                                      <a:gd name="connsiteY12" fmla="*/ 64512 h 75732"/>
                                                      <a:gd name="connsiteX13" fmla="*/ 84355 w 87440"/>
                                                      <a:gd name="connsiteY13" fmla="*/ 56098 h 75732"/>
                                                      <a:gd name="connsiteX14" fmla="*/ 87160 w 87440"/>
                                                      <a:gd name="connsiteY14" fmla="*/ 44878 h 75732"/>
                                                      <a:gd name="connsiteX15" fmla="*/ 78745 w 87440"/>
                                                      <a:gd name="connsiteY15" fmla="*/ 39268 h 75732"/>
                                                      <a:gd name="connsiteX16" fmla="*/ 67525 w 87440"/>
                                                      <a:gd name="connsiteY16" fmla="*/ 30854 h 75732"/>
                                                      <a:gd name="connsiteX17" fmla="*/ 61916 w 87440"/>
                                                      <a:gd name="connsiteY17" fmla="*/ 22439 h 75732"/>
                                                      <a:gd name="connsiteX18" fmla="*/ 59111 w 87440"/>
                                                      <a:gd name="connsiteY18" fmla="*/ 14024 h 75732"/>
                                                      <a:gd name="connsiteX19" fmla="*/ 59111 w 87440"/>
                                                      <a:gd name="connsiteY19" fmla="*/ 0 h 7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440" h="75732">
                                                        <a:moveTo>
                                                          <a:pt x="59111" y="0"/>
                                                        </a:moveTo>
                                                        <a:lnTo>
                                                          <a:pt x="59111" y="0"/>
                                                        </a:lnTo>
                                                        <a:cubicBezTo>
                                                          <a:pt x="40114" y="4221"/>
                                                          <a:pt x="36566" y="2867"/>
                                                          <a:pt x="22647" y="11219"/>
                                                        </a:cubicBezTo>
                                                        <a:cubicBezTo>
                                                          <a:pt x="16865" y="14688"/>
                                                          <a:pt x="5817" y="22439"/>
                                                          <a:pt x="5817" y="22439"/>
                                                        </a:cubicBezTo>
                                                        <a:cubicBezTo>
                                                          <a:pt x="3947" y="25244"/>
                                                          <a:pt x="626" y="27509"/>
                                                          <a:pt x="208" y="30854"/>
                                                        </a:cubicBezTo>
                                                        <a:cubicBezTo>
                                                          <a:pt x="-1068" y="41068"/>
                                                          <a:pt x="3722" y="45942"/>
                                                          <a:pt x="8622" y="53293"/>
                                                        </a:cubicBezTo>
                                                        <a:cubicBezTo>
                                                          <a:pt x="14232" y="52358"/>
                                                          <a:pt x="19900" y="51722"/>
                                                          <a:pt x="25452" y="50488"/>
                                                        </a:cubicBezTo>
                                                        <a:cubicBezTo>
                                                          <a:pt x="28338" y="49847"/>
                                                          <a:pt x="31122" y="46585"/>
                                                          <a:pt x="33867" y="47683"/>
                                                        </a:cubicBezTo>
                                                        <a:cubicBezTo>
                                                          <a:pt x="36997" y="48935"/>
                                                          <a:pt x="37606" y="53293"/>
                                                          <a:pt x="39476" y="56098"/>
                                                        </a:cubicBezTo>
                                                        <a:cubicBezTo>
                                                          <a:pt x="40411" y="60773"/>
                                                          <a:pt x="39636" y="66155"/>
                                                          <a:pt x="42281" y="70122"/>
                                                        </a:cubicBezTo>
                                                        <a:cubicBezTo>
                                                          <a:pt x="43921" y="72582"/>
                                                          <a:pt x="47828" y="72210"/>
                                                          <a:pt x="50696" y="72927"/>
                                                        </a:cubicBezTo>
                                                        <a:cubicBezTo>
                                                          <a:pt x="55321" y="74083"/>
                                                          <a:pt x="60046" y="74797"/>
                                                          <a:pt x="64721" y="75732"/>
                                                        </a:cubicBezTo>
                                                        <a:cubicBezTo>
                                                          <a:pt x="76336" y="74073"/>
                                                          <a:pt x="87160" y="78499"/>
                                                          <a:pt x="87160" y="64512"/>
                                                        </a:cubicBezTo>
                                                        <a:cubicBezTo>
                                                          <a:pt x="87160" y="61556"/>
                                                          <a:pt x="85290" y="58903"/>
                                                          <a:pt x="84355" y="56098"/>
                                                        </a:cubicBezTo>
                                                        <a:cubicBezTo>
                                                          <a:pt x="85290" y="52358"/>
                                                          <a:pt x="88379" y="48535"/>
                                                          <a:pt x="87160" y="44878"/>
                                                        </a:cubicBezTo>
                                                        <a:cubicBezTo>
                                                          <a:pt x="86094" y="41680"/>
                                                          <a:pt x="81488" y="41227"/>
                                                          <a:pt x="78745" y="39268"/>
                                                        </a:cubicBezTo>
                                                        <a:cubicBezTo>
                                                          <a:pt x="74941" y="36551"/>
                                                          <a:pt x="71265" y="33659"/>
                                                          <a:pt x="67525" y="30854"/>
                                                        </a:cubicBezTo>
                                                        <a:cubicBezTo>
                                                          <a:pt x="65655" y="28049"/>
                                                          <a:pt x="63423" y="25454"/>
                                                          <a:pt x="61916" y="22439"/>
                                                        </a:cubicBezTo>
                                                        <a:cubicBezTo>
                                                          <a:pt x="60594" y="19794"/>
                                                          <a:pt x="61646" y="15545"/>
                                                          <a:pt x="59111" y="14024"/>
                                                        </a:cubicBezTo>
                                                        <a:cubicBezTo>
                                                          <a:pt x="55904" y="12100"/>
                                                          <a:pt x="59111" y="2337"/>
                                                          <a:pt x="59111"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18" name="Freeform 217"/>
                                                <p:cNvSpPr/>
                                                <p:nvPr/>
                                              </p:nvSpPr>
                                              <p:spPr>
                                                <a:xfrm>
                                                  <a:off x="5161108" y="6728974"/>
                                                  <a:ext cx="415049" cy="106587"/>
                                                </a:xfrm>
                                                <a:custGeom>
                                                  <a:avLst/>
                                                  <a:gdLst>
                                                    <a:gd name="connsiteX0" fmla="*/ 92485 w 415049"/>
                                                    <a:gd name="connsiteY0" fmla="*/ 2805 h 106587"/>
                                                    <a:gd name="connsiteX1" fmla="*/ 92485 w 415049"/>
                                                    <a:gd name="connsiteY1" fmla="*/ 2805 h 106587"/>
                                                    <a:gd name="connsiteX2" fmla="*/ 70045 w 415049"/>
                                                    <a:gd name="connsiteY2" fmla="*/ 16830 h 106587"/>
                                                    <a:gd name="connsiteX3" fmla="*/ 53216 w 415049"/>
                                                    <a:gd name="connsiteY3" fmla="*/ 22439 h 106587"/>
                                                    <a:gd name="connsiteX4" fmla="*/ 36386 w 415049"/>
                                                    <a:gd name="connsiteY4" fmla="*/ 19635 h 106587"/>
                                                    <a:gd name="connsiteX5" fmla="*/ 30777 w 415049"/>
                                                    <a:gd name="connsiteY5" fmla="*/ 2805 h 106587"/>
                                                    <a:gd name="connsiteX6" fmla="*/ 22362 w 415049"/>
                                                    <a:gd name="connsiteY6" fmla="*/ 0 h 106587"/>
                                                    <a:gd name="connsiteX7" fmla="*/ 11142 w 415049"/>
                                                    <a:gd name="connsiteY7" fmla="*/ 16830 h 106587"/>
                                                    <a:gd name="connsiteX8" fmla="*/ 2728 w 415049"/>
                                                    <a:gd name="connsiteY8" fmla="*/ 22439 h 106587"/>
                                                    <a:gd name="connsiteX9" fmla="*/ 5532 w 415049"/>
                                                    <a:gd name="connsiteY9" fmla="*/ 61708 h 106587"/>
                                                    <a:gd name="connsiteX10" fmla="*/ 70045 w 415049"/>
                                                    <a:gd name="connsiteY10" fmla="*/ 64513 h 106587"/>
                                                    <a:gd name="connsiteX11" fmla="*/ 86875 w 415049"/>
                                                    <a:gd name="connsiteY11" fmla="*/ 72928 h 106587"/>
                                                    <a:gd name="connsiteX12" fmla="*/ 95290 w 415049"/>
                                                    <a:gd name="connsiteY12" fmla="*/ 75733 h 106587"/>
                                                    <a:gd name="connsiteX13" fmla="*/ 142973 w 415049"/>
                                                    <a:gd name="connsiteY13" fmla="*/ 75733 h 106587"/>
                                                    <a:gd name="connsiteX14" fmla="*/ 159802 w 415049"/>
                                                    <a:gd name="connsiteY14" fmla="*/ 86952 h 106587"/>
                                                    <a:gd name="connsiteX15" fmla="*/ 165412 w 415049"/>
                                                    <a:gd name="connsiteY15" fmla="*/ 95367 h 106587"/>
                                                    <a:gd name="connsiteX16" fmla="*/ 173827 w 415049"/>
                                                    <a:gd name="connsiteY16" fmla="*/ 98172 h 106587"/>
                                                    <a:gd name="connsiteX17" fmla="*/ 190656 w 415049"/>
                                                    <a:gd name="connsiteY17" fmla="*/ 106587 h 106587"/>
                                                    <a:gd name="connsiteX18" fmla="*/ 232730 w 415049"/>
                                                    <a:gd name="connsiteY18" fmla="*/ 98172 h 106587"/>
                                                    <a:gd name="connsiteX19" fmla="*/ 249559 w 415049"/>
                                                    <a:gd name="connsiteY19" fmla="*/ 89757 h 106587"/>
                                                    <a:gd name="connsiteX20" fmla="*/ 257974 w 415049"/>
                                                    <a:gd name="connsiteY20" fmla="*/ 84147 h 106587"/>
                                                    <a:gd name="connsiteX21" fmla="*/ 347731 w 415049"/>
                                                    <a:gd name="connsiteY21" fmla="*/ 81343 h 106587"/>
                                                    <a:gd name="connsiteX22" fmla="*/ 403829 w 415049"/>
                                                    <a:gd name="connsiteY22" fmla="*/ 75733 h 106587"/>
                                                    <a:gd name="connsiteX23" fmla="*/ 409439 w 415049"/>
                                                    <a:gd name="connsiteY23" fmla="*/ 64513 h 106587"/>
                                                    <a:gd name="connsiteX24" fmla="*/ 415049 w 415049"/>
                                                    <a:gd name="connsiteY24" fmla="*/ 47684 h 106587"/>
                                                    <a:gd name="connsiteX25" fmla="*/ 412244 w 415049"/>
                                                    <a:gd name="connsiteY25" fmla="*/ 33659 h 106587"/>
                                                    <a:gd name="connsiteX26" fmla="*/ 395415 w 415049"/>
                                                    <a:gd name="connsiteY26" fmla="*/ 33659 h 106587"/>
                                                    <a:gd name="connsiteX27" fmla="*/ 387000 w 415049"/>
                                                    <a:gd name="connsiteY27" fmla="*/ 39269 h 106587"/>
                                                    <a:gd name="connsiteX28" fmla="*/ 370171 w 415049"/>
                                                    <a:gd name="connsiteY28" fmla="*/ 53293 h 106587"/>
                                                    <a:gd name="connsiteX29" fmla="*/ 361756 w 415049"/>
                                                    <a:gd name="connsiteY29" fmla="*/ 56098 h 106587"/>
                                                    <a:gd name="connsiteX30" fmla="*/ 330902 w 415049"/>
                                                    <a:gd name="connsiteY30" fmla="*/ 64513 h 106587"/>
                                                    <a:gd name="connsiteX31" fmla="*/ 319682 w 415049"/>
                                                    <a:gd name="connsiteY31" fmla="*/ 58903 h 106587"/>
                                                    <a:gd name="connsiteX32" fmla="*/ 316877 w 415049"/>
                                                    <a:gd name="connsiteY32" fmla="*/ 50489 h 106587"/>
                                                    <a:gd name="connsiteX33" fmla="*/ 314072 w 415049"/>
                                                    <a:gd name="connsiteY33" fmla="*/ 30854 h 106587"/>
                                                    <a:gd name="connsiteX34" fmla="*/ 305658 w 415049"/>
                                                    <a:gd name="connsiteY34" fmla="*/ 28049 h 106587"/>
                                                    <a:gd name="connsiteX35" fmla="*/ 280413 w 415049"/>
                                                    <a:gd name="connsiteY35" fmla="*/ 39269 h 106587"/>
                                                    <a:gd name="connsiteX36" fmla="*/ 269194 w 415049"/>
                                                    <a:gd name="connsiteY36" fmla="*/ 42074 h 106587"/>
                                                    <a:gd name="connsiteX37" fmla="*/ 260779 w 415049"/>
                                                    <a:gd name="connsiteY37" fmla="*/ 44879 h 106587"/>
                                                    <a:gd name="connsiteX38" fmla="*/ 227120 w 415049"/>
                                                    <a:gd name="connsiteY38" fmla="*/ 36464 h 106587"/>
                                                    <a:gd name="connsiteX39" fmla="*/ 215901 w 415049"/>
                                                    <a:gd name="connsiteY39" fmla="*/ 33659 h 106587"/>
                                                    <a:gd name="connsiteX40" fmla="*/ 199071 w 415049"/>
                                                    <a:gd name="connsiteY40" fmla="*/ 28049 h 106587"/>
                                                    <a:gd name="connsiteX41" fmla="*/ 173827 w 415049"/>
                                                    <a:gd name="connsiteY41" fmla="*/ 36464 h 106587"/>
                                                    <a:gd name="connsiteX42" fmla="*/ 156998 w 415049"/>
                                                    <a:gd name="connsiteY42" fmla="*/ 42074 h 106587"/>
                                                    <a:gd name="connsiteX43" fmla="*/ 148583 w 415049"/>
                                                    <a:gd name="connsiteY43" fmla="*/ 44879 h 106587"/>
                                                    <a:gd name="connsiteX44" fmla="*/ 106509 w 415049"/>
                                                    <a:gd name="connsiteY44" fmla="*/ 42074 h 106587"/>
                                                    <a:gd name="connsiteX45" fmla="*/ 95290 w 415049"/>
                                                    <a:gd name="connsiteY45" fmla="*/ 36464 h 106587"/>
                                                    <a:gd name="connsiteX46" fmla="*/ 78460 w 415049"/>
                                                    <a:gd name="connsiteY46" fmla="*/ 30854 h 106587"/>
                                                    <a:gd name="connsiteX47" fmla="*/ 92485 w 415049"/>
                                                    <a:gd name="connsiteY47" fmla="*/ 2805 h 1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5049" h="106587">
                                                      <a:moveTo>
                                                        <a:pt x="92485" y="2805"/>
                                                      </a:moveTo>
                                                      <a:lnTo>
                                                        <a:pt x="92485" y="2805"/>
                                                      </a:lnTo>
                                                      <a:cubicBezTo>
                                                        <a:pt x="85005" y="7480"/>
                                                        <a:pt x="77935" y="12885"/>
                                                        <a:pt x="70045" y="16830"/>
                                                      </a:cubicBezTo>
                                                      <a:cubicBezTo>
                                                        <a:pt x="64756" y="19474"/>
                                                        <a:pt x="53216" y="22439"/>
                                                        <a:pt x="53216" y="22439"/>
                                                      </a:cubicBezTo>
                                                      <a:cubicBezTo>
                                                        <a:pt x="47606" y="21504"/>
                                                        <a:pt x="40666" y="23380"/>
                                                        <a:pt x="36386" y="19635"/>
                                                      </a:cubicBezTo>
                                                      <a:cubicBezTo>
                                                        <a:pt x="31936" y="15741"/>
                                                        <a:pt x="36387" y="4675"/>
                                                        <a:pt x="30777" y="2805"/>
                                                      </a:cubicBezTo>
                                                      <a:lnTo>
                                                        <a:pt x="22362" y="0"/>
                                                      </a:lnTo>
                                                      <a:cubicBezTo>
                                                        <a:pt x="4609" y="5918"/>
                                                        <a:pt x="22292" y="-2683"/>
                                                        <a:pt x="11142" y="16830"/>
                                                      </a:cubicBezTo>
                                                      <a:cubicBezTo>
                                                        <a:pt x="9470" y="19757"/>
                                                        <a:pt x="5533" y="20569"/>
                                                        <a:pt x="2728" y="22439"/>
                                                      </a:cubicBezTo>
                                                      <a:cubicBezTo>
                                                        <a:pt x="3663" y="35529"/>
                                                        <a:pt x="-5596" y="54753"/>
                                                        <a:pt x="5532" y="61708"/>
                                                      </a:cubicBezTo>
                                                      <a:cubicBezTo>
                                                        <a:pt x="23785" y="73116"/>
                                                        <a:pt x="48584" y="62862"/>
                                                        <a:pt x="70045" y="64513"/>
                                                      </a:cubicBezTo>
                                                      <a:cubicBezTo>
                                                        <a:pt x="78377" y="65154"/>
                                                        <a:pt x="79741" y="69361"/>
                                                        <a:pt x="86875" y="72928"/>
                                                      </a:cubicBezTo>
                                                      <a:cubicBezTo>
                                                        <a:pt x="89520" y="74250"/>
                                                        <a:pt x="92485" y="74798"/>
                                                        <a:pt x="95290" y="75733"/>
                                                      </a:cubicBezTo>
                                                      <a:cubicBezTo>
                                                        <a:pt x="107646" y="74610"/>
                                                        <a:pt x="129263" y="70021"/>
                                                        <a:pt x="142973" y="75733"/>
                                                      </a:cubicBezTo>
                                                      <a:cubicBezTo>
                                                        <a:pt x="149196" y="78326"/>
                                                        <a:pt x="159802" y="86952"/>
                                                        <a:pt x="159802" y="86952"/>
                                                      </a:cubicBezTo>
                                                      <a:cubicBezTo>
                                                        <a:pt x="161672" y="89757"/>
                                                        <a:pt x="162780" y="93261"/>
                                                        <a:pt x="165412" y="95367"/>
                                                      </a:cubicBezTo>
                                                      <a:cubicBezTo>
                                                        <a:pt x="167721" y="97214"/>
                                                        <a:pt x="171182" y="96850"/>
                                                        <a:pt x="173827" y="98172"/>
                                                      </a:cubicBezTo>
                                                      <a:cubicBezTo>
                                                        <a:pt x="195579" y="109048"/>
                                                        <a:pt x="169505" y="99536"/>
                                                        <a:pt x="190656" y="106587"/>
                                                      </a:cubicBezTo>
                                                      <a:cubicBezTo>
                                                        <a:pt x="200421" y="105502"/>
                                                        <a:pt x="222785" y="104802"/>
                                                        <a:pt x="232730" y="98172"/>
                                                      </a:cubicBezTo>
                                                      <a:cubicBezTo>
                                                        <a:pt x="256848" y="82093"/>
                                                        <a:pt x="226333" y="101371"/>
                                                        <a:pt x="249559" y="89757"/>
                                                      </a:cubicBezTo>
                                                      <a:cubicBezTo>
                                                        <a:pt x="252574" y="88249"/>
                                                        <a:pt x="254615" y="84435"/>
                                                        <a:pt x="257974" y="84147"/>
                                                      </a:cubicBezTo>
                                                      <a:cubicBezTo>
                                                        <a:pt x="287798" y="81591"/>
                                                        <a:pt x="317812" y="82278"/>
                                                        <a:pt x="347731" y="81343"/>
                                                      </a:cubicBezTo>
                                                      <a:cubicBezTo>
                                                        <a:pt x="366430" y="79473"/>
                                                        <a:pt x="385699" y="80678"/>
                                                        <a:pt x="403829" y="75733"/>
                                                      </a:cubicBezTo>
                                                      <a:cubicBezTo>
                                                        <a:pt x="407863" y="74633"/>
                                                        <a:pt x="407886" y="68395"/>
                                                        <a:pt x="409439" y="64513"/>
                                                      </a:cubicBezTo>
                                                      <a:cubicBezTo>
                                                        <a:pt x="411635" y="59023"/>
                                                        <a:pt x="415049" y="47684"/>
                                                        <a:pt x="415049" y="47684"/>
                                                      </a:cubicBezTo>
                                                      <a:cubicBezTo>
                                                        <a:pt x="414114" y="43009"/>
                                                        <a:pt x="414889" y="37626"/>
                                                        <a:pt x="412244" y="33659"/>
                                                      </a:cubicBezTo>
                                                      <a:cubicBezTo>
                                                        <a:pt x="408504" y="28049"/>
                                                        <a:pt x="399155" y="31789"/>
                                                        <a:pt x="395415" y="33659"/>
                                                      </a:cubicBezTo>
                                                      <a:cubicBezTo>
                                                        <a:pt x="392400" y="35167"/>
                                                        <a:pt x="389590" y="37111"/>
                                                        <a:pt x="387000" y="39269"/>
                                                      </a:cubicBezTo>
                                                      <a:cubicBezTo>
                                                        <a:pt x="377695" y="47023"/>
                                                        <a:pt x="380617" y="48070"/>
                                                        <a:pt x="370171" y="53293"/>
                                                      </a:cubicBezTo>
                                                      <a:cubicBezTo>
                                                        <a:pt x="367526" y="54615"/>
                                                        <a:pt x="364609" y="55320"/>
                                                        <a:pt x="361756" y="56098"/>
                                                      </a:cubicBezTo>
                                                      <a:cubicBezTo>
                                                        <a:pt x="326958" y="65589"/>
                                                        <a:pt x="350271" y="58057"/>
                                                        <a:pt x="330902" y="64513"/>
                                                      </a:cubicBezTo>
                                                      <a:cubicBezTo>
                                                        <a:pt x="327162" y="62643"/>
                                                        <a:pt x="322639" y="61860"/>
                                                        <a:pt x="319682" y="58903"/>
                                                      </a:cubicBezTo>
                                                      <a:cubicBezTo>
                                                        <a:pt x="317591" y="56813"/>
                                                        <a:pt x="317457" y="53388"/>
                                                        <a:pt x="316877" y="50489"/>
                                                      </a:cubicBezTo>
                                                      <a:cubicBezTo>
                                                        <a:pt x="315580" y="44006"/>
                                                        <a:pt x="317029" y="36768"/>
                                                        <a:pt x="314072" y="30854"/>
                                                      </a:cubicBezTo>
                                                      <a:cubicBezTo>
                                                        <a:pt x="312750" y="28210"/>
                                                        <a:pt x="308463" y="28984"/>
                                                        <a:pt x="305658" y="28049"/>
                                                      </a:cubicBezTo>
                                                      <a:cubicBezTo>
                                                        <a:pt x="266038" y="34652"/>
                                                        <a:pt x="306016" y="24638"/>
                                                        <a:pt x="280413" y="39269"/>
                                                      </a:cubicBezTo>
                                                      <a:cubicBezTo>
                                                        <a:pt x="277066" y="41182"/>
                                                        <a:pt x="272900" y="41015"/>
                                                        <a:pt x="269194" y="42074"/>
                                                      </a:cubicBezTo>
                                                      <a:cubicBezTo>
                                                        <a:pt x="266351" y="42886"/>
                                                        <a:pt x="263584" y="43944"/>
                                                        <a:pt x="260779" y="44879"/>
                                                      </a:cubicBezTo>
                                                      <a:lnTo>
                                                        <a:pt x="227120" y="36464"/>
                                                      </a:lnTo>
                                                      <a:cubicBezTo>
                                                        <a:pt x="223380" y="35529"/>
                                                        <a:pt x="219558" y="34878"/>
                                                        <a:pt x="215901" y="33659"/>
                                                      </a:cubicBezTo>
                                                      <a:lnTo>
                                                        <a:pt x="199071" y="28049"/>
                                                      </a:lnTo>
                                                      <a:cubicBezTo>
                                                        <a:pt x="161176" y="34365"/>
                                                        <a:pt x="197490" y="25947"/>
                                                        <a:pt x="173827" y="36464"/>
                                                      </a:cubicBezTo>
                                                      <a:cubicBezTo>
                                                        <a:pt x="168424" y="38866"/>
                                                        <a:pt x="162608" y="40204"/>
                                                        <a:pt x="156998" y="42074"/>
                                                      </a:cubicBezTo>
                                                      <a:lnTo>
                                                        <a:pt x="148583" y="44879"/>
                                                      </a:lnTo>
                                                      <a:cubicBezTo>
                                                        <a:pt x="134558" y="43944"/>
                                                        <a:pt x="120393" y="44266"/>
                                                        <a:pt x="106509" y="42074"/>
                                                      </a:cubicBezTo>
                                                      <a:cubicBezTo>
                                                        <a:pt x="102379" y="41422"/>
                                                        <a:pt x="99172" y="38017"/>
                                                        <a:pt x="95290" y="36464"/>
                                                      </a:cubicBezTo>
                                                      <a:cubicBezTo>
                                                        <a:pt x="89800" y="34268"/>
                                                        <a:pt x="78460" y="30854"/>
                                                        <a:pt x="78460" y="30854"/>
                                                      </a:cubicBezTo>
                                                      <a:cubicBezTo>
                                                        <a:pt x="81397" y="10294"/>
                                                        <a:pt x="90147" y="7480"/>
                                                        <a:pt x="92485" y="2805"/>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6" name="Group 205"/>
                                              <p:cNvGrpSpPr/>
                                              <p:nvPr/>
                                            </p:nvGrpSpPr>
                                            <p:grpSpPr>
                                              <a:xfrm>
                                                <a:off x="5058686" y="6181852"/>
                                                <a:ext cx="767108" cy="544317"/>
                                                <a:chOff x="5058686" y="6181852"/>
                                                <a:chExt cx="767108" cy="544317"/>
                                              </a:xfrm>
                                              <a:grpFill/>
                                            </p:grpSpPr>
                                            <p:grpSp>
                                              <p:nvGrpSpPr>
                                                <p:cNvPr id="207" name="Group 206"/>
                                                <p:cNvGrpSpPr/>
                                                <p:nvPr/>
                                              </p:nvGrpSpPr>
                                              <p:grpSpPr>
                                                <a:xfrm>
                                                  <a:off x="5309637" y="6181852"/>
                                                  <a:ext cx="516157" cy="440536"/>
                                                  <a:chOff x="5309637" y="6181852"/>
                                                  <a:chExt cx="516157" cy="440536"/>
                                                </a:xfrm>
                                                <a:grpFill/>
                                              </p:grpSpPr>
                                              <p:grpSp>
                                                <p:nvGrpSpPr>
                                                  <p:cNvPr id="211" name="Group 210"/>
                                                  <p:cNvGrpSpPr/>
                                                  <p:nvPr/>
                                                </p:nvGrpSpPr>
                                                <p:grpSpPr>
                                                  <a:xfrm>
                                                    <a:off x="5469571" y="6181852"/>
                                                    <a:ext cx="356223" cy="440536"/>
                                                    <a:chOff x="5469571" y="6181852"/>
                                                    <a:chExt cx="356223" cy="440536"/>
                                                  </a:xfrm>
                                                  <a:grpFill/>
                                                </p:grpSpPr>
                                                <p:sp>
                                                  <p:nvSpPr>
                                                    <p:cNvPr id="215" name="Freeform 214"/>
                                                    <p:cNvSpPr/>
                                                    <p:nvPr/>
                                                  </p:nvSpPr>
                                                  <p:spPr>
                                                    <a:xfrm>
                                                      <a:off x="5769002" y="6529826"/>
                                                      <a:ext cx="56792" cy="92562"/>
                                                    </a:xfrm>
                                                    <a:custGeom>
                                                      <a:avLst/>
                                                      <a:gdLst>
                                                        <a:gd name="connsiteX0" fmla="*/ 53987 w 56792"/>
                                                        <a:gd name="connsiteY0" fmla="*/ 0 h 92562"/>
                                                        <a:gd name="connsiteX1" fmla="*/ 53987 w 56792"/>
                                                        <a:gd name="connsiteY1" fmla="*/ 0 h 92562"/>
                                                        <a:gd name="connsiteX2" fmla="*/ 31548 w 56792"/>
                                                        <a:gd name="connsiteY2" fmla="*/ 11219 h 92562"/>
                                                        <a:gd name="connsiteX3" fmla="*/ 25938 w 56792"/>
                                                        <a:gd name="connsiteY3" fmla="*/ 19634 h 92562"/>
                                                        <a:gd name="connsiteX4" fmla="*/ 9108 w 56792"/>
                                                        <a:gd name="connsiteY4" fmla="*/ 25244 h 92562"/>
                                                        <a:gd name="connsiteX5" fmla="*/ 3499 w 56792"/>
                                                        <a:gd name="connsiteY5" fmla="*/ 33659 h 92562"/>
                                                        <a:gd name="connsiteX6" fmla="*/ 3499 w 56792"/>
                                                        <a:gd name="connsiteY6" fmla="*/ 75732 h 92562"/>
                                                        <a:gd name="connsiteX7" fmla="*/ 9108 w 56792"/>
                                                        <a:gd name="connsiteY7" fmla="*/ 92562 h 92562"/>
                                                        <a:gd name="connsiteX8" fmla="*/ 23133 w 56792"/>
                                                        <a:gd name="connsiteY8" fmla="*/ 89757 h 92562"/>
                                                        <a:gd name="connsiteX9" fmla="*/ 42767 w 56792"/>
                                                        <a:gd name="connsiteY9" fmla="*/ 70122 h 92562"/>
                                                        <a:gd name="connsiteX10" fmla="*/ 45572 w 56792"/>
                                                        <a:gd name="connsiteY10" fmla="*/ 61708 h 92562"/>
                                                        <a:gd name="connsiteX11" fmla="*/ 51182 w 56792"/>
                                                        <a:gd name="connsiteY11" fmla="*/ 39268 h 92562"/>
                                                        <a:gd name="connsiteX12" fmla="*/ 56792 w 56792"/>
                                                        <a:gd name="connsiteY12" fmla="*/ 22439 h 92562"/>
                                                        <a:gd name="connsiteX13" fmla="*/ 53987 w 56792"/>
                                                        <a:gd name="connsiteY13" fmla="*/ 0 h 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792" h="92562">
                                                          <a:moveTo>
                                                            <a:pt x="53987" y="0"/>
                                                          </a:moveTo>
                                                          <a:lnTo>
                                                            <a:pt x="53987" y="0"/>
                                                          </a:lnTo>
                                                          <a:cubicBezTo>
                                                            <a:pt x="46507" y="3740"/>
                                                            <a:pt x="38399" y="6424"/>
                                                            <a:pt x="31548" y="11219"/>
                                                          </a:cubicBezTo>
                                                          <a:cubicBezTo>
                                                            <a:pt x="28786" y="13152"/>
                                                            <a:pt x="28797" y="17847"/>
                                                            <a:pt x="25938" y="19634"/>
                                                          </a:cubicBezTo>
                                                          <a:cubicBezTo>
                                                            <a:pt x="20923" y="22768"/>
                                                            <a:pt x="9108" y="25244"/>
                                                            <a:pt x="9108" y="25244"/>
                                                          </a:cubicBezTo>
                                                          <a:cubicBezTo>
                                                            <a:pt x="7238" y="28049"/>
                                                            <a:pt x="5006" y="30644"/>
                                                            <a:pt x="3499" y="33659"/>
                                                          </a:cubicBezTo>
                                                          <a:cubicBezTo>
                                                            <a:pt x="-3061" y="46780"/>
                                                            <a:pt x="1190" y="61874"/>
                                                            <a:pt x="3499" y="75732"/>
                                                          </a:cubicBezTo>
                                                          <a:cubicBezTo>
                                                            <a:pt x="4471" y="81565"/>
                                                            <a:pt x="9108" y="92562"/>
                                                            <a:pt x="9108" y="92562"/>
                                                          </a:cubicBezTo>
                                                          <a:cubicBezTo>
                                                            <a:pt x="13783" y="91627"/>
                                                            <a:pt x="19370" y="92684"/>
                                                            <a:pt x="23133" y="89757"/>
                                                          </a:cubicBezTo>
                                                          <a:cubicBezTo>
                                                            <a:pt x="56892" y="63500"/>
                                                            <a:pt x="18793" y="78114"/>
                                                            <a:pt x="42767" y="70122"/>
                                                          </a:cubicBezTo>
                                                          <a:cubicBezTo>
                                                            <a:pt x="43702" y="67317"/>
                                                            <a:pt x="44794" y="64560"/>
                                                            <a:pt x="45572" y="61708"/>
                                                          </a:cubicBezTo>
                                                          <a:cubicBezTo>
                                                            <a:pt x="47601" y="54269"/>
                                                            <a:pt x="48744" y="46583"/>
                                                            <a:pt x="51182" y="39268"/>
                                                          </a:cubicBezTo>
                                                          <a:lnTo>
                                                            <a:pt x="56792" y="22439"/>
                                                          </a:lnTo>
                                                          <a:cubicBezTo>
                                                            <a:pt x="53326" y="12041"/>
                                                            <a:pt x="54454" y="3740"/>
                                                            <a:pt x="53987"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6" name="Freeform 215"/>
                                                    <p:cNvSpPr/>
                                                    <p:nvPr/>
                                                  </p:nvSpPr>
                                                  <p:spPr>
                                                    <a:xfrm>
                                                      <a:off x="5469571" y="6181852"/>
                                                      <a:ext cx="32851" cy="62532"/>
                                                    </a:xfrm>
                                                    <a:custGeom>
                                                      <a:avLst/>
                                                      <a:gdLst>
                                                        <a:gd name="connsiteX0" fmla="*/ 30854 w 32851"/>
                                                        <a:gd name="connsiteY0" fmla="*/ 8580 h 62532"/>
                                                        <a:gd name="connsiteX1" fmla="*/ 30854 w 32851"/>
                                                        <a:gd name="connsiteY1" fmla="*/ 8580 h 62532"/>
                                                        <a:gd name="connsiteX2" fmla="*/ 8414 w 32851"/>
                                                        <a:gd name="connsiteY2" fmla="*/ 165 h 62532"/>
                                                        <a:gd name="connsiteX3" fmla="*/ 0 w 32851"/>
                                                        <a:gd name="connsiteY3" fmla="*/ 2970 h 62532"/>
                                                        <a:gd name="connsiteX4" fmla="*/ 8414 w 32851"/>
                                                        <a:gd name="connsiteY4" fmla="*/ 19800 h 62532"/>
                                                        <a:gd name="connsiteX5" fmla="*/ 11219 w 32851"/>
                                                        <a:gd name="connsiteY5" fmla="*/ 28214 h 62532"/>
                                                        <a:gd name="connsiteX6" fmla="*/ 8414 w 32851"/>
                                                        <a:gd name="connsiteY6" fmla="*/ 50654 h 62532"/>
                                                        <a:gd name="connsiteX7" fmla="*/ 11219 w 32851"/>
                                                        <a:gd name="connsiteY7" fmla="*/ 61873 h 62532"/>
                                                        <a:gd name="connsiteX8" fmla="*/ 28049 w 32851"/>
                                                        <a:gd name="connsiteY8" fmla="*/ 59068 h 62532"/>
                                                        <a:gd name="connsiteX9" fmla="*/ 28049 w 32851"/>
                                                        <a:gd name="connsiteY9" fmla="*/ 8580 h 62532"/>
                                                        <a:gd name="connsiteX10" fmla="*/ 30854 w 32851"/>
                                                        <a:gd name="connsiteY10" fmla="*/ 8580 h 6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51" h="62532">
                                                          <a:moveTo>
                                                            <a:pt x="30854" y="8580"/>
                                                          </a:moveTo>
                                                          <a:lnTo>
                                                            <a:pt x="30854" y="8580"/>
                                                          </a:lnTo>
                                                          <a:cubicBezTo>
                                                            <a:pt x="23374" y="5775"/>
                                                            <a:pt x="16274" y="1594"/>
                                                            <a:pt x="8414" y="165"/>
                                                          </a:cubicBezTo>
                                                          <a:cubicBezTo>
                                                            <a:pt x="5505" y="-364"/>
                                                            <a:pt x="1322" y="326"/>
                                                            <a:pt x="0" y="2970"/>
                                                          </a:cubicBezTo>
                                                          <a:lnTo>
                                                            <a:pt x="8414" y="19800"/>
                                                          </a:lnTo>
                                                          <a:cubicBezTo>
                                                            <a:pt x="9736" y="22444"/>
                                                            <a:pt x="10284" y="25409"/>
                                                            <a:pt x="11219" y="28214"/>
                                                          </a:cubicBezTo>
                                                          <a:cubicBezTo>
                                                            <a:pt x="10284" y="35694"/>
                                                            <a:pt x="8414" y="43116"/>
                                                            <a:pt x="8414" y="50654"/>
                                                          </a:cubicBezTo>
                                                          <a:cubicBezTo>
                                                            <a:pt x="8414" y="54509"/>
                                                            <a:pt x="7676" y="60355"/>
                                                            <a:pt x="11219" y="61873"/>
                                                          </a:cubicBezTo>
                                                          <a:cubicBezTo>
                                                            <a:pt x="16447" y="64113"/>
                                                            <a:pt x="22439" y="60003"/>
                                                            <a:pt x="28049" y="59068"/>
                                                          </a:cubicBezTo>
                                                          <a:cubicBezTo>
                                                            <a:pt x="34619" y="39359"/>
                                                            <a:pt x="34283" y="43907"/>
                                                            <a:pt x="28049" y="8580"/>
                                                          </a:cubicBezTo>
                                                          <a:cubicBezTo>
                                                            <a:pt x="27589" y="5976"/>
                                                            <a:pt x="30387" y="8580"/>
                                                            <a:pt x="30854" y="858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12" name="Freeform 211"/>
                                                  <p:cNvSpPr/>
                                                  <p:nvPr/>
                                                </p:nvSpPr>
                                                <p:spPr>
                                                  <a:xfrm>
                                                    <a:off x="5309637" y="6297018"/>
                                                    <a:ext cx="31224" cy="30854"/>
                                                  </a:xfrm>
                                                  <a:custGeom>
                                                    <a:avLst/>
                                                    <a:gdLst>
                                                      <a:gd name="connsiteX0" fmla="*/ 22493 w 31224"/>
                                                      <a:gd name="connsiteY0" fmla="*/ 0 h 30854"/>
                                                      <a:gd name="connsiteX1" fmla="*/ 22493 w 31224"/>
                                                      <a:gd name="connsiteY1" fmla="*/ 0 h 30854"/>
                                                      <a:gd name="connsiteX2" fmla="*/ 54 w 31224"/>
                                                      <a:gd name="connsiteY2" fmla="*/ 8415 h 30854"/>
                                                      <a:gd name="connsiteX3" fmla="*/ 25298 w 31224"/>
                                                      <a:gd name="connsiteY3" fmla="*/ 30854 h 30854"/>
                                                      <a:gd name="connsiteX4" fmla="*/ 30908 w 31224"/>
                                                      <a:gd name="connsiteY4" fmla="*/ 22440 h 30854"/>
                                                      <a:gd name="connsiteX5" fmla="*/ 14078 w 31224"/>
                                                      <a:gd name="connsiteY5" fmla="*/ 11220 h 30854"/>
                                                      <a:gd name="connsiteX6" fmla="*/ 5664 w 31224"/>
                                                      <a:gd name="connsiteY6" fmla="*/ 5610 h 30854"/>
                                                      <a:gd name="connsiteX7" fmla="*/ 22493 w 31224"/>
                                                      <a:gd name="connsiteY7" fmla="*/ 0 h 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24" h="30854">
                                                        <a:moveTo>
                                                          <a:pt x="22493" y="0"/>
                                                        </a:moveTo>
                                                        <a:lnTo>
                                                          <a:pt x="22493" y="0"/>
                                                        </a:lnTo>
                                                        <a:cubicBezTo>
                                                          <a:pt x="15013" y="2805"/>
                                                          <a:pt x="1787" y="617"/>
                                                          <a:pt x="54" y="8415"/>
                                                        </a:cubicBezTo>
                                                        <a:cubicBezTo>
                                                          <a:pt x="-1186" y="13996"/>
                                                          <a:pt x="18972" y="26637"/>
                                                          <a:pt x="25298" y="30854"/>
                                                        </a:cubicBezTo>
                                                        <a:cubicBezTo>
                                                          <a:pt x="27168" y="28049"/>
                                                          <a:pt x="32581" y="25367"/>
                                                          <a:pt x="30908" y="22440"/>
                                                        </a:cubicBezTo>
                                                        <a:cubicBezTo>
                                                          <a:pt x="27563" y="16586"/>
                                                          <a:pt x="19688" y="14960"/>
                                                          <a:pt x="14078" y="11220"/>
                                                        </a:cubicBezTo>
                                                        <a:cubicBezTo>
                                                          <a:pt x="11273" y="9350"/>
                                                          <a:pt x="5664" y="8981"/>
                                                          <a:pt x="5664" y="5610"/>
                                                        </a:cubicBezTo>
                                                        <a:lnTo>
                                                          <a:pt x="22493"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3" name="Freeform 212"/>
                                                  <p:cNvSpPr/>
                                                  <p:nvPr/>
                                                </p:nvSpPr>
                                                <p:spPr>
                                                  <a:xfrm>
                                                    <a:off x="5416172" y="6426044"/>
                                                    <a:ext cx="25383" cy="47684"/>
                                                  </a:xfrm>
                                                  <a:custGeom>
                                                    <a:avLst/>
                                                    <a:gdLst>
                                                      <a:gd name="connsiteX0" fmla="*/ 19740 w 25383"/>
                                                      <a:gd name="connsiteY0" fmla="*/ 0 h 47684"/>
                                                      <a:gd name="connsiteX1" fmla="*/ 19740 w 25383"/>
                                                      <a:gd name="connsiteY1" fmla="*/ 0 h 47684"/>
                                                      <a:gd name="connsiteX2" fmla="*/ 2910 w 25383"/>
                                                      <a:gd name="connsiteY2" fmla="*/ 16830 h 47684"/>
                                                      <a:gd name="connsiteX3" fmla="*/ 2910 w 25383"/>
                                                      <a:gd name="connsiteY3" fmla="*/ 42074 h 47684"/>
                                                      <a:gd name="connsiteX4" fmla="*/ 11325 w 25383"/>
                                                      <a:gd name="connsiteY4" fmla="*/ 47684 h 47684"/>
                                                      <a:gd name="connsiteX5" fmla="*/ 22545 w 25383"/>
                                                      <a:gd name="connsiteY5" fmla="*/ 44879 h 47684"/>
                                                      <a:gd name="connsiteX6" fmla="*/ 11325 w 25383"/>
                                                      <a:gd name="connsiteY6" fmla="*/ 5610 h 47684"/>
                                                      <a:gd name="connsiteX7" fmla="*/ 19740 w 25383"/>
                                                      <a:gd name="connsiteY7" fmla="*/ 0 h 4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83" h="47684">
                                                        <a:moveTo>
                                                          <a:pt x="19740" y="0"/>
                                                        </a:moveTo>
                                                        <a:lnTo>
                                                          <a:pt x="19740" y="0"/>
                                                        </a:lnTo>
                                                        <a:cubicBezTo>
                                                          <a:pt x="14130" y="5610"/>
                                                          <a:pt x="7781" y="10568"/>
                                                          <a:pt x="2910" y="16830"/>
                                                        </a:cubicBezTo>
                                                        <a:cubicBezTo>
                                                          <a:pt x="-2013" y="23159"/>
                                                          <a:pt x="232" y="36719"/>
                                                          <a:pt x="2910" y="42074"/>
                                                        </a:cubicBezTo>
                                                        <a:cubicBezTo>
                                                          <a:pt x="4418" y="45089"/>
                                                          <a:pt x="8520" y="45814"/>
                                                          <a:pt x="11325" y="47684"/>
                                                        </a:cubicBezTo>
                                                        <a:cubicBezTo>
                                                          <a:pt x="15065" y="46749"/>
                                                          <a:pt x="21678" y="48635"/>
                                                          <a:pt x="22545" y="44879"/>
                                                        </a:cubicBezTo>
                                                        <a:cubicBezTo>
                                                          <a:pt x="27837" y="21947"/>
                                                          <a:pt x="26599" y="13247"/>
                                                          <a:pt x="11325" y="5610"/>
                                                        </a:cubicBezTo>
                                                        <a:cubicBezTo>
                                                          <a:pt x="10489" y="5192"/>
                                                          <a:pt x="18337" y="935"/>
                                                          <a:pt x="1974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4" name="Freeform 213"/>
                                                  <p:cNvSpPr/>
                                                  <p:nvPr/>
                                                </p:nvSpPr>
                                                <p:spPr>
                                                  <a:xfrm>
                                                    <a:off x="5587312" y="6297018"/>
                                                    <a:ext cx="61773" cy="33659"/>
                                                  </a:xfrm>
                                                  <a:custGeom>
                                                    <a:avLst/>
                                                    <a:gdLst>
                                                      <a:gd name="connsiteX0" fmla="*/ 61773 w 61773"/>
                                                      <a:gd name="connsiteY0" fmla="*/ 0 h 33659"/>
                                                      <a:gd name="connsiteX1" fmla="*/ 61773 w 61773"/>
                                                      <a:gd name="connsiteY1" fmla="*/ 0 h 33659"/>
                                                      <a:gd name="connsiteX2" fmla="*/ 36528 w 61773"/>
                                                      <a:gd name="connsiteY2" fmla="*/ 2805 h 33659"/>
                                                      <a:gd name="connsiteX3" fmla="*/ 25309 w 61773"/>
                                                      <a:gd name="connsiteY3" fmla="*/ 0 h 33659"/>
                                                      <a:gd name="connsiteX4" fmla="*/ 2870 w 61773"/>
                                                      <a:gd name="connsiteY4" fmla="*/ 5610 h 33659"/>
                                                      <a:gd name="connsiteX5" fmla="*/ 65 w 61773"/>
                                                      <a:gd name="connsiteY5" fmla="*/ 14025 h 33659"/>
                                                      <a:gd name="connsiteX6" fmla="*/ 14089 w 61773"/>
                                                      <a:gd name="connsiteY6" fmla="*/ 25245 h 33659"/>
                                                      <a:gd name="connsiteX7" fmla="*/ 30919 w 61773"/>
                                                      <a:gd name="connsiteY7" fmla="*/ 33659 h 33659"/>
                                                      <a:gd name="connsiteX8" fmla="*/ 42138 w 61773"/>
                                                      <a:gd name="connsiteY8" fmla="*/ 30854 h 33659"/>
                                                      <a:gd name="connsiteX9" fmla="*/ 58968 w 61773"/>
                                                      <a:gd name="connsiteY9" fmla="*/ 19635 h 33659"/>
                                                      <a:gd name="connsiteX10" fmla="*/ 56163 w 61773"/>
                                                      <a:gd name="connsiteY10" fmla="*/ 8415 h 33659"/>
                                                      <a:gd name="connsiteX11" fmla="*/ 61773 w 61773"/>
                                                      <a:gd name="connsiteY11" fmla="*/ 0 h 3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773" h="33659">
                                                        <a:moveTo>
                                                          <a:pt x="61773" y="0"/>
                                                        </a:moveTo>
                                                        <a:lnTo>
                                                          <a:pt x="61773" y="0"/>
                                                        </a:lnTo>
                                                        <a:cubicBezTo>
                                                          <a:pt x="53358" y="935"/>
                                                          <a:pt x="44995" y="2805"/>
                                                          <a:pt x="36528" y="2805"/>
                                                        </a:cubicBezTo>
                                                        <a:cubicBezTo>
                                                          <a:pt x="32673" y="2805"/>
                                                          <a:pt x="29164" y="0"/>
                                                          <a:pt x="25309" y="0"/>
                                                        </a:cubicBezTo>
                                                        <a:cubicBezTo>
                                                          <a:pt x="18538" y="0"/>
                                                          <a:pt x="9511" y="3396"/>
                                                          <a:pt x="2870" y="5610"/>
                                                        </a:cubicBezTo>
                                                        <a:cubicBezTo>
                                                          <a:pt x="1935" y="8415"/>
                                                          <a:pt x="-421" y="11108"/>
                                                          <a:pt x="65" y="14025"/>
                                                        </a:cubicBezTo>
                                                        <a:cubicBezTo>
                                                          <a:pt x="1784" y="24341"/>
                                                          <a:pt x="7327" y="21864"/>
                                                          <a:pt x="14089" y="25245"/>
                                                        </a:cubicBezTo>
                                                        <a:cubicBezTo>
                                                          <a:pt x="35836" y="36118"/>
                                                          <a:pt x="9771" y="26610"/>
                                                          <a:pt x="30919" y="33659"/>
                                                        </a:cubicBezTo>
                                                        <a:cubicBezTo>
                                                          <a:pt x="34659" y="32724"/>
                                                          <a:pt x="38690" y="32578"/>
                                                          <a:pt x="42138" y="30854"/>
                                                        </a:cubicBezTo>
                                                        <a:cubicBezTo>
                                                          <a:pt x="48168" y="27839"/>
                                                          <a:pt x="58968" y="19635"/>
                                                          <a:pt x="58968" y="19635"/>
                                                        </a:cubicBezTo>
                                                        <a:cubicBezTo>
                                                          <a:pt x="58033" y="15895"/>
                                                          <a:pt x="58571" y="11425"/>
                                                          <a:pt x="56163" y="8415"/>
                                                        </a:cubicBezTo>
                                                        <a:cubicBezTo>
                                                          <a:pt x="54316" y="6106"/>
                                                          <a:pt x="60838" y="1403"/>
                                                          <a:pt x="6177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8" name="Group 207"/>
                                                <p:cNvGrpSpPr/>
                                                <p:nvPr/>
                                              </p:nvGrpSpPr>
                                              <p:grpSpPr>
                                                <a:xfrm>
                                                  <a:off x="5058686" y="6599948"/>
                                                  <a:ext cx="646497" cy="126221"/>
                                                  <a:chOff x="5058686" y="6599948"/>
                                                  <a:chExt cx="646497" cy="126221"/>
                                                </a:xfrm>
                                                <a:grpFill/>
                                              </p:grpSpPr>
                                              <p:sp>
                                                <p:nvSpPr>
                                                  <p:cNvPr id="209" name="Freeform 208"/>
                                                  <p:cNvSpPr/>
                                                  <p:nvPr/>
                                                </p:nvSpPr>
                                                <p:spPr>
                                                  <a:xfrm>
                                                    <a:off x="5687410" y="6669190"/>
                                                    <a:ext cx="17773" cy="56979"/>
                                                  </a:xfrm>
                                                  <a:custGeom>
                                                    <a:avLst/>
                                                    <a:gdLst>
                                                      <a:gd name="connsiteX0" fmla="*/ 14968 w 17773"/>
                                                      <a:gd name="connsiteY0" fmla="*/ 881 h 56979"/>
                                                      <a:gd name="connsiteX1" fmla="*/ 14968 w 17773"/>
                                                      <a:gd name="connsiteY1" fmla="*/ 881 h 56979"/>
                                                      <a:gd name="connsiteX2" fmla="*/ 943 w 17773"/>
                                                      <a:gd name="connsiteY2" fmla="*/ 20516 h 56979"/>
                                                      <a:gd name="connsiteX3" fmla="*/ 6553 w 17773"/>
                                                      <a:gd name="connsiteY3" fmla="*/ 56979 h 56979"/>
                                                      <a:gd name="connsiteX4" fmla="*/ 12163 w 17773"/>
                                                      <a:gd name="connsiteY4" fmla="*/ 48565 h 56979"/>
                                                      <a:gd name="connsiteX5" fmla="*/ 17773 w 17773"/>
                                                      <a:gd name="connsiteY5" fmla="*/ 31735 h 56979"/>
                                                      <a:gd name="connsiteX6" fmla="*/ 12163 w 17773"/>
                                                      <a:gd name="connsiteY6" fmla="*/ 881 h 56979"/>
                                                      <a:gd name="connsiteX7" fmla="*/ 14968 w 17773"/>
                                                      <a:gd name="connsiteY7" fmla="*/ 881 h 5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3" h="56979">
                                                        <a:moveTo>
                                                          <a:pt x="14968" y="881"/>
                                                        </a:moveTo>
                                                        <a:lnTo>
                                                          <a:pt x="14968" y="881"/>
                                                        </a:lnTo>
                                                        <a:cubicBezTo>
                                                          <a:pt x="10293" y="7426"/>
                                                          <a:pt x="2785" y="12687"/>
                                                          <a:pt x="943" y="20516"/>
                                                        </a:cubicBezTo>
                                                        <a:cubicBezTo>
                                                          <a:pt x="-2050" y="33234"/>
                                                          <a:pt x="2693" y="45400"/>
                                                          <a:pt x="6553" y="56979"/>
                                                        </a:cubicBezTo>
                                                        <a:cubicBezTo>
                                                          <a:pt x="8423" y="54174"/>
                                                          <a:pt x="10794" y="51645"/>
                                                          <a:pt x="12163" y="48565"/>
                                                        </a:cubicBezTo>
                                                        <a:cubicBezTo>
                                                          <a:pt x="14565" y="43161"/>
                                                          <a:pt x="17773" y="31735"/>
                                                          <a:pt x="17773" y="31735"/>
                                                        </a:cubicBezTo>
                                                        <a:cubicBezTo>
                                                          <a:pt x="16313" y="21515"/>
                                                          <a:pt x="15469" y="10800"/>
                                                          <a:pt x="12163" y="881"/>
                                                        </a:cubicBezTo>
                                                        <a:cubicBezTo>
                                                          <a:pt x="11502" y="-1102"/>
                                                          <a:pt x="14501" y="881"/>
                                                          <a:pt x="14968" y="88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0" name="Freeform 209"/>
                                                  <p:cNvSpPr/>
                                                  <p:nvPr/>
                                                </p:nvSpPr>
                                                <p:spPr>
                                                  <a:xfrm>
                                                    <a:off x="5058686" y="6599948"/>
                                                    <a:ext cx="21002" cy="39269"/>
                                                  </a:xfrm>
                                                  <a:custGeom>
                                                    <a:avLst/>
                                                    <a:gdLst>
                                                      <a:gd name="connsiteX0" fmla="*/ 1368 w 21002"/>
                                                      <a:gd name="connsiteY0" fmla="*/ 0 h 39269"/>
                                                      <a:gd name="connsiteX1" fmla="*/ 1368 w 21002"/>
                                                      <a:gd name="connsiteY1" fmla="*/ 0 h 39269"/>
                                                      <a:gd name="connsiteX2" fmla="*/ 12588 w 21002"/>
                                                      <a:gd name="connsiteY2" fmla="*/ 39269 h 39269"/>
                                                      <a:gd name="connsiteX3" fmla="*/ 21002 w 21002"/>
                                                      <a:gd name="connsiteY3" fmla="*/ 36464 h 39269"/>
                                                      <a:gd name="connsiteX4" fmla="*/ 18197 w 21002"/>
                                                      <a:gd name="connsiteY4" fmla="*/ 16830 h 39269"/>
                                                      <a:gd name="connsiteX5" fmla="*/ 9783 w 21002"/>
                                                      <a:gd name="connsiteY5" fmla="*/ 11220 h 39269"/>
                                                      <a:gd name="connsiteX6" fmla="*/ 1368 w 21002"/>
                                                      <a:gd name="connsiteY6" fmla="*/ 0 h 3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02" h="39269">
                                                        <a:moveTo>
                                                          <a:pt x="1368" y="0"/>
                                                        </a:moveTo>
                                                        <a:lnTo>
                                                          <a:pt x="1368" y="0"/>
                                                        </a:lnTo>
                                                        <a:cubicBezTo>
                                                          <a:pt x="2287" y="11953"/>
                                                          <a:pt x="-6880" y="39269"/>
                                                          <a:pt x="12588" y="39269"/>
                                                        </a:cubicBezTo>
                                                        <a:cubicBezTo>
                                                          <a:pt x="15544" y="39269"/>
                                                          <a:pt x="18197" y="37399"/>
                                                          <a:pt x="21002" y="36464"/>
                                                        </a:cubicBezTo>
                                                        <a:cubicBezTo>
                                                          <a:pt x="20067" y="29919"/>
                                                          <a:pt x="20882" y="22871"/>
                                                          <a:pt x="18197" y="16830"/>
                                                        </a:cubicBezTo>
                                                        <a:cubicBezTo>
                                                          <a:pt x="16828" y="13750"/>
                                                          <a:pt x="11889" y="13852"/>
                                                          <a:pt x="9783" y="11220"/>
                                                        </a:cubicBezTo>
                                                        <a:cubicBezTo>
                                                          <a:pt x="6682" y="7344"/>
                                                          <a:pt x="2770" y="1870"/>
                                                          <a:pt x="136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sp>
                                        <p:nvSpPr>
                                          <p:cNvPr id="202" name="Freeform 201"/>
                                          <p:cNvSpPr/>
                                          <p:nvPr/>
                                        </p:nvSpPr>
                                        <p:spPr>
                                          <a:xfrm>
                                            <a:off x="6468118" y="6524216"/>
                                            <a:ext cx="311345" cy="244027"/>
                                          </a:xfrm>
                                          <a:custGeom>
                                            <a:avLst/>
                                            <a:gdLst>
                                              <a:gd name="connsiteX0" fmla="*/ 311345 w 311345"/>
                                              <a:gd name="connsiteY0" fmla="*/ 0 h 244027"/>
                                              <a:gd name="connsiteX1" fmla="*/ 311345 w 311345"/>
                                              <a:gd name="connsiteY1" fmla="*/ 0 h 244027"/>
                                              <a:gd name="connsiteX2" fmla="*/ 297320 w 311345"/>
                                              <a:gd name="connsiteY2" fmla="*/ 19634 h 244027"/>
                                              <a:gd name="connsiteX3" fmla="*/ 288905 w 311345"/>
                                              <a:gd name="connsiteY3" fmla="*/ 22439 h 244027"/>
                                              <a:gd name="connsiteX4" fmla="*/ 280491 w 311345"/>
                                              <a:gd name="connsiteY4" fmla="*/ 28049 h 244027"/>
                                              <a:gd name="connsiteX5" fmla="*/ 272076 w 311345"/>
                                              <a:gd name="connsiteY5" fmla="*/ 36464 h 244027"/>
                                              <a:gd name="connsiteX6" fmla="*/ 255246 w 311345"/>
                                              <a:gd name="connsiteY6" fmla="*/ 42074 h 244027"/>
                                              <a:gd name="connsiteX7" fmla="*/ 238417 w 311345"/>
                                              <a:gd name="connsiteY7" fmla="*/ 50488 h 244027"/>
                                              <a:gd name="connsiteX8" fmla="*/ 230002 w 311345"/>
                                              <a:gd name="connsiteY8" fmla="*/ 58903 h 244027"/>
                                              <a:gd name="connsiteX9" fmla="*/ 204758 w 311345"/>
                                              <a:gd name="connsiteY9" fmla="*/ 75732 h 244027"/>
                                              <a:gd name="connsiteX10" fmla="*/ 196343 w 311345"/>
                                              <a:gd name="connsiteY10" fmla="*/ 81342 h 244027"/>
                                              <a:gd name="connsiteX11" fmla="*/ 182319 w 311345"/>
                                              <a:gd name="connsiteY11" fmla="*/ 84147 h 244027"/>
                                              <a:gd name="connsiteX12" fmla="*/ 165489 w 311345"/>
                                              <a:gd name="connsiteY12" fmla="*/ 89757 h 244027"/>
                                              <a:gd name="connsiteX13" fmla="*/ 157075 w 311345"/>
                                              <a:gd name="connsiteY13" fmla="*/ 95367 h 244027"/>
                                              <a:gd name="connsiteX14" fmla="*/ 137440 w 311345"/>
                                              <a:gd name="connsiteY14" fmla="*/ 100977 h 244027"/>
                                              <a:gd name="connsiteX15" fmla="*/ 103781 w 311345"/>
                                              <a:gd name="connsiteY15" fmla="*/ 106586 h 244027"/>
                                              <a:gd name="connsiteX16" fmla="*/ 92562 w 311345"/>
                                              <a:gd name="connsiteY16" fmla="*/ 134636 h 244027"/>
                                              <a:gd name="connsiteX17" fmla="*/ 84147 w 311345"/>
                                              <a:gd name="connsiteY17" fmla="*/ 140245 h 244027"/>
                                              <a:gd name="connsiteX18" fmla="*/ 67318 w 311345"/>
                                              <a:gd name="connsiteY18" fmla="*/ 143050 h 244027"/>
                                              <a:gd name="connsiteX19" fmla="*/ 42073 w 311345"/>
                                              <a:gd name="connsiteY19" fmla="*/ 148660 h 244027"/>
                                              <a:gd name="connsiteX20" fmla="*/ 33659 w 311345"/>
                                              <a:gd name="connsiteY20" fmla="*/ 157075 h 244027"/>
                                              <a:gd name="connsiteX21" fmla="*/ 28049 w 311345"/>
                                              <a:gd name="connsiteY21" fmla="*/ 165490 h 244027"/>
                                              <a:gd name="connsiteX22" fmla="*/ 19634 w 311345"/>
                                              <a:gd name="connsiteY22" fmla="*/ 168294 h 244027"/>
                                              <a:gd name="connsiteX23" fmla="*/ 11219 w 311345"/>
                                              <a:gd name="connsiteY23" fmla="*/ 173904 h 244027"/>
                                              <a:gd name="connsiteX24" fmla="*/ 2805 w 311345"/>
                                              <a:gd name="connsiteY24" fmla="*/ 176709 h 244027"/>
                                              <a:gd name="connsiteX25" fmla="*/ 0 w 311345"/>
                                              <a:gd name="connsiteY25" fmla="*/ 185124 h 244027"/>
                                              <a:gd name="connsiteX26" fmla="*/ 8415 w 311345"/>
                                              <a:gd name="connsiteY26" fmla="*/ 207563 h 244027"/>
                                              <a:gd name="connsiteX27" fmla="*/ 25244 w 311345"/>
                                              <a:gd name="connsiteY27" fmla="*/ 218783 h 244027"/>
                                              <a:gd name="connsiteX28" fmla="*/ 33659 w 311345"/>
                                              <a:gd name="connsiteY28" fmla="*/ 238417 h 244027"/>
                                              <a:gd name="connsiteX29" fmla="*/ 42073 w 311345"/>
                                              <a:gd name="connsiteY29" fmla="*/ 241222 h 244027"/>
                                              <a:gd name="connsiteX30" fmla="*/ 67318 w 311345"/>
                                              <a:gd name="connsiteY30" fmla="*/ 232807 h 244027"/>
                                              <a:gd name="connsiteX31" fmla="*/ 75732 w 311345"/>
                                              <a:gd name="connsiteY31" fmla="*/ 230002 h 244027"/>
                                              <a:gd name="connsiteX32" fmla="*/ 84147 w 311345"/>
                                              <a:gd name="connsiteY32" fmla="*/ 232807 h 244027"/>
                                              <a:gd name="connsiteX33" fmla="*/ 100976 w 311345"/>
                                              <a:gd name="connsiteY33" fmla="*/ 244027 h 244027"/>
                                              <a:gd name="connsiteX34" fmla="*/ 109391 w 311345"/>
                                              <a:gd name="connsiteY34" fmla="*/ 241222 h 244027"/>
                                              <a:gd name="connsiteX35" fmla="*/ 120611 w 311345"/>
                                              <a:gd name="connsiteY35" fmla="*/ 227197 h 244027"/>
                                              <a:gd name="connsiteX36" fmla="*/ 157075 w 311345"/>
                                              <a:gd name="connsiteY36" fmla="*/ 221588 h 244027"/>
                                              <a:gd name="connsiteX37" fmla="*/ 165489 w 311345"/>
                                              <a:gd name="connsiteY37" fmla="*/ 218783 h 244027"/>
                                              <a:gd name="connsiteX38" fmla="*/ 168294 w 311345"/>
                                              <a:gd name="connsiteY38" fmla="*/ 210368 h 244027"/>
                                              <a:gd name="connsiteX39" fmla="*/ 173904 w 311345"/>
                                              <a:gd name="connsiteY39" fmla="*/ 201953 h 244027"/>
                                              <a:gd name="connsiteX40" fmla="*/ 182319 w 311345"/>
                                              <a:gd name="connsiteY40" fmla="*/ 199148 h 244027"/>
                                              <a:gd name="connsiteX41" fmla="*/ 190734 w 311345"/>
                                              <a:gd name="connsiteY41" fmla="*/ 193539 h 244027"/>
                                              <a:gd name="connsiteX42" fmla="*/ 196343 w 311345"/>
                                              <a:gd name="connsiteY42" fmla="*/ 185124 h 244027"/>
                                              <a:gd name="connsiteX43" fmla="*/ 199148 w 311345"/>
                                              <a:gd name="connsiteY43" fmla="*/ 159880 h 244027"/>
                                              <a:gd name="connsiteX44" fmla="*/ 215978 w 311345"/>
                                              <a:gd name="connsiteY44" fmla="*/ 154270 h 244027"/>
                                              <a:gd name="connsiteX45" fmla="*/ 244027 w 311345"/>
                                              <a:gd name="connsiteY45" fmla="*/ 151465 h 244027"/>
                                              <a:gd name="connsiteX46" fmla="*/ 252442 w 311345"/>
                                              <a:gd name="connsiteY46" fmla="*/ 148660 h 244027"/>
                                              <a:gd name="connsiteX47" fmla="*/ 241222 w 311345"/>
                                              <a:gd name="connsiteY47" fmla="*/ 120611 h 244027"/>
                                              <a:gd name="connsiteX48" fmla="*/ 235612 w 311345"/>
                                              <a:gd name="connsiteY48" fmla="*/ 103782 h 244027"/>
                                              <a:gd name="connsiteX49" fmla="*/ 232807 w 311345"/>
                                              <a:gd name="connsiteY49" fmla="*/ 95367 h 244027"/>
                                              <a:gd name="connsiteX50" fmla="*/ 235612 w 311345"/>
                                              <a:gd name="connsiteY50" fmla="*/ 86952 h 244027"/>
                                              <a:gd name="connsiteX51" fmla="*/ 244027 w 311345"/>
                                              <a:gd name="connsiteY51" fmla="*/ 84147 h 244027"/>
                                              <a:gd name="connsiteX52" fmla="*/ 252442 w 311345"/>
                                              <a:gd name="connsiteY52" fmla="*/ 78537 h 244027"/>
                                              <a:gd name="connsiteX53" fmla="*/ 263661 w 311345"/>
                                              <a:gd name="connsiteY53" fmla="*/ 61708 h 244027"/>
                                              <a:gd name="connsiteX54" fmla="*/ 269271 w 311345"/>
                                              <a:gd name="connsiteY54" fmla="*/ 53293 h 244027"/>
                                              <a:gd name="connsiteX55" fmla="*/ 286100 w 311345"/>
                                              <a:gd name="connsiteY55" fmla="*/ 39269 h 244027"/>
                                              <a:gd name="connsiteX56" fmla="*/ 291710 w 311345"/>
                                              <a:gd name="connsiteY56" fmla="*/ 30854 h 244027"/>
                                              <a:gd name="connsiteX57" fmla="*/ 311345 w 311345"/>
                                              <a:gd name="connsiteY57" fmla="*/ 0 h 24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1345" h="244027">
                                                <a:moveTo>
                                                  <a:pt x="311345" y="0"/>
                                                </a:moveTo>
                                                <a:lnTo>
                                                  <a:pt x="311345" y="0"/>
                                                </a:lnTo>
                                                <a:cubicBezTo>
                                                  <a:pt x="306670" y="6545"/>
                                                  <a:pt x="303007" y="13947"/>
                                                  <a:pt x="297320" y="19634"/>
                                                </a:cubicBezTo>
                                                <a:cubicBezTo>
                                                  <a:pt x="295229" y="21725"/>
                                                  <a:pt x="291550" y="21117"/>
                                                  <a:pt x="288905" y="22439"/>
                                                </a:cubicBezTo>
                                                <a:cubicBezTo>
                                                  <a:pt x="285890" y="23947"/>
                                                  <a:pt x="283081" y="25891"/>
                                                  <a:pt x="280491" y="28049"/>
                                                </a:cubicBezTo>
                                                <a:cubicBezTo>
                                                  <a:pt x="277444" y="30589"/>
                                                  <a:pt x="275544" y="34538"/>
                                                  <a:pt x="272076" y="36464"/>
                                                </a:cubicBezTo>
                                                <a:cubicBezTo>
                                                  <a:pt x="266907" y="39336"/>
                                                  <a:pt x="260166" y="38794"/>
                                                  <a:pt x="255246" y="42074"/>
                                                </a:cubicBezTo>
                                                <a:cubicBezTo>
                                                  <a:pt x="244372" y="49323"/>
                                                  <a:pt x="250030" y="46617"/>
                                                  <a:pt x="238417" y="50488"/>
                                                </a:cubicBezTo>
                                                <a:cubicBezTo>
                                                  <a:pt x="235612" y="53293"/>
                                                  <a:pt x="233133" y="56468"/>
                                                  <a:pt x="230002" y="58903"/>
                                                </a:cubicBezTo>
                                                <a:cubicBezTo>
                                                  <a:pt x="229970" y="58928"/>
                                                  <a:pt x="208983" y="72916"/>
                                                  <a:pt x="204758" y="75732"/>
                                                </a:cubicBezTo>
                                                <a:cubicBezTo>
                                                  <a:pt x="201953" y="77602"/>
                                                  <a:pt x="199649" y="80681"/>
                                                  <a:pt x="196343" y="81342"/>
                                                </a:cubicBezTo>
                                                <a:cubicBezTo>
                                                  <a:pt x="191668" y="82277"/>
                                                  <a:pt x="186918" y="82893"/>
                                                  <a:pt x="182319" y="84147"/>
                                                </a:cubicBezTo>
                                                <a:cubicBezTo>
                                                  <a:pt x="176614" y="85703"/>
                                                  <a:pt x="165489" y="89757"/>
                                                  <a:pt x="165489" y="89757"/>
                                                </a:cubicBezTo>
                                                <a:cubicBezTo>
                                                  <a:pt x="162684" y="91627"/>
                                                  <a:pt x="160090" y="93859"/>
                                                  <a:pt x="157075" y="95367"/>
                                                </a:cubicBezTo>
                                                <a:cubicBezTo>
                                                  <a:pt x="153603" y="97103"/>
                                                  <a:pt x="140315" y="100438"/>
                                                  <a:pt x="137440" y="100977"/>
                                                </a:cubicBezTo>
                                                <a:cubicBezTo>
                                                  <a:pt x="126260" y="103073"/>
                                                  <a:pt x="103781" y="106586"/>
                                                  <a:pt x="103781" y="106586"/>
                                                </a:cubicBezTo>
                                                <a:cubicBezTo>
                                                  <a:pt x="84507" y="113012"/>
                                                  <a:pt x="103793" y="103753"/>
                                                  <a:pt x="92562" y="134636"/>
                                                </a:cubicBezTo>
                                                <a:cubicBezTo>
                                                  <a:pt x="91410" y="137804"/>
                                                  <a:pt x="87345" y="139179"/>
                                                  <a:pt x="84147" y="140245"/>
                                                </a:cubicBezTo>
                                                <a:cubicBezTo>
                                                  <a:pt x="78752" y="142043"/>
                                                  <a:pt x="72913" y="142033"/>
                                                  <a:pt x="67318" y="143050"/>
                                                </a:cubicBezTo>
                                                <a:cubicBezTo>
                                                  <a:pt x="54260" y="145424"/>
                                                  <a:pt x="54080" y="145658"/>
                                                  <a:pt x="42073" y="148660"/>
                                                </a:cubicBezTo>
                                                <a:cubicBezTo>
                                                  <a:pt x="39268" y="151465"/>
                                                  <a:pt x="36198" y="154028"/>
                                                  <a:pt x="33659" y="157075"/>
                                                </a:cubicBezTo>
                                                <a:cubicBezTo>
                                                  <a:pt x="31501" y="159665"/>
                                                  <a:pt x="30682" y="163384"/>
                                                  <a:pt x="28049" y="165490"/>
                                                </a:cubicBezTo>
                                                <a:cubicBezTo>
                                                  <a:pt x="25740" y="167337"/>
                                                  <a:pt x="22439" y="167359"/>
                                                  <a:pt x="19634" y="168294"/>
                                                </a:cubicBezTo>
                                                <a:cubicBezTo>
                                                  <a:pt x="16829" y="170164"/>
                                                  <a:pt x="14234" y="172396"/>
                                                  <a:pt x="11219" y="173904"/>
                                                </a:cubicBezTo>
                                                <a:cubicBezTo>
                                                  <a:pt x="8575" y="175226"/>
                                                  <a:pt x="4895" y="174618"/>
                                                  <a:pt x="2805" y="176709"/>
                                                </a:cubicBezTo>
                                                <a:cubicBezTo>
                                                  <a:pt x="714" y="178800"/>
                                                  <a:pt x="935" y="182319"/>
                                                  <a:pt x="0" y="185124"/>
                                                </a:cubicBezTo>
                                                <a:cubicBezTo>
                                                  <a:pt x="1698" y="193611"/>
                                                  <a:pt x="1411" y="201434"/>
                                                  <a:pt x="8415" y="207563"/>
                                                </a:cubicBezTo>
                                                <a:cubicBezTo>
                                                  <a:pt x="13489" y="212003"/>
                                                  <a:pt x="25244" y="218783"/>
                                                  <a:pt x="25244" y="218783"/>
                                                </a:cubicBezTo>
                                                <a:cubicBezTo>
                                                  <a:pt x="26929" y="225521"/>
                                                  <a:pt x="27606" y="233574"/>
                                                  <a:pt x="33659" y="238417"/>
                                                </a:cubicBezTo>
                                                <a:cubicBezTo>
                                                  <a:pt x="35968" y="240264"/>
                                                  <a:pt x="39268" y="240287"/>
                                                  <a:pt x="42073" y="241222"/>
                                                </a:cubicBezTo>
                                                <a:lnTo>
                                                  <a:pt x="67318" y="232807"/>
                                                </a:lnTo>
                                                <a:lnTo>
                                                  <a:pt x="75732" y="230002"/>
                                                </a:lnTo>
                                                <a:cubicBezTo>
                                                  <a:pt x="78537" y="230937"/>
                                                  <a:pt x="81687" y="231167"/>
                                                  <a:pt x="84147" y="232807"/>
                                                </a:cubicBezTo>
                                                <a:cubicBezTo>
                                                  <a:pt x="105159" y="246815"/>
                                                  <a:pt x="80968" y="237357"/>
                                                  <a:pt x="100976" y="244027"/>
                                                </a:cubicBezTo>
                                                <a:cubicBezTo>
                                                  <a:pt x="103781" y="243092"/>
                                                  <a:pt x="107300" y="243313"/>
                                                  <a:pt x="109391" y="241222"/>
                                                </a:cubicBezTo>
                                                <a:cubicBezTo>
                                                  <a:pt x="125564" y="225049"/>
                                                  <a:pt x="95709" y="239646"/>
                                                  <a:pt x="120611" y="227197"/>
                                                </a:cubicBezTo>
                                                <a:cubicBezTo>
                                                  <a:pt x="130716" y="222145"/>
                                                  <a:pt x="149043" y="222391"/>
                                                  <a:pt x="157075" y="221588"/>
                                                </a:cubicBezTo>
                                                <a:cubicBezTo>
                                                  <a:pt x="159880" y="220653"/>
                                                  <a:pt x="163399" y="220874"/>
                                                  <a:pt x="165489" y="218783"/>
                                                </a:cubicBezTo>
                                                <a:cubicBezTo>
                                                  <a:pt x="167580" y="216692"/>
                                                  <a:pt x="166972" y="213013"/>
                                                  <a:pt x="168294" y="210368"/>
                                                </a:cubicBezTo>
                                                <a:cubicBezTo>
                                                  <a:pt x="169802" y="207353"/>
                                                  <a:pt x="171272" y="204059"/>
                                                  <a:pt x="173904" y="201953"/>
                                                </a:cubicBezTo>
                                                <a:cubicBezTo>
                                                  <a:pt x="176213" y="200106"/>
                                                  <a:pt x="179674" y="200470"/>
                                                  <a:pt x="182319" y="199148"/>
                                                </a:cubicBezTo>
                                                <a:cubicBezTo>
                                                  <a:pt x="185334" y="197641"/>
                                                  <a:pt x="187929" y="195409"/>
                                                  <a:pt x="190734" y="193539"/>
                                                </a:cubicBezTo>
                                                <a:cubicBezTo>
                                                  <a:pt x="192604" y="190734"/>
                                                  <a:pt x="195525" y="188394"/>
                                                  <a:pt x="196343" y="185124"/>
                                                </a:cubicBezTo>
                                                <a:cubicBezTo>
                                                  <a:pt x="198396" y="176910"/>
                                                  <a:pt x="194602" y="167023"/>
                                                  <a:pt x="199148" y="159880"/>
                                                </a:cubicBezTo>
                                                <a:cubicBezTo>
                                                  <a:pt x="202323" y="154891"/>
                                                  <a:pt x="210094" y="154858"/>
                                                  <a:pt x="215978" y="154270"/>
                                                </a:cubicBezTo>
                                                <a:lnTo>
                                                  <a:pt x="244027" y="151465"/>
                                                </a:lnTo>
                                                <a:cubicBezTo>
                                                  <a:pt x="246832" y="150530"/>
                                                  <a:pt x="251725" y="151528"/>
                                                  <a:pt x="252442" y="148660"/>
                                                </a:cubicBezTo>
                                                <a:cubicBezTo>
                                                  <a:pt x="256481" y="132504"/>
                                                  <a:pt x="249868" y="129257"/>
                                                  <a:pt x="241222" y="120611"/>
                                                </a:cubicBezTo>
                                                <a:lnTo>
                                                  <a:pt x="235612" y="103782"/>
                                                </a:lnTo>
                                                <a:lnTo>
                                                  <a:pt x="232807" y="95367"/>
                                                </a:lnTo>
                                                <a:cubicBezTo>
                                                  <a:pt x="233742" y="92562"/>
                                                  <a:pt x="233521" y="89043"/>
                                                  <a:pt x="235612" y="86952"/>
                                                </a:cubicBezTo>
                                                <a:cubicBezTo>
                                                  <a:pt x="237703" y="84861"/>
                                                  <a:pt x="241382" y="85469"/>
                                                  <a:pt x="244027" y="84147"/>
                                                </a:cubicBezTo>
                                                <a:cubicBezTo>
                                                  <a:pt x="247042" y="82639"/>
                                                  <a:pt x="249637" y="80407"/>
                                                  <a:pt x="252442" y="78537"/>
                                                </a:cubicBezTo>
                                                <a:cubicBezTo>
                                                  <a:pt x="257370" y="63750"/>
                                                  <a:pt x="251989" y="75715"/>
                                                  <a:pt x="263661" y="61708"/>
                                                </a:cubicBezTo>
                                                <a:cubicBezTo>
                                                  <a:pt x="265819" y="59118"/>
                                                  <a:pt x="267113" y="55883"/>
                                                  <a:pt x="269271" y="53293"/>
                                                </a:cubicBezTo>
                                                <a:cubicBezTo>
                                                  <a:pt x="276020" y="45194"/>
                                                  <a:pt x="277826" y="44785"/>
                                                  <a:pt x="286100" y="39269"/>
                                                </a:cubicBezTo>
                                                <a:cubicBezTo>
                                                  <a:pt x="287970" y="36464"/>
                                                  <a:pt x="290202" y="33869"/>
                                                  <a:pt x="291710" y="30854"/>
                                                </a:cubicBezTo>
                                                <a:cubicBezTo>
                                                  <a:pt x="298156" y="17961"/>
                                                  <a:pt x="308073" y="5142"/>
                                                  <a:pt x="311345"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98" name="Group 197"/>
                                        <p:cNvGrpSpPr/>
                                        <p:nvPr/>
                                      </p:nvGrpSpPr>
                                      <p:grpSpPr>
                                        <a:xfrm>
                                          <a:off x="5466766" y="5203039"/>
                                          <a:ext cx="2715450" cy="1346421"/>
                                          <a:chOff x="5466766" y="5203039"/>
                                          <a:chExt cx="2715450" cy="1346421"/>
                                        </a:xfrm>
                                        <a:grpFill/>
                                      </p:grpSpPr>
                                      <p:sp>
                                        <p:nvSpPr>
                                          <p:cNvPr id="199" name="Freeform 198"/>
                                          <p:cNvSpPr/>
                                          <p:nvPr/>
                                        </p:nvSpPr>
                                        <p:spPr>
                                          <a:xfrm>
                                            <a:off x="5486078" y="5203039"/>
                                            <a:ext cx="2696138" cy="1346421"/>
                                          </a:xfrm>
                                          <a:custGeom>
                                            <a:avLst/>
                                            <a:gdLst>
                                              <a:gd name="connsiteX0" fmla="*/ 8737 w 2696138"/>
                                              <a:gd name="connsiteY0" fmla="*/ 723732 h 1346421"/>
                                              <a:gd name="connsiteX1" fmla="*/ 8737 w 2696138"/>
                                              <a:gd name="connsiteY1" fmla="*/ 723732 h 1346421"/>
                                              <a:gd name="connsiteX2" fmla="*/ 3127 w 2696138"/>
                                              <a:gd name="connsiteY2" fmla="*/ 765805 h 1346421"/>
                                              <a:gd name="connsiteX3" fmla="*/ 322 w 2696138"/>
                                              <a:gd name="connsiteY3" fmla="*/ 777025 h 1346421"/>
                                              <a:gd name="connsiteX4" fmla="*/ 3127 w 2696138"/>
                                              <a:gd name="connsiteY4" fmla="*/ 796659 h 1346421"/>
                                              <a:gd name="connsiteX5" fmla="*/ 25566 w 2696138"/>
                                              <a:gd name="connsiteY5" fmla="*/ 793854 h 1346421"/>
                                              <a:gd name="connsiteX6" fmla="*/ 64835 w 2696138"/>
                                              <a:gd name="connsiteY6" fmla="*/ 788244 h 1346421"/>
                                              <a:gd name="connsiteX7" fmla="*/ 92884 w 2696138"/>
                                              <a:gd name="connsiteY7" fmla="*/ 779830 h 1346421"/>
                                              <a:gd name="connsiteX8" fmla="*/ 106909 w 2696138"/>
                                              <a:gd name="connsiteY8" fmla="*/ 782635 h 1346421"/>
                                              <a:gd name="connsiteX9" fmla="*/ 109713 w 2696138"/>
                                              <a:gd name="connsiteY9" fmla="*/ 791049 h 1346421"/>
                                              <a:gd name="connsiteX10" fmla="*/ 95689 w 2696138"/>
                                              <a:gd name="connsiteY10" fmla="*/ 813489 h 1346421"/>
                                              <a:gd name="connsiteX11" fmla="*/ 87274 w 2696138"/>
                                              <a:gd name="connsiteY11" fmla="*/ 816294 h 1346421"/>
                                              <a:gd name="connsiteX12" fmla="*/ 84469 w 2696138"/>
                                              <a:gd name="connsiteY12" fmla="*/ 833123 h 1346421"/>
                                              <a:gd name="connsiteX13" fmla="*/ 92884 w 2696138"/>
                                              <a:gd name="connsiteY13" fmla="*/ 835928 h 1346421"/>
                                              <a:gd name="connsiteX14" fmla="*/ 98494 w 2696138"/>
                                              <a:gd name="connsiteY14" fmla="*/ 844343 h 1346421"/>
                                              <a:gd name="connsiteX15" fmla="*/ 106909 w 2696138"/>
                                              <a:gd name="connsiteY15" fmla="*/ 852757 h 1346421"/>
                                              <a:gd name="connsiteX16" fmla="*/ 112518 w 2696138"/>
                                              <a:gd name="connsiteY16" fmla="*/ 869587 h 1346421"/>
                                              <a:gd name="connsiteX17" fmla="*/ 112518 w 2696138"/>
                                              <a:gd name="connsiteY17" fmla="*/ 886416 h 1346421"/>
                                              <a:gd name="connsiteX18" fmla="*/ 129348 w 2696138"/>
                                              <a:gd name="connsiteY18" fmla="*/ 892026 h 1346421"/>
                                              <a:gd name="connsiteX19" fmla="*/ 137762 w 2696138"/>
                                              <a:gd name="connsiteY19" fmla="*/ 897636 h 1346421"/>
                                              <a:gd name="connsiteX20" fmla="*/ 134958 w 2696138"/>
                                              <a:gd name="connsiteY20" fmla="*/ 914465 h 1346421"/>
                                              <a:gd name="connsiteX21" fmla="*/ 126543 w 2696138"/>
                                              <a:gd name="connsiteY21" fmla="*/ 917270 h 1346421"/>
                                              <a:gd name="connsiteX22" fmla="*/ 120933 w 2696138"/>
                                              <a:gd name="connsiteY22" fmla="*/ 925685 h 1346421"/>
                                              <a:gd name="connsiteX23" fmla="*/ 109713 w 2696138"/>
                                              <a:gd name="connsiteY23" fmla="*/ 928490 h 1346421"/>
                                              <a:gd name="connsiteX24" fmla="*/ 112518 w 2696138"/>
                                              <a:gd name="connsiteY24" fmla="*/ 945319 h 1346421"/>
                                              <a:gd name="connsiteX25" fmla="*/ 123738 w 2696138"/>
                                              <a:gd name="connsiteY25" fmla="*/ 962149 h 1346421"/>
                                              <a:gd name="connsiteX26" fmla="*/ 154592 w 2696138"/>
                                              <a:gd name="connsiteY26" fmla="*/ 976173 h 1346421"/>
                                              <a:gd name="connsiteX27" fmla="*/ 151787 w 2696138"/>
                                              <a:gd name="connsiteY27" fmla="*/ 987393 h 1346421"/>
                                              <a:gd name="connsiteX28" fmla="*/ 129348 w 2696138"/>
                                              <a:gd name="connsiteY28" fmla="*/ 990198 h 1346421"/>
                                              <a:gd name="connsiteX29" fmla="*/ 112518 w 2696138"/>
                                              <a:gd name="connsiteY29" fmla="*/ 998613 h 1346421"/>
                                              <a:gd name="connsiteX30" fmla="*/ 106909 w 2696138"/>
                                              <a:gd name="connsiteY30" fmla="*/ 1009832 h 1346421"/>
                                              <a:gd name="connsiteX31" fmla="*/ 92884 w 2696138"/>
                                              <a:gd name="connsiteY31" fmla="*/ 990198 h 1346421"/>
                                              <a:gd name="connsiteX32" fmla="*/ 90079 w 2696138"/>
                                              <a:gd name="connsiteY32" fmla="*/ 981783 h 1346421"/>
                                              <a:gd name="connsiteX33" fmla="*/ 87274 w 2696138"/>
                                              <a:gd name="connsiteY33" fmla="*/ 973368 h 1346421"/>
                                              <a:gd name="connsiteX34" fmla="*/ 78859 w 2696138"/>
                                              <a:gd name="connsiteY34" fmla="*/ 970563 h 1346421"/>
                                              <a:gd name="connsiteX35" fmla="*/ 62030 w 2696138"/>
                                              <a:gd name="connsiteY35" fmla="*/ 956539 h 1346421"/>
                                              <a:gd name="connsiteX36" fmla="*/ 56420 w 2696138"/>
                                              <a:gd name="connsiteY36" fmla="*/ 964954 h 1346421"/>
                                              <a:gd name="connsiteX37" fmla="*/ 59225 w 2696138"/>
                                              <a:gd name="connsiteY37" fmla="*/ 976173 h 1346421"/>
                                              <a:gd name="connsiteX38" fmla="*/ 67640 w 2696138"/>
                                              <a:gd name="connsiteY38" fmla="*/ 993003 h 1346421"/>
                                              <a:gd name="connsiteX39" fmla="*/ 64835 w 2696138"/>
                                              <a:gd name="connsiteY39" fmla="*/ 1007027 h 1346421"/>
                                              <a:gd name="connsiteX40" fmla="*/ 56420 w 2696138"/>
                                              <a:gd name="connsiteY40" fmla="*/ 1012637 h 1346421"/>
                                              <a:gd name="connsiteX41" fmla="*/ 59225 w 2696138"/>
                                              <a:gd name="connsiteY41" fmla="*/ 1021052 h 1346421"/>
                                              <a:gd name="connsiteX42" fmla="*/ 67640 w 2696138"/>
                                              <a:gd name="connsiteY42" fmla="*/ 1023857 h 1346421"/>
                                              <a:gd name="connsiteX43" fmla="*/ 84469 w 2696138"/>
                                              <a:gd name="connsiteY43" fmla="*/ 1032271 h 1346421"/>
                                              <a:gd name="connsiteX44" fmla="*/ 92884 w 2696138"/>
                                              <a:gd name="connsiteY44" fmla="*/ 1029467 h 1346421"/>
                                              <a:gd name="connsiteX45" fmla="*/ 109713 w 2696138"/>
                                              <a:gd name="connsiteY45" fmla="*/ 1021052 h 1346421"/>
                                              <a:gd name="connsiteX46" fmla="*/ 120933 w 2696138"/>
                                              <a:gd name="connsiteY46" fmla="*/ 1023857 h 1346421"/>
                                              <a:gd name="connsiteX47" fmla="*/ 123738 w 2696138"/>
                                              <a:gd name="connsiteY47" fmla="*/ 1032271 h 1346421"/>
                                              <a:gd name="connsiteX48" fmla="*/ 126543 w 2696138"/>
                                              <a:gd name="connsiteY48" fmla="*/ 1043491 h 1346421"/>
                                              <a:gd name="connsiteX49" fmla="*/ 160202 w 2696138"/>
                                              <a:gd name="connsiteY49" fmla="*/ 1051906 h 1346421"/>
                                              <a:gd name="connsiteX50" fmla="*/ 171421 w 2696138"/>
                                              <a:gd name="connsiteY50" fmla="*/ 1068735 h 1346421"/>
                                              <a:gd name="connsiteX51" fmla="*/ 185446 w 2696138"/>
                                              <a:gd name="connsiteY51" fmla="*/ 1091174 h 1346421"/>
                                              <a:gd name="connsiteX52" fmla="*/ 188251 w 2696138"/>
                                              <a:gd name="connsiteY52" fmla="*/ 1119224 h 1346421"/>
                                              <a:gd name="connsiteX53" fmla="*/ 185446 w 2696138"/>
                                              <a:gd name="connsiteY53" fmla="*/ 1144468 h 1346421"/>
                                              <a:gd name="connsiteX54" fmla="*/ 191056 w 2696138"/>
                                              <a:gd name="connsiteY54" fmla="*/ 1161297 h 1346421"/>
                                              <a:gd name="connsiteX55" fmla="*/ 210690 w 2696138"/>
                                              <a:gd name="connsiteY55" fmla="*/ 1175322 h 1346421"/>
                                              <a:gd name="connsiteX56" fmla="*/ 219105 w 2696138"/>
                                              <a:gd name="connsiteY56" fmla="*/ 1169712 h 1346421"/>
                                              <a:gd name="connsiteX57" fmla="*/ 230324 w 2696138"/>
                                              <a:gd name="connsiteY57" fmla="*/ 1186541 h 1346421"/>
                                              <a:gd name="connsiteX58" fmla="*/ 247154 w 2696138"/>
                                              <a:gd name="connsiteY58" fmla="*/ 1194956 h 1346421"/>
                                              <a:gd name="connsiteX59" fmla="*/ 244349 w 2696138"/>
                                              <a:gd name="connsiteY59" fmla="*/ 1208981 h 1346421"/>
                                              <a:gd name="connsiteX60" fmla="*/ 241544 w 2696138"/>
                                              <a:gd name="connsiteY60" fmla="*/ 1217395 h 1346421"/>
                                              <a:gd name="connsiteX61" fmla="*/ 221910 w 2696138"/>
                                              <a:gd name="connsiteY61" fmla="*/ 1214590 h 1346421"/>
                                              <a:gd name="connsiteX62" fmla="*/ 205080 w 2696138"/>
                                              <a:gd name="connsiteY62" fmla="*/ 1217395 h 1346421"/>
                                              <a:gd name="connsiteX63" fmla="*/ 210690 w 2696138"/>
                                              <a:gd name="connsiteY63" fmla="*/ 1228615 h 1346421"/>
                                              <a:gd name="connsiteX64" fmla="*/ 241544 w 2696138"/>
                                              <a:gd name="connsiteY64" fmla="*/ 1231420 h 1346421"/>
                                              <a:gd name="connsiteX65" fmla="*/ 249959 w 2696138"/>
                                              <a:gd name="connsiteY65" fmla="*/ 1234225 h 1346421"/>
                                              <a:gd name="connsiteX66" fmla="*/ 300447 w 2696138"/>
                                              <a:gd name="connsiteY66" fmla="*/ 1223005 h 1346421"/>
                                              <a:gd name="connsiteX67" fmla="*/ 331301 w 2696138"/>
                                              <a:gd name="connsiteY67" fmla="*/ 1217395 h 1346421"/>
                                              <a:gd name="connsiteX68" fmla="*/ 325691 w 2696138"/>
                                              <a:gd name="connsiteY68" fmla="*/ 1242640 h 1346421"/>
                                              <a:gd name="connsiteX69" fmla="*/ 322886 w 2696138"/>
                                              <a:gd name="connsiteY69" fmla="*/ 1251054 h 1346421"/>
                                              <a:gd name="connsiteX70" fmla="*/ 314472 w 2696138"/>
                                              <a:gd name="connsiteY70" fmla="*/ 1253859 h 1346421"/>
                                              <a:gd name="connsiteX71" fmla="*/ 297642 w 2696138"/>
                                              <a:gd name="connsiteY71" fmla="*/ 1256664 h 1346421"/>
                                              <a:gd name="connsiteX72" fmla="*/ 263983 w 2696138"/>
                                              <a:gd name="connsiteY72" fmla="*/ 1267884 h 1346421"/>
                                              <a:gd name="connsiteX73" fmla="*/ 255569 w 2696138"/>
                                              <a:gd name="connsiteY73" fmla="*/ 1270689 h 1346421"/>
                                              <a:gd name="connsiteX74" fmla="*/ 238739 w 2696138"/>
                                              <a:gd name="connsiteY74" fmla="*/ 1281908 h 1346421"/>
                                              <a:gd name="connsiteX75" fmla="*/ 241544 w 2696138"/>
                                              <a:gd name="connsiteY75" fmla="*/ 1290323 h 1346421"/>
                                              <a:gd name="connsiteX76" fmla="*/ 272398 w 2696138"/>
                                              <a:gd name="connsiteY76" fmla="*/ 1290323 h 1346421"/>
                                              <a:gd name="connsiteX77" fmla="*/ 297642 w 2696138"/>
                                              <a:gd name="connsiteY77" fmla="*/ 1279103 h 1346421"/>
                                              <a:gd name="connsiteX78" fmla="*/ 306057 w 2696138"/>
                                              <a:gd name="connsiteY78" fmla="*/ 1276298 h 1346421"/>
                                              <a:gd name="connsiteX79" fmla="*/ 314472 w 2696138"/>
                                              <a:gd name="connsiteY79" fmla="*/ 1273494 h 1346421"/>
                                              <a:gd name="connsiteX80" fmla="*/ 322886 w 2696138"/>
                                              <a:gd name="connsiteY80" fmla="*/ 1276298 h 1346421"/>
                                              <a:gd name="connsiteX81" fmla="*/ 336911 w 2696138"/>
                                              <a:gd name="connsiteY81" fmla="*/ 1290323 h 1346421"/>
                                              <a:gd name="connsiteX82" fmla="*/ 353740 w 2696138"/>
                                              <a:gd name="connsiteY82" fmla="*/ 1279103 h 1346421"/>
                                              <a:gd name="connsiteX83" fmla="*/ 356545 w 2696138"/>
                                              <a:gd name="connsiteY83" fmla="*/ 1270689 h 1346421"/>
                                              <a:gd name="connsiteX84" fmla="*/ 359350 w 2696138"/>
                                              <a:gd name="connsiteY84" fmla="*/ 1256664 h 1346421"/>
                                              <a:gd name="connsiteX85" fmla="*/ 367765 w 2696138"/>
                                              <a:gd name="connsiteY85" fmla="*/ 1253859 h 1346421"/>
                                              <a:gd name="connsiteX86" fmla="*/ 370570 w 2696138"/>
                                              <a:gd name="connsiteY86" fmla="*/ 1245444 h 1346421"/>
                                              <a:gd name="connsiteX87" fmla="*/ 378985 w 2696138"/>
                                              <a:gd name="connsiteY87" fmla="*/ 1248249 h 1346421"/>
                                              <a:gd name="connsiteX88" fmla="*/ 395814 w 2696138"/>
                                              <a:gd name="connsiteY88" fmla="*/ 1259469 h 1346421"/>
                                              <a:gd name="connsiteX89" fmla="*/ 404229 w 2696138"/>
                                              <a:gd name="connsiteY89" fmla="*/ 1265079 h 1346421"/>
                                              <a:gd name="connsiteX90" fmla="*/ 426668 w 2696138"/>
                                              <a:gd name="connsiteY90" fmla="*/ 1270689 h 1346421"/>
                                              <a:gd name="connsiteX91" fmla="*/ 435083 w 2696138"/>
                                              <a:gd name="connsiteY91" fmla="*/ 1276298 h 1346421"/>
                                              <a:gd name="connsiteX92" fmla="*/ 446302 w 2696138"/>
                                              <a:gd name="connsiteY92" fmla="*/ 1265079 h 1346421"/>
                                              <a:gd name="connsiteX93" fmla="*/ 454717 w 2696138"/>
                                              <a:gd name="connsiteY93" fmla="*/ 1262274 h 1346421"/>
                                              <a:gd name="connsiteX94" fmla="*/ 465937 w 2696138"/>
                                              <a:gd name="connsiteY94" fmla="*/ 1270689 h 1346421"/>
                                              <a:gd name="connsiteX95" fmla="*/ 468742 w 2696138"/>
                                              <a:gd name="connsiteY95" fmla="*/ 1279103 h 1346421"/>
                                              <a:gd name="connsiteX96" fmla="*/ 471547 w 2696138"/>
                                              <a:gd name="connsiteY96" fmla="*/ 1304348 h 1346421"/>
                                              <a:gd name="connsiteX97" fmla="*/ 485571 w 2696138"/>
                                              <a:gd name="connsiteY97" fmla="*/ 1307152 h 1346421"/>
                                              <a:gd name="connsiteX98" fmla="*/ 491181 w 2696138"/>
                                              <a:gd name="connsiteY98" fmla="*/ 1315567 h 1346421"/>
                                              <a:gd name="connsiteX99" fmla="*/ 493986 w 2696138"/>
                                              <a:gd name="connsiteY99" fmla="*/ 1323982 h 1346421"/>
                                              <a:gd name="connsiteX100" fmla="*/ 502401 w 2696138"/>
                                              <a:gd name="connsiteY100" fmla="*/ 1326787 h 1346421"/>
                                              <a:gd name="connsiteX101" fmla="*/ 510815 w 2696138"/>
                                              <a:gd name="connsiteY101" fmla="*/ 1332397 h 1346421"/>
                                              <a:gd name="connsiteX102" fmla="*/ 536059 w 2696138"/>
                                              <a:gd name="connsiteY102" fmla="*/ 1338006 h 1346421"/>
                                              <a:gd name="connsiteX103" fmla="*/ 544474 w 2696138"/>
                                              <a:gd name="connsiteY103" fmla="*/ 1340811 h 1346421"/>
                                              <a:gd name="connsiteX104" fmla="*/ 564109 w 2696138"/>
                                              <a:gd name="connsiteY104" fmla="*/ 1346421 h 1346421"/>
                                              <a:gd name="connsiteX105" fmla="*/ 580938 w 2696138"/>
                                              <a:gd name="connsiteY105" fmla="*/ 1343616 h 1346421"/>
                                              <a:gd name="connsiteX106" fmla="*/ 589353 w 2696138"/>
                                              <a:gd name="connsiteY106" fmla="*/ 1335201 h 1346421"/>
                                              <a:gd name="connsiteX107" fmla="*/ 597767 w 2696138"/>
                                              <a:gd name="connsiteY107" fmla="*/ 1329592 h 1346421"/>
                                              <a:gd name="connsiteX108" fmla="*/ 634231 w 2696138"/>
                                              <a:gd name="connsiteY108" fmla="*/ 1321177 h 1346421"/>
                                              <a:gd name="connsiteX109" fmla="*/ 665085 w 2696138"/>
                                              <a:gd name="connsiteY109" fmla="*/ 1318372 h 1346421"/>
                                              <a:gd name="connsiteX110" fmla="*/ 681915 w 2696138"/>
                                              <a:gd name="connsiteY110" fmla="*/ 1323982 h 1346421"/>
                                              <a:gd name="connsiteX111" fmla="*/ 684720 w 2696138"/>
                                              <a:gd name="connsiteY111" fmla="*/ 1315567 h 1346421"/>
                                              <a:gd name="connsiteX112" fmla="*/ 679110 w 2696138"/>
                                              <a:gd name="connsiteY112" fmla="*/ 1287518 h 1346421"/>
                                              <a:gd name="connsiteX113" fmla="*/ 681915 w 2696138"/>
                                              <a:gd name="connsiteY113" fmla="*/ 1270689 h 1346421"/>
                                              <a:gd name="connsiteX114" fmla="*/ 687524 w 2696138"/>
                                              <a:gd name="connsiteY114" fmla="*/ 1253859 h 1346421"/>
                                              <a:gd name="connsiteX115" fmla="*/ 687524 w 2696138"/>
                                              <a:gd name="connsiteY115" fmla="*/ 1217395 h 1346421"/>
                                              <a:gd name="connsiteX116" fmla="*/ 695939 w 2696138"/>
                                              <a:gd name="connsiteY116" fmla="*/ 1211786 h 1346421"/>
                                              <a:gd name="connsiteX117" fmla="*/ 704354 w 2696138"/>
                                              <a:gd name="connsiteY117" fmla="*/ 1208981 h 1346421"/>
                                              <a:gd name="connsiteX118" fmla="*/ 771672 w 2696138"/>
                                              <a:gd name="connsiteY118" fmla="*/ 1203371 h 1346421"/>
                                              <a:gd name="connsiteX119" fmla="*/ 824965 w 2696138"/>
                                              <a:gd name="connsiteY119" fmla="*/ 1203371 h 1346421"/>
                                              <a:gd name="connsiteX120" fmla="*/ 850209 w 2696138"/>
                                              <a:gd name="connsiteY120" fmla="*/ 1211786 h 1346421"/>
                                              <a:gd name="connsiteX121" fmla="*/ 878258 w 2696138"/>
                                              <a:gd name="connsiteY121" fmla="*/ 1217395 h 1346421"/>
                                              <a:gd name="connsiteX122" fmla="*/ 889478 w 2696138"/>
                                              <a:gd name="connsiteY122" fmla="*/ 1220200 h 1346421"/>
                                              <a:gd name="connsiteX123" fmla="*/ 897893 w 2696138"/>
                                              <a:gd name="connsiteY123" fmla="*/ 1223005 h 1346421"/>
                                              <a:gd name="connsiteX124" fmla="*/ 923137 w 2696138"/>
                                              <a:gd name="connsiteY124" fmla="*/ 1228615 h 1346421"/>
                                              <a:gd name="connsiteX125" fmla="*/ 928747 w 2696138"/>
                                              <a:gd name="connsiteY125" fmla="*/ 1245444 h 1346421"/>
                                              <a:gd name="connsiteX126" fmla="*/ 934356 w 2696138"/>
                                              <a:gd name="connsiteY126" fmla="*/ 1253859 h 1346421"/>
                                              <a:gd name="connsiteX127" fmla="*/ 953991 w 2696138"/>
                                              <a:gd name="connsiteY127" fmla="*/ 1270689 h 1346421"/>
                                              <a:gd name="connsiteX128" fmla="*/ 962405 w 2696138"/>
                                              <a:gd name="connsiteY128" fmla="*/ 1273494 h 1346421"/>
                                              <a:gd name="connsiteX129" fmla="*/ 987650 w 2696138"/>
                                              <a:gd name="connsiteY129" fmla="*/ 1287518 h 1346421"/>
                                              <a:gd name="connsiteX130" fmla="*/ 996064 w 2696138"/>
                                              <a:gd name="connsiteY130" fmla="*/ 1295933 h 1346421"/>
                                              <a:gd name="connsiteX131" fmla="*/ 1046553 w 2696138"/>
                                              <a:gd name="connsiteY131" fmla="*/ 1298738 h 1346421"/>
                                              <a:gd name="connsiteX132" fmla="*/ 1071797 w 2696138"/>
                                              <a:gd name="connsiteY132" fmla="*/ 1290323 h 1346421"/>
                                              <a:gd name="connsiteX133" fmla="*/ 1080212 w 2696138"/>
                                              <a:gd name="connsiteY133" fmla="*/ 1287518 h 1346421"/>
                                              <a:gd name="connsiteX134" fmla="*/ 1111066 w 2696138"/>
                                              <a:gd name="connsiteY134" fmla="*/ 1281908 h 1346421"/>
                                              <a:gd name="connsiteX135" fmla="*/ 1127895 w 2696138"/>
                                              <a:gd name="connsiteY135" fmla="*/ 1276298 h 1346421"/>
                                              <a:gd name="connsiteX136" fmla="*/ 1150334 w 2696138"/>
                                              <a:gd name="connsiteY136" fmla="*/ 1270689 h 1346421"/>
                                              <a:gd name="connsiteX137" fmla="*/ 1167164 w 2696138"/>
                                              <a:gd name="connsiteY137" fmla="*/ 1256664 h 1346421"/>
                                              <a:gd name="connsiteX138" fmla="*/ 1175578 w 2696138"/>
                                              <a:gd name="connsiteY138" fmla="*/ 1251054 h 1346421"/>
                                              <a:gd name="connsiteX139" fmla="*/ 1181188 w 2696138"/>
                                              <a:gd name="connsiteY139" fmla="*/ 1242640 h 1346421"/>
                                              <a:gd name="connsiteX140" fmla="*/ 1183993 w 2696138"/>
                                              <a:gd name="connsiteY140" fmla="*/ 1234225 h 1346421"/>
                                              <a:gd name="connsiteX141" fmla="*/ 1220457 w 2696138"/>
                                              <a:gd name="connsiteY141" fmla="*/ 1186541 h 1346421"/>
                                              <a:gd name="connsiteX142" fmla="*/ 1245701 w 2696138"/>
                                              <a:gd name="connsiteY142" fmla="*/ 1164102 h 1346421"/>
                                              <a:gd name="connsiteX143" fmla="*/ 1251311 w 2696138"/>
                                              <a:gd name="connsiteY143" fmla="*/ 1147273 h 1346421"/>
                                              <a:gd name="connsiteX144" fmla="*/ 1254116 w 2696138"/>
                                              <a:gd name="connsiteY144" fmla="*/ 1136053 h 1346421"/>
                                              <a:gd name="connsiteX145" fmla="*/ 1276555 w 2696138"/>
                                              <a:gd name="connsiteY145" fmla="*/ 1116419 h 1346421"/>
                                              <a:gd name="connsiteX146" fmla="*/ 1284970 w 2696138"/>
                                              <a:gd name="connsiteY146" fmla="*/ 1113614 h 1346421"/>
                                              <a:gd name="connsiteX147" fmla="*/ 1307409 w 2696138"/>
                                              <a:gd name="connsiteY147" fmla="*/ 1124833 h 1346421"/>
                                              <a:gd name="connsiteX148" fmla="*/ 1315824 w 2696138"/>
                                              <a:gd name="connsiteY148" fmla="*/ 1127638 h 1346421"/>
                                              <a:gd name="connsiteX149" fmla="*/ 1341068 w 2696138"/>
                                              <a:gd name="connsiteY149" fmla="*/ 1130443 h 1346421"/>
                                              <a:gd name="connsiteX150" fmla="*/ 1346678 w 2696138"/>
                                              <a:gd name="connsiteY150" fmla="*/ 1138858 h 1346421"/>
                                              <a:gd name="connsiteX151" fmla="*/ 1374727 w 2696138"/>
                                              <a:gd name="connsiteY151" fmla="*/ 1141663 h 1346421"/>
                                              <a:gd name="connsiteX152" fmla="*/ 1394361 w 2696138"/>
                                              <a:gd name="connsiteY152" fmla="*/ 1144468 h 1346421"/>
                                              <a:gd name="connsiteX153" fmla="*/ 1413996 w 2696138"/>
                                              <a:gd name="connsiteY153" fmla="*/ 1144468 h 1346421"/>
                                              <a:gd name="connsiteX154" fmla="*/ 1416801 w 2696138"/>
                                              <a:gd name="connsiteY154" fmla="*/ 1136053 h 1346421"/>
                                              <a:gd name="connsiteX155" fmla="*/ 1419605 w 2696138"/>
                                              <a:gd name="connsiteY155" fmla="*/ 1110809 h 1346421"/>
                                              <a:gd name="connsiteX156" fmla="*/ 1442045 w 2696138"/>
                                              <a:gd name="connsiteY156" fmla="*/ 1105199 h 1346421"/>
                                              <a:gd name="connsiteX157" fmla="*/ 1450459 w 2696138"/>
                                              <a:gd name="connsiteY157" fmla="*/ 1099589 h 1346421"/>
                                              <a:gd name="connsiteX158" fmla="*/ 1453264 w 2696138"/>
                                              <a:gd name="connsiteY158" fmla="*/ 1091174 h 1346421"/>
                                              <a:gd name="connsiteX159" fmla="*/ 1458874 w 2696138"/>
                                              <a:gd name="connsiteY159" fmla="*/ 1082760 h 1346421"/>
                                              <a:gd name="connsiteX160" fmla="*/ 1461679 w 2696138"/>
                                              <a:gd name="connsiteY160" fmla="*/ 1074345 h 1346421"/>
                                              <a:gd name="connsiteX161" fmla="*/ 1478509 w 2696138"/>
                                              <a:gd name="connsiteY161" fmla="*/ 1065930 h 1346421"/>
                                              <a:gd name="connsiteX162" fmla="*/ 1486923 w 2696138"/>
                                              <a:gd name="connsiteY162" fmla="*/ 1068735 h 1346421"/>
                                              <a:gd name="connsiteX163" fmla="*/ 1495338 w 2696138"/>
                                              <a:gd name="connsiteY163" fmla="*/ 1085565 h 1346421"/>
                                              <a:gd name="connsiteX164" fmla="*/ 1500948 w 2696138"/>
                                              <a:gd name="connsiteY164" fmla="*/ 1093979 h 1346421"/>
                                              <a:gd name="connsiteX165" fmla="*/ 1503753 w 2696138"/>
                                              <a:gd name="connsiteY165" fmla="*/ 1102394 h 1346421"/>
                                              <a:gd name="connsiteX166" fmla="*/ 1500948 w 2696138"/>
                                              <a:gd name="connsiteY166" fmla="*/ 1113614 h 1346421"/>
                                              <a:gd name="connsiteX167" fmla="*/ 1498143 w 2696138"/>
                                              <a:gd name="connsiteY167" fmla="*/ 1122028 h 1346421"/>
                                              <a:gd name="connsiteX168" fmla="*/ 1484118 w 2696138"/>
                                              <a:gd name="connsiteY168" fmla="*/ 1138858 h 1346421"/>
                                              <a:gd name="connsiteX169" fmla="*/ 1478509 w 2696138"/>
                                              <a:gd name="connsiteY169" fmla="*/ 1155687 h 1346421"/>
                                              <a:gd name="connsiteX170" fmla="*/ 1475704 w 2696138"/>
                                              <a:gd name="connsiteY170" fmla="*/ 1164102 h 1346421"/>
                                              <a:gd name="connsiteX171" fmla="*/ 1470094 w 2696138"/>
                                              <a:gd name="connsiteY171" fmla="*/ 1172517 h 1346421"/>
                                              <a:gd name="connsiteX172" fmla="*/ 1475704 w 2696138"/>
                                              <a:gd name="connsiteY172" fmla="*/ 1192151 h 1346421"/>
                                              <a:gd name="connsiteX173" fmla="*/ 1484118 w 2696138"/>
                                              <a:gd name="connsiteY173" fmla="*/ 1194956 h 1346421"/>
                                              <a:gd name="connsiteX174" fmla="*/ 1486923 w 2696138"/>
                                              <a:gd name="connsiteY174" fmla="*/ 1225810 h 1346421"/>
                                              <a:gd name="connsiteX175" fmla="*/ 1509362 w 2696138"/>
                                              <a:gd name="connsiteY175" fmla="*/ 1239835 h 1346421"/>
                                              <a:gd name="connsiteX176" fmla="*/ 1526192 w 2696138"/>
                                              <a:gd name="connsiteY176" fmla="*/ 1248249 h 1346421"/>
                                              <a:gd name="connsiteX177" fmla="*/ 1534607 w 2696138"/>
                                              <a:gd name="connsiteY177" fmla="*/ 1245444 h 1346421"/>
                                              <a:gd name="connsiteX178" fmla="*/ 1540216 w 2696138"/>
                                              <a:gd name="connsiteY178" fmla="*/ 1228615 h 1346421"/>
                                              <a:gd name="connsiteX179" fmla="*/ 1543021 w 2696138"/>
                                              <a:gd name="connsiteY179" fmla="*/ 1220200 h 1346421"/>
                                              <a:gd name="connsiteX180" fmla="*/ 1551436 w 2696138"/>
                                              <a:gd name="connsiteY180" fmla="*/ 1217395 h 1346421"/>
                                              <a:gd name="connsiteX181" fmla="*/ 1557046 w 2696138"/>
                                              <a:gd name="connsiteY181" fmla="*/ 1208981 h 1346421"/>
                                              <a:gd name="connsiteX182" fmla="*/ 1557046 w 2696138"/>
                                              <a:gd name="connsiteY182" fmla="*/ 1169712 h 1346421"/>
                                              <a:gd name="connsiteX183" fmla="*/ 1565461 w 2696138"/>
                                              <a:gd name="connsiteY183" fmla="*/ 1166907 h 1346421"/>
                                              <a:gd name="connsiteX184" fmla="*/ 1571070 w 2696138"/>
                                              <a:gd name="connsiteY184" fmla="*/ 1158492 h 1346421"/>
                                              <a:gd name="connsiteX185" fmla="*/ 1582290 w 2696138"/>
                                              <a:gd name="connsiteY185" fmla="*/ 1147273 h 1346421"/>
                                              <a:gd name="connsiteX186" fmla="*/ 1568266 w 2696138"/>
                                              <a:gd name="connsiteY186" fmla="*/ 1124833 h 1346421"/>
                                              <a:gd name="connsiteX187" fmla="*/ 1565461 w 2696138"/>
                                              <a:gd name="connsiteY187" fmla="*/ 1116419 h 1346421"/>
                                              <a:gd name="connsiteX188" fmla="*/ 1565461 w 2696138"/>
                                              <a:gd name="connsiteY188" fmla="*/ 1074345 h 1346421"/>
                                              <a:gd name="connsiteX189" fmla="*/ 1568266 w 2696138"/>
                                              <a:gd name="connsiteY189" fmla="*/ 1071540 h 1346421"/>
                                              <a:gd name="connsiteX190" fmla="*/ 1607534 w 2696138"/>
                                              <a:gd name="connsiteY190" fmla="*/ 1065930 h 1346421"/>
                                              <a:gd name="connsiteX191" fmla="*/ 1669242 w 2696138"/>
                                              <a:gd name="connsiteY191" fmla="*/ 1068735 h 1346421"/>
                                              <a:gd name="connsiteX192" fmla="*/ 1697291 w 2696138"/>
                                              <a:gd name="connsiteY192" fmla="*/ 1065930 h 1346421"/>
                                              <a:gd name="connsiteX193" fmla="*/ 1702901 w 2696138"/>
                                              <a:gd name="connsiteY193" fmla="*/ 1057516 h 1346421"/>
                                              <a:gd name="connsiteX194" fmla="*/ 1719731 w 2696138"/>
                                              <a:gd name="connsiteY194" fmla="*/ 1046296 h 1346421"/>
                                              <a:gd name="connsiteX195" fmla="*/ 1728145 w 2696138"/>
                                              <a:gd name="connsiteY195" fmla="*/ 1037881 h 1346421"/>
                                              <a:gd name="connsiteX196" fmla="*/ 1736560 w 2696138"/>
                                              <a:gd name="connsiteY196" fmla="*/ 1035076 h 1346421"/>
                                              <a:gd name="connsiteX197" fmla="*/ 1753389 w 2696138"/>
                                              <a:gd name="connsiteY197" fmla="*/ 1023857 h 1346421"/>
                                              <a:gd name="connsiteX198" fmla="*/ 1756194 w 2696138"/>
                                              <a:gd name="connsiteY198" fmla="*/ 1015442 h 1346421"/>
                                              <a:gd name="connsiteX199" fmla="*/ 1778634 w 2696138"/>
                                              <a:gd name="connsiteY199" fmla="*/ 995808 h 1346421"/>
                                              <a:gd name="connsiteX200" fmla="*/ 1795463 w 2696138"/>
                                              <a:gd name="connsiteY200" fmla="*/ 990198 h 1346421"/>
                                              <a:gd name="connsiteX201" fmla="*/ 1826317 w 2696138"/>
                                              <a:gd name="connsiteY201" fmla="*/ 995808 h 1346421"/>
                                              <a:gd name="connsiteX202" fmla="*/ 1834732 w 2696138"/>
                                              <a:gd name="connsiteY202" fmla="*/ 1001417 h 1346421"/>
                                              <a:gd name="connsiteX203" fmla="*/ 1851561 w 2696138"/>
                                              <a:gd name="connsiteY203" fmla="*/ 1007027 h 1346421"/>
                                              <a:gd name="connsiteX204" fmla="*/ 1868391 w 2696138"/>
                                              <a:gd name="connsiteY204" fmla="*/ 1015442 h 1346421"/>
                                              <a:gd name="connsiteX205" fmla="*/ 1893635 w 2696138"/>
                                              <a:gd name="connsiteY205" fmla="*/ 1004222 h 1346421"/>
                                              <a:gd name="connsiteX206" fmla="*/ 1902050 w 2696138"/>
                                              <a:gd name="connsiteY206" fmla="*/ 1001417 h 1346421"/>
                                              <a:gd name="connsiteX207" fmla="*/ 1930099 w 2696138"/>
                                              <a:gd name="connsiteY207" fmla="*/ 998613 h 1346421"/>
                                              <a:gd name="connsiteX208" fmla="*/ 1949733 w 2696138"/>
                                              <a:gd name="connsiteY208" fmla="*/ 993003 h 1346421"/>
                                              <a:gd name="connsiteX209" fmla="*/ 1972172 w 2696138"/>
                                              <a:gd name="connsiteY209" fmla="*/ 990198 h 1346421"/>
                                              <a:gd name="connsiteX210" fmla="*/ 1989002 w 2696138"/>
                                              <a:gd name="connsiteY210" fmla="*/ 984588 h 1346421"/>
                                              <a:gd name="connsiteX211" fmla="*/ 1997416 w 2696138"/>
                                              <a:gd name="connsiteY211" fmla="*/ 981783 h 1346421"/>
                                              <a:gd name="connsiteX212" fmla="*/ 2005831 w 2696138"/>
                                              <a:gd name="connsiteY212" fmla="*/ 976173 h 1346421"/>
                                              <a:gd name="connsiteX213" fmla="*/ 2019856 w 2696138"/>
                                              <a:gd name="connsiteY213" fmla="*/ 964954 h 1346421"/>
                                              <a:gd name="connsiteX214" fmla="*/ 2025466 w 2696138"/>
                                              <a:gd name="connsiteY214" fmla="*/ 956539 h 1346421"/>
                                              <a:gd name="connsiteX215" fmla="*/ 2033880 w 2696138"/>
                                              <a:gd name="connsiteY215" fmla="*/ 950929 h 1346421"/>
                                              <a:gd name="connsiteX216" fmla="*/ 2050710 w 2696138"/>
                                              <a:gd name="connsiteY216" fmla="*/ 936905 h 1346421"/>
                                              <a:gd name="connsiteX217" fmla="*/ 2067539 w 2696138"/>
                                              <a:gd name="connsiteY217" fmla="*/ 922880 h 1346421"/>
                                              <a:gd name="connsiteX218" fmla="*/ 2075954 w 2696138"/>
                                              <a:gd name="connsiteY218" fmla="*/ 920075 h 1346421"/>
                                              <a:gd name="connsiteX219" fmla="*/ 2084369 w 2696138"/>
                                              <a:gd name="connsiteY219" fmla="*/ 911660 h 1346421"/>
                                              <a:gd name="connsiteX220" fmla="*/ 2089978 w 2696138"/>
                                              <a:gd name="connsiteY220" fmla="*/ 903246 h 1346421"/>
                                              <a:gd name="connsiteX221" fmla="*/ 2098393 w 2696138"/>
                                              <a:gd name="connsiteY221" fmla="*/ 897636 h 1346421"/>
                                              <a:gd name="connsiteX222" fmla="*/ 2104003 w 2696138"/>
                                              <a:gd name="connsiteY222" fmla="*/ 889221 h 1346421"/>
                                              <a:gd name="connsiteX223" fmla="*/ 2123637 w 2696138"/>
                                              <a:gd name="connsiteY223" fmla="*/ 878001 h 1346421"/>
                                              <a:gd name="connsiteX224" fmla="*/ 2132052 w 2696138"/>
                                              <a:gd name="connsiteY224" fmla="*/ 872392 h 1346421"/>
                                              <a:gd name="connsiteX225" fmla="*/ 2148882 w 2696138"/>
                                              <a:gd name="connsiteY225" fmla="*/ 866782 h 1346421"/>
                                              <a:gd name="connsiteX226" fmla="*/ 2157296 w 2696138"/>
                                              <a:gd name="connsiteY226" fmla="*/ 861172 h 1346421"/>
                                              <a:gd name="connsiteX227" fmla="*/ 2199370 w 2696138"/>
                                              <a:gd name="connsiteY227" fmla="*/ 855562 h 1346421"/>
                                              <a:gd name="connsiteX228" fmla="*/ 2207785 w 2696138"/>
                                              <a:gd name="connsiteY228" fmla="*/ 852757 h 1346421"/>
                                              <a:gd name="connsiteX229" fmla="*/ 2233029 w 2696138"/>
                                              <a:gd name="connsiteY229" fmla="*/ 838733 h 1346421"/>
                                              <a:gd name="connsiteX230" fmla="*/ 2241443 w 2696138"/>
                                              <a:gd name="connsiteY230" fmla="*/ 833123 h 1346421"/>
                                              <a:gd name="connsiteX231" fmla="*/ 2249858 w 2696138"/>
                                              <a:gd name="connsiteY231" fmla="*/ 830318 h 1346421"/>
                                              <a:gd name="connsiteX232" fmla="*/ 2275102 w 2696138"/>
                                              <a:gd name="connsiteY232" fmla="*/ 824708 h 1346421"/>
                                              <a:gd name="connsiteX233" fmla="*/ 2291932 w 2696138"/>
                                              <a:gd name="connsiteY233" fmla="*/ 819098 h 1346421"/>
                                              <a:gd name="connsiteX234" fmla="*/ 2305956 w 2696138"/>
                                              <a:gd name="connsiteY234" fmla="*/ 802269 h 1346421"/>
                                              <a:gd name="connsiteX235" fmla="*/ 2317176 w 2696138"/>
                                              <a:gd name="connsiteY235" fmla="*/ 785440 h 1346421"/>
                                              <a:gd name="connsiteX236" fmla="*/ 2328396 w 2696138"/>
                                              <a:gd name="connsiteY236" fmla="*/ 768610 h 1346421"/>
                                              <a:gd name="connsiteX237" fmla="*/ 2336810 w 2696138"/>
                                              <a:gd name="connsiteY237" fmla="*/ 771415 h 1346421"/>
                                              <a:gd name="connsiteX238" fmla="*/ 2350835 w 2696138"/>
                                              <a:gd name="connsiteY238" fmla="*/ 788244 h 1346421"/>
                                              <a:gd name="connsiteX239" fmla="*/ 2353640 w 2696138"/>
                                              <a:gd name="connsiteY239" fmla="*/ 796659 h 1346421"/>
                                              <a:gd name="connsiteX240" fmla="*/ 2362055 w 2696138"/>
                                              <a:gd name="connsiteY240" fmla="*/ 799464 h 1346421"/>
                                              <a:gd name="connsiteX241" fmla="*/ 2384494 w 2696138"/>
                                              <a:gd name="connsiteY241" fmla="*/ 791049 h 1346421"/>
                                              <a:gd name="connsiteX242" fmla="*/ 2390104 w 2696138"/>
                                              <a:gd name="connsiteY242" fmla="*/ 782635 h 1346421"/>
                                              <a:gd name="connsiteX243" fmla="*/ 2398518 w 2696138"/>
                                              <a:gd name="connsiteY243" fmla="*/ 757390 h 1346421"/>
                                              <a:gd name="connsiteX244" fmla="*/ 2401323 w 2696138"/>
                                              <a:gd name="connsiteY244" fmla="*/ 748976 h 1346421"/>
                                              <a:gd name="connsiteX245" fmla="*/ 2406933 w 2696138"/>
                                              <a:gd name="connsiteY245" fmla="*/ 740561 h 1346421"/>
                                              <a:gd name="connsiteX246" fmla="*/ 2423762 w 2696138"/>
                                              <a:gd name="connsiteY246" fmla="*/ 734951 h 1346421"/>
                                              <a:gd name="connsiteX247" fmla="*/ 2485470 w 2696138"/>
                                              <a:gd name="connsiteY247" fmla="*/ 729341 h 1346421"/>
                                              <a:gd name="connsiteX248" fmla="*/ 2502300 w 2696138"/>
                                              <a:gd name="connsiteY248" fmla="*/ 726536 h 1346421"/>
                                              <a:gd name="connsiteX249" fmla="*/ 2513520 w 2696138"/>
                                              <a:gd name="connsiteY249" fmla="*/ 723732 h 1346421"/>
                                              <a:gd name="connsiteX250" fmla="*/ 2535959 w 2696138"/>
                                              <a:gd name="connsiteY250" fmla="*/ 720927 h 1346421"/>
                                              <a:gd name="connsiteX251" fmla="*/ 2555593 w 2696138"/>
                                              <a:gd name="connsiteY251" fmla="*/ 715317 h 1346421"/>
                                              <a:gd name="connsiteX252" fmla="*/ 2569618 w 2696138"/>
                                              <a:gd name="connsiteY252" fmla="*/ 704097 h 1346421"/>
                                              <a:gd name="connsiteX253" fmla="*/ 2575228 w 2696138"/>
                                              <a:gd name="connsiteY253" fmla="*/ 695682 h 1346421"/>
                                              <a:gd name="connsiteX254" fmla="*/ 2600472 w 2696138"/>
                                              <a:gd name="connsiteY254" fmla="*/ 695682 h 1346421"/>
                                              <a:gd name="connsiteX255" fmla="*/ 2628521 w 2696138"/>
                                              <a:gd name="connsiteY255" fmla="*/ 729341 h 1346421"/>
                                              <a:gd name="connsiteX256" fmla="*/ 2645350 w 2696138"/>
                                              <a:gd name="connsiteY256" fmla="*/ 737756 h 1346421"/>
                                              <a:gd name="connsiteX257" fmla="*/ 2659375 w 2696138"/>
                                              <a:gd name="connsiteY257" fmla="*/ 726536 h 1346421"/>
                                              <a:gd name="connsiteX258" fmla="*/ 2664985 w 2696138"/>
                                              <a:gd name="connsiteY258" fmla="*/ 709707 h 1346421"/>
                                              <a:gd name="connsiteX259" fmla="*/ 2681814 w 2696138"/>
                                              <a:gd name="connsiteY259" fmla="*/ 698487 h 1346421"/>
                                              <a:gd name="connsiteX260" fmla="*/ 2690229 w 2696138"/>
                                              <a:gd name="connsiteY260" fmla="*/ 692878 h 1346421"/>
                                              <a:gd name="connsiteX261" fmla="*/ 2695839 w 2696138"/>
                                              <a:gd name="connsiteY261" fmla="*/ 684463 h 1346421"/>
                                              <a:gd name="connsiteX262" fmla="*/ 2693034 w 2696138"/>
                                              <a:gd name="connsiteY262" fmla="*/ 653609 h 1346421"/>
                                              <a:gd name="connsiteX263" fmla="*/ 2684619 w 2696138"/>
                                              <a:gd name="connsiteY263" fmla="*/ 647999 h 1346421"/>
                                              <a:gd name="connsiteX264" fmla="*/ 2667789 w 2696138"/>
                                              <a:gd name="connsiteY264" fmla="*/ 642389 h 1346421"/>
                                              <a:gd name="connsiteX265" fmla="*/ 2659375 w 2696138"/>
                                              <a:gd name="connsiteY265" fmla="*/ 639584 h 1346421"/>
                                              <a:gd name="connsiteX266" fmla="*/ 2650960 w 2696138"/>
                                              <a:gd name="connsiteY266" fmla="*/ 633974 h 1346421"/>
                                              <a:gd name="connsiteX267" fmla="*/ 2645350 w 2696138"/>
                                              <a:gd name="connsiteY267" fmla="*/ 625560 h 1346421"/>
                                              <a:gd name="connsiteX268" fmla="*/ 2636935 w 2696138"/>
                                              <a:gd name="connsiteY268" fmla="*/ 608730 h 1346421"/>
                                              <a:gd name="connsiteX269" fmla="*/ 2628521 w 2696138"/>
                                              <a:gd name="connsiteY269" fmla="*/ 603121 h 1346421"/>
                                              <a:gd name="connsiteX270" fmla="*/ 2622911 w 2696138"/>
                                              <a:gd name="connsiteY270" fmla="*/ 594706 h 1346421"/>
                                              <a:gd name="connsiteX271" fmla="*/ 2606082 w 2696138"/>
                                              <a:gd name="connsiteY271" fmla="*/ 589096 h 1346421"/>
                                              <a:gd name="connsiteX272" fmla="*/ 2597667 w 2696138"/>
                                              <a:gd name="connsiteY272" fmla="*/ 586291 h 1346421"/>
                                              <a:gd name="connsiteX273" fmla="*/ 2589252 w 2696138"/>
                                              <a:gd name="connsiteY273" fmla="*/ 583486 h 1346421"/>
                                              <a:gd name="connsiteX274" fmla="*/ 2580837 w 2696138"/>
                                              <a:gd name="connsiteY274" fmla="*/ 577876 h 1346421"/>
                                              <a:gd name="connsiteX275" fmla="*/ 2575228 w 2696138"/>
                                              <a:gd name="connsiteY275" fmla="*/ 569462 h 1346421"/>
                                              <a:gd name="connsiteX276" fmla="*/ 2569618 w 2696138"/>
                                              <a:gd name="connsiteY276" fmla="*/ 493729 h 1346421"/>
                                              <a:gd name="connsiteX277" fmla="*/ 2547178 w 2696138"/>
                                              <a:gd name="connsiteY277" fmla="*/ 446046 h 1346421"/>
                                              <a:gd name="connsiteX278" fmla="*/ 2538764 w 2696138"/>
                                              <a:gd name="connsiteY278" fmla="*/ 429216 h 1346421"/>
                                              <a:gd name="connsiteX279" fmla="*/ 2519129 w 2696138"/>
                                              <a:gd name="connsiteY279" fmla="*/ 401167 h 1346421"/>
                                              <a:gd name="connsiteX280" fmla="*/ 2513520 w 2696138"/>
                                              <a:gd name="connsiteY280" fmla="*/ 392752 h 1346421"/>
                                              <a:gd name="connsiteX281" fmla="*/ 2505105 w 2696138"/>
                                              <a:gd name="connsiteY281" fmla="*/ 359094 h 1346421"/>
                                              <a:gd name="connsiteX282" fmla="*/ 2496690 w 2696138"/>
                                              <a:gd name="connsiteY282" fmla="*/ 353484 h 1346421"/>
                                              <a:gd name="connsiteX283" fmla="*/ 2488275 w 2696138"/>
                                              <a:gd name="connsiteY283" fmla="*/ 336654 h 1346421"/>
                                              <a:gd name="connsiteX284" fmla="*/ 2496690 w 2696138"/>
                                              <a:gd name="connsiteY284" fmla="*/ 331044 h 1346421"/>
                                              <a:gd name="connsiteX285" fmla="*/ 2521934 w 2696138"/>
                                              <a:gd name="connsiteY285" fmla="*/ 328240 h 1346421"/>
                                              <a:gd name="connsiteX286" fmla="*/ 2530349 w 2696138"/>
                                              <a:gd name="connsiteY286" fmla="*/ 322630 h 1346421"/>
                                              <a:gd name="connsiteX287" fmla="*/ 2535959 w 2696138"/>
                                              <a:gd name="connsiteY287" fmla="*/ 305800 h 1346421"/>
                                              <a:gd name="connsiteX288" fmla="*/ 2533154 w 2696138"/>
                                              <a:gd name="connsiteY288" fmla="*/ 280556 h 1346421"/>
                                              <a:gd name="connsiteX289" fmla="*/ 2527544 w 2696138"/>
                                              <a:gd name="connsiteY289" fmla="*/ 263727 h 1346421"/>
                                              <a:gd name="connsiteX290" fmla="*/ 2530349 w 2696138"/>
                                              <a:gd name="connsiteY290" fmla="*/ 252507 h 1346421"/>
                                              <a:gd name="connsiteX291" fmla="*/ 2538764 w 2696138"/>
                                              <a:gd name="connsiteY291" fmla="*/ 249702 h 1346421"/>
                                              <a:gd name="connsiteX292" fmla="*/ 2564008 w 2696138"/>
                                              <a:gd name="connsiteY292" fmla="*/ 246897 h 1346421"/>
                                              <a:gd name="connsiteX293" fmla="*/ 2558398 w 2696138"/>
                                              <a:gd name="connsiteY293" fmla="*/ 230068 h 1346421"/>
                                              <a:gd name="connsiteX294" fmla="*/ 2549983 w 2696138"/>
                                              <a:gd name="connsiteY294" fmla="*/ 227263 h 1346421"/>
                                              <a:gd name="connsiteX295" fmla="*/ 2535959 w 2696138"/>
                                              <a:gd name="connsiteY295" fmla="*/ 224458 h 1346421"/>
                                              <a:gd name="connsiteX296" fmla="*/ 2521934 w 2696138"/>
                                              <a:gd name="connsiteY296" fmla="*/ 210433 h 1346421"/>
                                              <a:gd name="connsiteX297" fmla="*/ 2505105 w 2696138"/>
                                              <a:gd name="connsiteY297" fmla="*/ 202019 h 1346421"/>
                                              <a:gd name="connsiteX298" fmla="*/ 2474251 w 2696138"/>
                                              <a:gd name="connsiteY298" fmla="*/ 204824 h 1346421"/>
                                              <a:gd name="connsiteX299" fmla="*/ 2454616 w 2696138"/>
                                              <a:gd name="connsiteY299" fmla="*/ 210433 h 1346421"/>
                                              <a:gd name="connsiteX300" fmla="*/ 2446202 w 2696138"/>
                                              <a:gd name="connsiteY300" fmla="*/ 216043 h 1346421"/>
                                              <a:gd name="connsiteX301" fmla="*/ 2423762 w 2696138"/>
                                              <a:gd name="connsiteY301" fmla="*/ 218848 h 1346421"/>
                                              <a:gd name="connsiteX302" fmla="*/ 2395713 w 2696138"/>
                                              <a:gd name="connsiteY302" fmla="*/ 204824 h 1346421"/>
                                              <a:gd name="connsiteX303" fmla="*/ 2378884 w 2696138"/>
                                              <a:gd name="connsiteY303" fmla="*/ 185189 h 1346421"/>
                                              <a:gd name="connsiteX304" fmla="*/ 2373274 w 2696138"/>
                                              <a:gd name="connsiteY304" fmla="*/ 168360 h 1346421"/>
                                              <a:gd name="connsiteX305" fmla="*/ 2370469 w 2696138"/>
                                              <a:gd name="connsiteY305" fmla="*/ 159945 h 1346421"/>
                                              <a:gd name="connsiteX306" fmla="*/ 2370469 w 2696138"/>
                                              <a:gd name="connsiteY306" fmla="*/ 115067 h 1346421"/>
                                              <a:gd name="connsiteX307" fmla="*/ 2359250 w 2696138"/>
                                              <a:gd name="connsiteY307" fmla="*/ 112262 h 1346421"/>
                                              <a:gd name="connsiteX308" fmla="*/ 2348030 w 2696138"/>
                                              <a:gd name="connsiteY308" fmla="*/ 81408 h 1346421"/>
                                              <a:gd name="connsiteX309" fmla="*/ 2328396 w 2696138"/>
                                              <a:gd name="connsiteY309" fmla="*/ 64578 h 1346421"/>
                                              <a:gd name="connsiteX310" fmla="*/ 2319981 w 2696138"/>
                                              <a:gd name="connsiteY310" fmla="*/ 56163 h 1346421"/>
                                              <a:gd name="connsiteX311" fmla="*/ 2311566 w 2696138"/>
                                              <a:gd name="connsiteY311" fmla="*/ 53359 h 1346421"/>
                                              <a:gd name="connsiteX312" fmla="*/ 2300347 w 2696138"/>
                                              <a:gd name="connsiteY312" fmla="*/ 42139 h 1346421"/>
                                              <a:gd name="connsiteX313" fmla="*/ 2289127 w 2696138"/>
                                              <a:gd name="connsiteY313" fmla="*/ 30919 h 1346421"/>
                                              <a:gd name="connsiteX314" fmla="*/ 2280712 w 2696138"/>
                                              <a:gd name="connsiteY314" fmla="*/ 33724 h 1346421"/>
                                              <a:gd name="connsiteX315" fmla="*/ 2269493 w 2696138"/>
                                              <a:gd name="connsiteY315" fmla="*/ 44944 h 1346421"/>
                                              <a:gd name="connsiteX316" fmla="*/ 2261078 w 2696138"/>
                                              <a:gd name="connsiteY316" fmla="*/ 42139 h 1346421"/>
                                              <a:gd name="connsiteX317" fmla="*/ 2258273 w 2696138"/>
                                              <a:gd name="connsiteY317" fmla="*/ 33724 h 1346421"/>
                                              <a:gd name="connsiteX318" fmla="*/ 2241443 w 2696138"/>
                                              <a:gd name="connsiteY318" fmla="*/ 28114 h 1346421"/>
                                              <a:gd name="connsiteX319" fmla="*/ 2233029 w 2696138"/>
                                              <a:gd name="connsiteY319" fmla="*/ 19700 h 1346421"/>
                                              <a:gd name="connsiteX320" fmla="*/ 2207785 w 2696138"/>
                                              <a:gd name="connsiteY320" fmla="*/ 14090 h 1346421"/>
                                              <a:gd name="connsiteX321" fmla="*/ 2193760 w 2696138"/>
                                              <a:gd name="connsiteY321" fmla="*/ 65 h 1346421"/>
                                              <a:gd name="connsiteX322" fmla="*/ 2185345 w 2696138"/>
                                              <a:gd name="connsiteY322" fmla="*/ 2870 h 1346421"/>
                                              <a:gd name="connsiteX323" fmla="*/ 2179735 w 2696138"/>
                                              <a:gd name="connsiteY323" fmla="*/ 19700 h 1346421"/>
                                              <a:gd name="connsiteX324" fmla="*/ 2168516 w 2696138"/>
                                              <a:gd name="connsiteY324" fmla="*/ 33724 h 1346421"/>
                                              <a:gd name="connsiteX325" fmla="*/ 2109613 w 2696138"/>
                                              <a:gd name="connsiteY325" fmla="*/ 36529 h 1346421"/>
                                              <a:gd name="connsiteX326" fmla="*/ 2101198 w 2696138"/>
                                              <a:gd name="connsiteY326" fmla="*/ 42139 h 1346421"/>
                                              <a:gd name="connsiteX327" fmla="*/ 2095588 w 2696138"/>
                                              <a:gd name="connsiteY327" fmla="*/ 50554 h 1346421"/>
                                              <a:gd name="connsiteX328" fmla="*/ 2053515 w 2696138"/>
                                              <a:gd name="connsiteY328" fmla="*/ 58968 h 1346421"/>
                                              <a:gd name="connsiteX329" fmla="*/ 2042295 w 2696138"/>
                                              <a:gd name="connsiteY329" fmla="*/ 70188 h 1346421"/>
                                              <a:gd name="connsiteX330" fmla="*/ 2033880 w 2696138"/>
                                              <a:gd name="connsiteY330" fmla="*/ 75798 h 1346421"/>
                                              <a:gd name="connsiteX331" fmla="*/ 2028270 w 2696138"/>
                                              <a:gd name="connsiteY331" fmla="*/ 84213 h 1346421"/>
                                              <a:gd name="connsiteX332" fmla="*/ 2019856 w 2696138"/>
                                              <a:gd name="connsiteY332" fmla="*/ 89822 h 1346421"/>
                                              <a:gd name="connsiteX333" fmla="*/ 2017051 w 2696138"/>
                                              <a:gd name="connsiteY333" fmla="*/ 92627 h 1346421"/>
                                              <a:gd name="connsiteX334" fmla="*/ 1977782 w 2696138"/>
                                              <a:gd name="connsiteY334" fmla="*/ 134701 h 1346421"/>
                                              <a:gd name="connsiteX335" fmla="*/ 1958148 w 2696138"/>
                                              <a:gd name="connsiteY335" fmla="*/ 148725 h 1346421"/>
                                              <a:gd name="connsiteX336" fmla="*/ 1949733 w 2696138"/>
                                              <a:gd name="connsiteY336" fmla="*/ 151530 h 1346421"/>
                                              <a:gd name="connsiteX337" fmla="*/ 1941318 w 2696138"/>
                                              <a:gd name="connsiteY337" fmla="*/ 159945 h 1346421"/>
                                              <a:gd name="connsiteX338" fmla="*/ 1924489 w 2696138"/>
                                              <a:gd name="connsiteY338" fmla="*/ 171165 h 1346421"/>
                                              <a:gd name="connsiteX339" fmla="*/ 1916074 w 2696138"/>
                                              <a:gd name="connsiteY339" fmla="*/ 176774 h 1346421"/>
                                              <a:gd name="connsiteX340" fmla="*/ 1907659 w 2696138"/>
                                              <a:gd name="connsiteY340" fmla="*/ 185189 h 1346421"/>
                                              <a:gd name="connsiteX341" fmla="*/ 1899245 w 2696138"/>
                                              <a:gd name="connsiteY341" fmla="*/ 202019 h 1346421"/>
                                              <a:gd name="connsiteX342" fmla="*/ 1890830 w 2696138"/>
                                              <a:gd name="connsiteY342" fmla="*/ 207628 h 1346421"/>
                                              <a:gd name="connsiteX343" fmla="*/ 1885220 w 2696138"/>
                                              <a:gd name="connsiteY343" fmla="*/ 216043 h 1346421"/>
                                              <a:gd name="connsiteX344" fmla="*/ 1876805 w 2696138"/>
                                              <a:gd name="connsiteY344" fmla="*/ 218848 h 1346421"/>
                                              <a:gd name="connsiteX345" fmla="*/ 1826317 w 2696138"/>
                                              <a:gd name="connsiteY345" fmla="*/ 216043 h 1346421"/>
                                              <a:gd name="connsiteX346" fmla="*/ 1795463 w 2696138"/>
                                              <a:gd name="connsiteY346" fmla="*/ 213238 h 1346421"/>
                                              <a:gd name="connsiteX347" fmla="*/ 1770219 w 2696138"/>
                                              <a:gd name="connsiteY347" fmla="*/ 213238 h 1346421"/>
                                              <a:gd name="connsiteX348" fmla="*/ 1753389 w 2696138"/>
                                              <a:gd name="connsiteY348" fmla="*/ 224458 h 1346421"/>
                                              <a:gd name="connsiteX349" fmla="*/ 1728145 w 2696138"/>
                                              <a:gd name="connsiteY349" fmla="*/ 230068 h 1346421"/>
                                              <a:gd name="connsiteX350" fmla="*/ 1719731 w 2696138"/>
                                              <a:gd name="connsiteY350" fmla="*/ 232873 h 1346421"/>
                                              <a:gd name="connsiteX351" fmla="*/ 1697291 w 2696138"/>
                                              <a:gd name="connsiteY351" fmla="*/ 252507 h 1346421"/>
                                              <a:gd name="connsiteX352" fmla="*/ 1680462 w 2696138"/>
                                              <a:gd name="connsiteY352" fmla="*/ 258117 h 1346421"/>
                                              <a:gd name="connsiteX353" fmla="*/ 1655218 w 2696138"/>
                                              <a:gd name="connsiteY353" fmla="*/ 269336 h 1346421"/>
                                              <a:gd name="connsiteX354" fmla="*/ 1643998 w 2696138"/>
                                              <a:gd name="connsiteY354" fmla="*/ 272141 h 1346421"/>
                                              <a:gd name="connsiteX355" fmla="*/ 1627169 w 2696138"/>
                                              <a:gd name="connsiteY355" fmla="*/ 277751 h 1346421"/>
                                              <a:gd name="connsiteX356" fmla="*/ 1573875 w 2696138"/>
                                              <a:gd name="connsiteY356" fmla="*/ 269336 h 1346421"/>
                                              <a:gd name="connsiteX357" fmla="*/ 1565461 w 2696138"/>
                                              <a:gd name="connsiteY357" fmla="*/ 266532 h 1346421"/>
                                              <a:gd name="connsiteX358" fmla="*/ 1557046 w 2696138"/>
                                              <a:gd name="connsiteY358" fmla="*/ 263727 h 1346421"/>
                                              <a:gd name="connsiteX359" fmla="*/ 1551436 w 2696138"/>
                                              <a:gd name="connsiteY359" fmla="*/ 272141 h 1346421"/>
                                              <a:gd name="connsiteX360" fmla="*/ 1534607 w 2696138"/>
                                              <a:gd name="connsiteY360" fmla="*/ 280556 h 1346421"/>
                                              <a:gd name="connsiteX361" fmla="*/ 1512167 w 2696138"/>
                                              <a:gd name="connsiteY361" fmla="*/ 274946 h 1346421"/>
                                              <a:gd name="connsiteX362" fmla="*/ 1495338 w 2696138"/>
                                              <a:gd name="connsiteY362" fmla="*/ 269336 h 1346421"/>
                                              <a:gd name="connsiteX363" fmla="*/ 1461679 w 2696138"/>
                                              <a:gd name="connsiteY363" fmla="*/ 266532 h 1346421"/>
                                              <a:gd name="connsiteX364" fmla="*/ 1456069 w 2696138"/>
                                              <a:gd name="connsiteY364" fmla="*/ 258117 h 1346421"/>
                                              <a:gd name="connsiteX365" fmla="*/ 1447655 w 2696138"/>
                                              <a:gd name="connsiteY365" fmla="*/ 255312 h 1346421"/>
                                              <a:gd name="connsiteX366" fmla="*/ 1405581 w 2696138"/>
                                              <a:gd name="connsiteY366" fmla="*/ 258117 h 1346421"/>
                                              <a:gd name="connsiteX367" fmla="*/ 1399971 w 2696138"/>
                                              <a:gd name="connsiteY367" fmla="*/ 266532 h 1346421"/>
                                              <a:gd name="connsiteX368" fmla="*/ 1383142 w 2696138"/>
                                              <a:gd name="connsiteY368" fmla="*/ 272141 h 1346421"/>
                                              <a:gd name="connsiteX369" fmla="*/ 1357897 w 2696138"/>
                                              <a:gd name="connsiteY369" fmla="*/ 266532 h 1346421"/>
                                              <a:gd name="connsiteX370" fmla="*/ 1352288 w 2696138"/>
                                              <a:gd name="connsiteY370" fmla="*/ 258117 h 1346421"/>
                                              <a:gd name="connsiteX371" fmla="*/ 1335458 w 2696138"/>
                                              <a:gd name="connsiteY371" fmla="*/ 246897 h 1346421"/>
                                              <a:gd name="connsiteX372" fmla="*/ 1332653 w 2696138"/>
                                              <a:gd name="connsiteY372" fmla="*/ 227263 h 1346421"/>
                                              <a:gd name="connsiteX373" fmla="*/ 1329848 w 2696138"/>
                                              <a:gd name="connsiteY373" fmla="*/ 218848 h 1346421"/>
                                              <a:gd name="connsiteX374" fmla="*/ 1321434 w 2696138"/>
                                              <a:gd name="connsiteY374" fmla="*/ 213238 h 1346421"/>
                                              <a:gd name="connsiteX375" fmla="*/ 1313019 w 2696138"/>
                                              <a:gd name="connsiteY375" fmla="*/ 210433 h 1346421"/>
                                              <a:gd name="connsiteX376" fmla="*/ 1287775 w 2696138"/>
                                              <a:gd name="connsiteY376" fmla="*/ 213238 h 1346421"/>
                                              <a:gd name="connsiteX377" fmla="*/ 1270945 w 2696138"/>
                                              <a:gd name="connsiteY377" fmla="*/ 218848 h 1346421"/>
                                              <a:gd name="connsiteX378" fmla="*/ 1228872 w 2696138"/>
                                              <a:gd name="connsiteY378" fmla="*/ 213238 h 1346421"/>
                                              <a:gd name="connsiteX379" fmla="*/ 1203628 w 2696138"/>
                                              <a:gd name="connsiteY379" fmla="*/ 202019 h 1346421"/>
                                              <a:gd name="connsiteX380" fmla="*/ 1178383 w 2696138"/>
                                              <a:gd name="connsiteY380" fmla="*/ 196409 h 1346421"/>
                                              <a:gd name="connsiteX381" fmla="*/ 1172774 w 2696138"/>
                                              <a:gd name="connsiteY381" fmla="*/ 187994 h 1346421"/>
                                              <a:gd name="connsiteX382" fmla="*/ 1169969 w 2696138"/>
                                              <a:gd name="connsiteY382" fmla="*/ 173970 h 1346421"/>
                                              <a:gd name="connsiteX383" fmla="*/ 1155944 w 2696138"/>
                                              <a:gd name="connsiteY383" fmla="*/ 176774 h 1346421"/>
                                              <a:gd name="connsiteX384" fmla="*/ 1122285 w 2696138"/>
                                              <a:gd name="connsiteY384" fmla="*/ 199214 h 1346421"/>
                                              <a:gd name="connsiteX385" fmla="*/ 1099846 w 2696138"/>
                                              <a:gd name="connsiteY385" fmla="*/ 196409 h 1346421"/>
                                              <a:gd name="connsiteX386" fmla="*/ 1054967 w 2696138"/>
                                              <a:gd name="connsiteY386" fmla="*/ 204824 h 1346421"/>
                                              <a:gd name="connsiteX387" fmla="*/ 1032528 w 2696138"/>
                                              <a:gd name="connsiteY387" fmla="*/ 213238 h 1346421"/>
                                              <a:gd name="connsiteX388" fmla="*/ 1012894 w 2696138"/>
                                              <a:gd name="connsiteY388" fmla="*/ 210433 h 1346421"/>
                                              <a:gd name="connsiteX389" fmla="*/ 996064 w 2696138"/>
                                              <a:gd name="connsiteY389" fmla="*/ 213238 h 1346421"/>
                                              <a:gd name="connsiteX390" fmla="*/ 965210 w 2696138"/>
                                              <a:gd name="connsiteY390" fmla="*/ 213238 h 1346421"/>
                                              <a:gd name="connsiteX391" fmla="*/ 948381 w 2696138"/>
                                              <a:gd name="connsiteY391" fmla="*/ 207628 h 1346421"/>
                                              <a:gd name="connsiteX392" fmla="*/ 914722 w 2696138"/>
                                              <a:gd name="connsiteY392" fmla="*/ 224458 h 1346421"/>
                                              <a:gd name="connsiteX393" fmla="*/ 906307 w 2696138"/>
                                              <a:gd name="connsiteY393" fmla="*/ 230068 h 1346421"/>
                                              <a:gd name="connsiteX394" fmla="*/ 897893 w 2696138"/>
                                              <a:gd name="connsiteY394" fmla="*/ 235678 h 1346421"/>
                                              <a:gd name="connsiteX395" fmla="*/ 883868 w 2696138"/>
                                              <a:gd name="connsiteY395" fmla="*/ 246897 h 1346421"/>
                                              <a:gd name="connsiteX396" fmla="*/ 867039 w 2696138"/>
                                              <a:gd name="connsiteY396" fmla="*/ 260922 h 1346421"/>
                                              <a:gd name="connsiteX397" fmla="*/ 858624 w 2696138"/>
                                              <a:gd name="connsiteY397" fmla="*/ 263727 h 1346421"/>
                                              <a:gd name="connsiteX398" fmla="*/ 841794 w 2696138"/>
                                              <a:gd name="connsiteY398" fmla="*/ 274946 h 1346421"/>
                                              <a:gd name="connsiteX399" fmla="*/ 819355 w 2696138"/>
                                              <a:gd name="connsiteY399" fmla="*/ 294581 h 1346421"/>
                                              <a:gd name="connsiteX400" fmla="*/ 810940 w 2696138"/>
                                              <a:gd name="connsiteY400" fmla="*/ 300190 h 1346421"/>
                                              <a:gd name="connsiteX401" fmla="*/ 794111 w 2696138"/>
                                              <a:gd name="connsiteY401" fmla="*/ 305800 h 1346421"/>
                                              <a:gd name="connsiteX402" fmla="*/ 788501 w 2696138"/>
                                              <a:gd name="connsiteY402" fmla="*/ 314215 h 1346421"/>
                                              <a:gd name="connsiteX403" fmla="*/ 785696 w 2696138"/>
                                              <a:gd name="connsiteY403" fmla="*/ 322630 h 1346421"/>
                                              <a:gd name="connsiteX404" fmla="*/ 768867 w 2696138"/>
                                              <a:gd name="connsiteY404" fmla="*/ 333849 h 1346421"/>
                                              <a:gd name="connsiteX405" fmla="*/ 760452 w 2696138"/>
                                              <a:gd name="connsiteY405" fmla="*/ 342264 h 1346421"/>
                                              <a:gd name="connsiteX406" fmla="*/ 752037 w 2696138"/>
                                              <a:gd name="connsiteY406" fmla="*/ 345069 h 1346421"/>
                                              <a:gd name="connsiteX407" fmla="*/ 732403 w 2696138"/>
                                              <a:gd name="connsiteY407" fmla="*/ 350679 h 1346421"/>
                                              <a:gd name="connsiteX408" fmla="*/ 712769 w 2696138"/>
                                              <a:gd name="connsiteY408" fmla="*/ 373118 h 1346421"/>
                                              <a:gd name="connsiteX409" fmla="*/ 707159 w 2696138"/>
                                              <a:gd name="connsiteY409" fmla="*/ 389948 h 1346421"/>
                                              <a:gd name="connsiteX410" fmla="*/ 704354 w 2696138"/>
                                              <a:gd name="connsiteY410" fmla="*/ 409582 h 1346421"/>
                                              <a:gd name="connsiteX411" fmla="*/ 687524 w 2696138"/>
                                              <a:gd name="connsiteY411" fmla="*/ 420801 h 1346421"/>
                                              <a:gd name="connsiteX412" fmla="*/ 679110 w 2696138"/>
                                              <a:gd name="connsiteY412" fmla="*/ 426411 h 1346421"/>
                                              <a:gd name="connsiteX413" fmla="*/ 670695 w 2696138"/>
                                              <a:gd name="connsiteY413" fmla="*/ 429216 h 1346421"/>
                                              <a:gd name="connsiteX414" fmla="*/ 651061 w 2696138"/>
                                              <a:gd name="connsiteY414" fmla="*/ 434826 h 1346421"/>
                                              <a:gd name="connsiteX415" fmla="*/ 634231 w 2696138"/>
                                              <a:gd name="connsiteY415" fmla="*/ 443241 h 1346421"/>
                                              <a:gd name="connsiteX416" fmla="*/ 586548 w 2696138"/>
                                              <a:gd name="connsiteY416" fmla="*/ 437631 h 1346421"/>
                                              <a:gd name="connsiteX417" fmla="*/ 569718 w 2696138"/>
                                              <a:gd name="connsiteY417" fmla="*/ 429216 h 1346421"/>
                                              <a:gd name="connsiteX418" fmla="*/ 547279 w 2696138"/>
                                              <a:gd name="connsiteY418" fmla="*/ 432021 h 1346421"/>
                                              <a:gd name="connsiteX419" fmla="*/ 538864 w 2696138"/>
                                              <a:gd name="connsiteY419" fmla="*/ 437631 h 1346421"/>
                                              <a:gd name="connsiteX420" fmla="*/ 510815 w 2696138"/>
                                              <a:gd name="connsiteY420" fmla="*/ 443241 h 1346421"/>
                                              <a:gd name="connsiteX421" fmla="*/ 440693 w 2696138"/>
                                              <a:gd name="connsiteY421" fmla="*/ 440436 h 1346421"/>
                                              <a:gd name="connsiteX422" fmla="*/ 398619 w 2696138"/>
                                              <a:gd name="connsiteY422" fmla="*/ 440436 h 1346421"/>
                                              <a:gd name="connsiteX423" fmla="*/ 393009 w 2696138"/>
                                              <a:gd name="connsiteY423" fmla="*/ 448851 h 1346421"/>
                                              <a:gd name="connsiteX424" fmla="*/ 393009 w 2696138"/>
                                              <a:gd name="connsiteY424" fmla="*/ 488119 h 1346421"/>
                                              <a:gd name="connsiteX425" fmla="*/ 409839 w 2696138"/>
                                              <a:gd name="connsiteY425" fmla="*/ 493729 h 1346421"/>
                                              <a:gd name="connsiteX426" fmla="*/ 418253 w 2696138"/>
                                              <a:gd name="connsiteY426" fmla="*/ 499339 h 1346421"/>
                                              <a:gd name="connsiteX427" fmla="*/ 423863 w 2696138"/>
                                              <a:gd name="connsiteY427" fmla="*/ 507754 h 1346421"/>
                                              <a:gd name="connsiteX428" fmla="*/ 432278 w 2696138"/>
                                              <a:gd name="connsiteY428" fmla="*/ 510559 h 1346421"/>
                                              <a:gd name="connsiteX429" fmla="*/ 457522 w 2696138"/>
                                              <a:gd name="connsiteY429" fmla="*/ 513363 h 1346421"/>
                                              <a:gd name="connsiteX430" fmla="*/ 477156 w 2696138"/>
                                              <a:gd name="connsiteY430" fmla="*/ 516168 h 1346421"/>
                                              <a:gd name="connsiteX431" fmla="*/ 485571 w 2696138"/>
                                              <a:gd name="connsiteY431" fmla="*/ 518973 h 1346421"/>
                                              <a:gd name="connsiteX432" fmla="*/ 482766 w 2696138"/>
                                              <a:gd name="connsiteY432" fmla="*/ 527388 h 1346421"/>
                                              <a:gd name="connsiteX433" fmla="*/ 474351 w 2696138"/>
                                              <a:gd name="connsiteY433" fmla="*/ 530193 h 1346421"/>
                                              <a:gd name="connsiteX434" fmla="*/ 463132 w 2696138"/>
                                              <a:gd name="connsiteY434" fmla="*/ 535803 h 1346421"/>
                                              <a:gd name="connsiteX435" fmla="*/ 454717 w 2696138"/>
                                              <a:gd name="connsiteY435" fmla="*/ 541413 h 1346421"/>
                                              <a:gd name="connsiteX436" fmla="*/ 418253 w 2696138"/>
                                              <a:gd name="connsiteY436" fmla="*/ 544217 h 1346421"/>
                                              <a:gd name="connsiteX437" fmla="*/ 401424 w 2696138"/>
                                              <a:gd name="connsiteY437" fmla="*/ 549827 h 1346421"/>
                                              <a:gd name="connsiteX438" fmla="*/ 384594 w 2696138"/>
                                              <a:gd name="connsiteY438" fmla="*/ 558242 h 1346421"/>
                                              <a:gd name="connsiteX439" fmla="*/ 378985 w 2696138"/>
                                              <a:gd name="connsiteY439" fmla="*/ 566657 h 1346421"/>
                                              <a:gd name="connsiteX440" fmla="*/ 373375 w 2696138"/>
                                              <a:gd name="connsiteY440" fmla="*/ 577876 h 1346421"/>
                                              <a:gd name="connsiteX441" fmla="*/ 390204 w 2696138"/>
                                              <a:gd name="connsiteY441" fmla="*/ 580681 h 1346421"/>
                                              <a:gd name="connsiteX442" fmla="*/ 407034 w 2696138"/>
                                              <a:gd name="connsiteY442" fmla="*/ 586291 h 1346421"/>
                                              <a:gd name="connsiteX443" fmla="*/ 390204 w 2696138"/>
                                              <a:gd name="connsiteY443" fmla="*/ 603121 h 1346421"/>
                                              <a:gd name="connsiteX444" fmla="*/ 373375 w 2696138"/>
                                              <a:gd name="connsiteY444" fmla="*/ 608730 h 1346421"/>
                                              <a:gd name="connsiteX445" fmla="*/ 314472 w 2696138"/>
                                              <a:gd name="connsiteY445" fmla="*/ 608730 h 1346421"/>
                                              <a:gd name="connsiteX446" fmla="*/ 294837 w 2696138"/>
                                              <a:gd name="connsiteY446" fmla="*/ 614340 h 1346421"/>
                                              <a:gd name="connsiteX447" fmla="*/ 263983 w 2696138"/>
                                              <a:gd name="connsiteY447" fmla="*/ 619950 h 1346421"/>
                                              <a:gd name="connsiteX448" fmla="*/ 244349 w 2696138"/>
                                              <a:gd name="connsiteY448" fmla="*/ 625560 h 1346421"/>
                                              <a:gd name="connsiteX449" fmla="*/ 233129 w 2696138"/>
                                              <a:gd name="connsiteY449" fmla="*/ 622755 h 1346421"/>
                                              <a:gd name="connsiteX450" fmla="*/ 238739 w 2696138"/>
                                              <a:gd name="connsiteY450" fmla="*/ 611535 h 1346421"/>
                                              <a:gd name="connsiteX451" fmla="*/ 238739 w 2696138"/>
                                              <a:gd name="connsiteY451" fmla="*/ 600316 h 1346421"/>
                                              <a:gd name="connsiteX452" fmla="*/ 216300 w 2696138"/>
                                              <a:gd name="connsiteY452" fmla="*/ 603121 h 1346421"/>
                                              <a:gd name="connsiteX453" fmla="*/ 224715 w 2696138"/>
                                              <a:gd name="connsiteY453" fmla="*/ 625560 h 1346421"/>
                                              <a:gd name="connsiteX454" fmla="*/ 216300 w 2696138"/>
                                              <a:gd name="connsiteY454" fmla="*/ 631170 h 1346421"/>
                                              <a:gd name="connsiteX455" fmla="*/ 205080 w 2696138"/>
                                              <a:gd name="connsiteY455" fmla="*/ 633974 h 1346421"/>
                                              <a:gd name="connsiteX456" fmla="*/ 196666 w 2696138"/>
                                              <a:gd name="connsiteY456" fmla="*/ 636779 h 1346421"/>
                                              <a:gd name="connsiteX457" fmla="*/ 165812 w 2696138"/>
                                              <a:gd name="connsiteY457" fmla="*/ 633974 h 1346421"/>
                                              <a:gd name="connsiteX458" fmla="*/ 157397 w 2696138"/>
                                              <a:gd name="connsiteY458" fmla="*/ 631170 h 1346421"/>
                                              <a:gd name="connsiteX459" fmla="*/ 140567 w 2696138"/>
                                              <a:gd name="connsiteY459" fmla="*/ 619950 h 1346421"/>
                                              <a:gd name="connsiteX460" fmla="*/ 120933 w 2696138"/>
                                              <a:gd name="connsiteY460" fmla="*/ 622755 h 1346421"/>
                                              <a:gd name="connsiteX461" fmla="*/ 101299 w 2696138"/>
                                              <a:gd name="connsiteY461" fmla="*/ 628365 h 1346421"/>
                                              <a:gd name="connsiteX462" fmla="*/ 78859 w 2696138"/>
                                              <a:gd name="connsiteY462" fmla="*/ 633974 h 1346421"/>
                                              <a:gd name="connsiteX463" fmla="*/ 67640 w 2696138"/>
                                              <a:gd name="connsiteY463" fmla="*/ 647999 h 1346421"/>
                                              <a:gd name="connsiteX464" fmla="*/ 64835 w 2696138"/>
                                              <a:gd name="connsiteY464" fmla="*/ 656414 h 1346421"/>
                                              <a:gd name="connsiteX465" fmla="*/ 48005 w 2696138"/>
                                              <a:gd name="connsiteY465" fmla="*/ 673243 h 1346421"/>
                                              <a:gd name="connsiteX466" fmla="*/ 42396 w 2696138"/>
                                              <a:gd name="connsiteY466" fmla="*/ 681658 h 1346421"/>
                                              <a:gd name="connsiteX467" fmla="*/ 33981 w 2696138"/>
                                              <a:gd name="connsiteY467" fmla="*/ 687268 h 1346421"/>
                                              <a:gd name="connsiteX468" fmla="*/ 28371 w 2696138"/>
                                              <a:gd name="connsiteY468" fmla="*/ 704097 h 1346421"/>
                                              <a:gd name="connsiteX469" fmla="*/ 11542 w 2696138"/>
                                              <a:gd name="connsiteY469" fmla="*/ 715317 h 1346421"/>
                                              <a:gd name="connsiteX470" fmla="*/ 8737 w 2696138"/>
                                              <a:gd name="connsiteY470" fmla="*/ 723732 h 134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Lst>
                                            <a:rect l="l" t="t" r="r" b="b"/>
                                            <a:pathLst>
                                              <a:path w="2696138" h="1346421">
                                                <a:moveTo>
                                                  <a:pt x="8737" y="723732"/>
                                                </a:moveTo>
                                                <a:lnTo>
                                                  <a:pt x="8737" y="723732"/>
                                                </a:lnTo>
                                                <a:cubicBezTo>
                                                  <a:pt x="6866" y="740572"/>
                                                  <a:pt x="6275" y="750066"/>
                                                  <a:pt x="3127" y="765805"/>
                                                </a:cubicBezTo>
                                                <a:cubicBezTo>
                                                  <a:pt x="2371" y="769585"/>
                                                  <a:pt x="1257" y="773285"/>
                                                  <a:pt x="322" y="777025"/>
                                                </a:cubicBezTo>
                                                <a:cubicBezTo>
                                                  <a:pt x="1257" y="783570"/>
                                                  <a:pt x="-2374" y="792992"/>
                                                  <a:pt x="3127" y="796659"/>
                                                </a:cubicBezTo>
                                                <a:cubicBezTo>
                                                  <a:pt x="9399" y="800840"/>
                                                  <a:pt x="18097" y="794872"/>
                                                  <a:pt x="25566" y="793854"/>
                                                </a:cubicBezTo>
                                                <a:lnTo>
                                                  <a:pt x="64835" y="788244"/>
                                                </a:lnTo>
                                                <a:cubicBezTo>
                                                  <a:pt x="85321" y="781416"/>
                                                  <a:pt x="75928" y="784069"/>
                                                  <a:pt x="92884" y="779830"/>
                                                </a:cubicBezTo>
                                                <a:cubicBezTo>
                                                  <a:pt x="97559" y="780765"/>
                                                  <a:pt x="102942" y="779990"/>
                                                  <a:pt x="106909" y="782635"/>
                                                </a:cubicBezTo>
                                                <a:cubicBezTo>
                                                  <a:pt x="109369" y="784275"/>
                                                  <a:pt x="110039" y="788111"/>
                                                  <a:pt x="109713" y="791049"/>
                                                </a:cubicBezTo>
                                                <a:cubicBezTo>
                                                  <a:pt x="108208" y="804594"/>
                                                  <a:pt x="106077" y="808295"/>
                                                  <a:pt x="95689" y="813489"/>
                                                </a:cubicBezTo>
                                                <a:cubicBezTo>
                                                  <a:pt x="93044" y="814811"/>
                                                  <a:pt x="90079" y="815359"/>
                                                  <a:pt x="87274" y="816294"/>
                                                </a:cubicBezTo>
                                                <a:cubicBezTo>
                                                  <a:pt x="83555" y="821872"/>
                                                  <a:pt x="77501" y="826155"/>
                                                  <a:pt x="84469" y="833123"/>
                                                </a:cubicBezTo>
                                                <a:cubicBezTo>
                                                  <a:pt x="86560" y="835214"/>
                                                  <a:pt x="90079" y="834993"/>
                                                  <a:pt x="92884" y="835928"/>
                                                </a:cubicBezTo>
                                                <a:cubicBezTo>
                                                  <a:pt x="94754" y="838733"/>
                                                  <a:pt x="96336" y="841753"/>
                                                  <a:pt x="98494" y="844343"/>
                                                </a:cubicBezTo>
                                                <a:cubicBezTo>
                                                  <a:pt x="101033" y="847390"/>
                                                  <a:pt x="104983" y="849290"/>
                                                  <a:pt x="106909" y="852757"/>
                                                </a:cubicBezTo>
                                                <a:cubicBezTo>
                                                  <a:pt x="109781" y="857926"/>
                                                  <a:pt x="112518" y="869587"/>
                                                  <a:pt x="112518" y="869587"/>
                                                </a:cubicBezTo>
                                                <a:cubicBezTo>
                                                  <a:pt x="111079" y="873902"/>
                                                  <a:pt x="106476" y="882101"/>
                                                  <a:pt x="112518" y="886416"/>
                                                </a:cubicBezTo>
                                                <a:cubicBezTo>
                                                  <a:pt x="117330" y="889853"/>
                                                  <a:pt x="129348" y="892026"/>
                                                  <a:pt x="129348" y="892026"/>
                                                </a:cubicBezTo>
                                                <a:cubicBezTo>
                                                  <a:pt x="132153" y="893896"/>
                                                  <a:pt x="135656" y="895004"/>
                                                  <a:pt x="137762" y="897636"/>
                                                </a:cubicBezTo>
                                                <a:cubicBezTo>
                                                  <a:pt x="142766" y="903891"/>
                                                  <a:pt x="140916" y="909699"/>
                                                  <a:pt x="134958" y="914465"/>
                                                </a:cubicBezTo>
                                                <a:cubicBezTo>
                                                  <a:pt x="132649" y="916312"/>
                                                  <a:pt x="129348" y="916335"/>
                                                  <a:pt x="126543" y="917270"/>
                                                </a:cubicBezTo>
                                                <a:cubicBezTo>
                                                  <a:pt x="124673" y="920075"/>
                                                  <a:pt x="123738" y="923815"/>
                                                  <a:pt x="120933" y="925685"/>
                                                </a:cubicBezTo>
                                                <a:cubicBezTo>
                                                  <a:pt x="117725" y="927823"/>
                                                  <a:pt x="111232" y="924947"/>
                                                  <a:pt x="109713" y="928490"/>
                                                </a:cubicBezTo>
                                                <a:cubicBezTo>
                                                  <a:pt x="107473" y="933717"/>
                                                  <a:pt x="110331" y="940069"/>
                                                  <a:pt x="112518" y="945319"/>
                                                </a:cubicBezTo>
                                                <a:cubicBezTo>
                                                  <a:pt x="115111" y="951543"/>
                                                  <a:pt x="123738" y="962149"/>
                                                  <a:pt x="123738" y="962149"/>
                                                </a:cubicBezTo>
                                                <a:cubicBezTo>
                                                  <a:pt x="130552" y="989404"/>
                                                  <a:pt x="118490" y="956115"/>
                                                  <a:pt x="154592" y="976173"/>
                                                </a:cubicBezTo>
                                                <a:cubicBezTo>
                                                  <a:pt x="157962" y="978045"/>
                                                  <a:pt x="155157" y="985521"/>
                                                  <a:pt x="151787" y="987393"/>
                                                </a:cubicBezTo>
                                                <a:cubicBezTo>
                                                  <a:pt x="145198" y="991054"/>
                                                  <a:pt x="136828" y="989263"/>
                                                  <a:pt x="129348" y="990198"/>
                                                </a:cubicBezTo>
                                                <a:cubicBezTo>
                                                  <a:pt x="123604" y="992113"/>
                                                  <a:pt x="116701" y="993594"/>
                                                  <a:pt x="112518" y="998613"/>
                                                </a:cubicBezTo>
                                                <a:cubicBezTo>
                                                  <a:pt x="109841" y="1001825"/>
                                                  <a:pt x="108779" y="1006092"/>
                                                  <a:pt x="106909" y="1009832"/>
                                                </a:cubicBezTo>
                                                <a:cubicBezTo>
                                                  <a:pt x="92884" y="1005157"/>
                                                  <a:pt x="99429" y="1009832"/>
                                                  <a:pt x="92884" y="990198"/>
                                                </a:cubicBezTo>
                                                <a:lnTo>
                                                  <a:pt x="90079" y="981783"/>
                                                </a:lnTo>
                                                <a:cubicBezTo>
                                                  <a:pt x="89144" y="978978"/>
                                                  <a:pt x="90079" y="974303"/>
                                                  <a:pt x="87274" y="973368"/>
                                                </a:cubicBezTo>
                                                <a:cubicBezTo>
                                                  <a:pt x="84469" y="972433"/>
                                                  <a:pt x="81504" y="971885"/>
                                                  <a:pt x="78859" y="970563"/>
                                                </a:cubicBezTo>
                                                <a:cubicBezTo>
                                                  <a:pt x="71049" y="966658"/>
                                                  <a:pt x="68233" y="962742"/>
                                                  <a:pt x="62030" y="956539"/>
                                                </a:cubicBezTo>
                                                <a:cubicBezTo>
                                                  <a:pt x="60160" y="959344"/>
                                                  <a:pt x="56897" y="961617"/>
                                                  <a:pt x="56420" y="964954"/>
                                                </a:cubicBezTo>
                                                <a:cubicBezTo>
                                                  <a:pt x="55875" y="968770"/>
                                                  <a:pt x="58166" y="972467"/>
                                                  <a:pt x="59225" y="976173"/>
                                                </a:cubicBezTo>
                                                <a:cubicBezTo>
                                                  <a:pt x="62129" y="986335"/>
                                                  <a:pt x="61493" y="983783"/>
                                                  <a:pt x="67640" y="993003"/>
                                                </a:cubicBezTo>
                                                <a:cubicBezTo>
                                                  <a:pt x="66705" y="997678"/>
                                                  <a:pt x="67200" y="1002888"/>
                                                  <a:pt x="64835" y="1007027"/>
                                                </a:cubicBezTo>
                                                <a:cubicBezTo>
                                                  <a:pt x="63162" y="1009954"/>
                                                  <a:pt x="57672" y="1009507"/>
                                                  <a:pt x="56420" y="1012637"/>
                                                </a:cubicBezTo>
                                                <a:cubicBezTo>
                                                  <a:pt x="55322" y="1015382"/>
                                                  <a:pt x="57134" y="1018961"/>
                                                  <a:pt x="59225" y="1021052"/>
                                                </a:cubicBezTo>
                                                <a:cubicBezTo>
                                                  <a:pt x="61316" y="1023143"/>
                                                  <a:pt x="64995" y="1022535"/>
                                                  <a:pt x="67640" y="1023857"/>
                                                </a:cubicBezTo>
                                                <a:cubicBezTo>
                                                  <a:pt x="89384" y="1034729"/>
                                                  <a:pt x="63325" y="1025225"/>
                                                  <a:pt x="84469" y="1032271"/>
                                                </a:cubicBezTo>
                                                <a:cubicBezTo>
                                                  <a:pt x="87274" y="1031336"/>
                                                  <a:pt x="90239" y="1030789"/>
                                                  <a:pt x="92884" y="1029467"/>
                                                </a:cubicBezTo>
                                                <a:cubicBezTo>
                                                  <a:pt x="114644" y="1018588"/>
                                                  <a:pt x="88555" y="1028106"/>
                                                  <a:pt x="109713" y="1021052"/>
                                                </a:cubicBezTo>
                                                <a:cubicBezTo>
                                                  <a:pt x="113453" y="1021987"/>
                                                  <a:pt x="117923" y="1021449"/>
                                                  <a:pt x="120933" y="1023857"/>
                                                </a:cubicBezTo>
                                                <a:cubicBezTo>
                                                  <a:pt x="123242" y="1025704"/>
                                                  <a:pt x="122926" y="1029428"/>
                                                  <a:pt x="123738" y="1032271"/>
                                                </a:cubicBezTo>
                                                <a:cubicBezTo>
                                                  <a:pt x="124797" y="1035978"/>
                                                  <a:pt x="124405" y="1040283"/>
                                                  <a:pt x="126543" y="1043491"/>
                                                </a:cubicBezTo>
                                                <a:cubicBezTo>
                                                  <a:pt x="132727" y="1052767"/>
                                                  <a:pt x="154903" y="1051317"/>
                                                  <a:pt x="160202" y="1051906"/>
                                                </a:cubicBezTo>
                                                <a:cubicBezTo>
                                                  <a:pt x="163942" y="1057516"/>
                                                  <a:pt x="169289" y="1062339"/>
                                                  <a:pt x="171421" y="1068735"/>
                                                </a:cubicBezTo>
                                                <a:cubicBezTo>
                                                  <a:pt x="178097" y="1088763"/>
                                                  <a:pt x="172110" y="1082285"/>
                                                  <a:pt x="185446" y="1091174"/>
                                                </a:cubicBezTo>
                                                <a:cubicBezTo>
                                                  <a:pt x="196397" y="1107600"/>
                                                  <a:pt x="141970" y="1118289"/>
                                                  <a:pt x="188251" y="1119224"/>
                                                </a:cubicBezTo>
                                                <a:lnTo>
                                                  <a:pt x="185446" y="1144468"/>
                                                </a:lnTo>
                                                <a:lnTo>
                                                  <a:pt x="191056" y="1161297"/>
                                                </a:lnTo>
                                                <a:cubicBezTo>
                                                  <a:pt x="197601" y="1165972"/>
                                                  <a:pt x="202986" y="1173011"/>
                                                  <a:pt x="210690" y="1175322"/>
                                                </a:cubicBezTo>
                                                <a:cubicBezTo>
                                                  <a:pt x="213919" y="1176291"/>
                                                  <a:pt x="216178" y="1168039"/>
                                                  <a:pt x="219105" y="1169712"/>
                                                </a:cubicBezTo>
                                                <a:cubicBezTo>
                                                  <a:pt x="224959" y="1173057"/>
                                                  <a:pt x="224714" y="1182801"/>
                                                  <a:pt x="230324" y="1186541"/>
                                                </a:cubicBezTo>
                                                <a:cubicBezTo>
                                                  <a:pt x="241199" y="1193791"/>
                                                  <a:pt x="235541" y="1191085"/>
                                                  <a:pt x="247154" y="1194956"/>
                                                </a:cubicBezTo>
                                                <a:cubicBezTo>
                                                  <a:pt x="246219" y="1199631"/>
                                                  <a:pt x="245505" y="1204356"/>
                                                  <a:pt x="244349" y="1208981"/>
                                                </a:cubicBezTo>
                                                <a:cubicBezTo>
                                                  <a:pt x="243632" y="1211849"/>
                                                  <a:pt x="244412" y="1216678"/>
                                                  <a:pt x="241544" y="1217395"/>
                                                </a:cubicBezTo>
                                                <a:cubicBezTo>
                                                  <a:pt x="235130" y="1218998"/>
                                                  <a:pt x="228455" y="1215525"/>
                                                  <a:pt x="221910" y="1214590"/>
                                                </a:cubicBezTo>
                                                <a:cubicBezTo>
                                                  <a:pt x="216300" y="1215525"/>
                                                  <a:pt x="210018" y="1214573"/>
                                                  <a:pt x="205080" y="1217395"/>
                                                </a:cubicBezTo>
                                                <a:cubicBezTo>
                                                  <a:pt x="191616" y="1225089"/>
                                                  <a:pt x="209194" y="1228401"/>
                                                  <a:pt x="210690" y="1228615"/>
                                                </a:cubicBezTo>
                                                <a:cubicBezTo>
                                                  <a:pt x="220913" y="1230076"/>
                                                  <a:pt x="231259" y="1230485"/>
                                                  <a:pt x="241544" y="1231420"/>
                                                </a:cubicBezTo>
                                                <a:cubicBezTo>
                                                  <a:pt x="244349" y="1232355"/>
                                                  <a:pt x="235000" y="1236095"/>
                                                  <a:pt x="249959" y="1234225"/>
                                                </a:cubicBezTo>
                                                <a:lnTo>
                                                  <a:pt x="300447" y="1223005"/>
                                                </a:lnTo>
                                                <a:lnTo>
                                                  <a:pt x="331301" y="1217395"/>
                                                </a:lnTo>
                                                <a:cubicBezTo>
                                                  <a:pt x="329431" y="1225810"/>
                                                  <a:pt x="327782" y="1234277"/>
                                                  <a:pt x="325691" y="1242640"/>
                                                </a:cubicBezTo>
                                                <a:cubicBezTo>
                                                  <a:pt x="324974" y="1245508"/>
                                                  <a:pt x="324976" y="1248964"/>
                                                  <a:pt x="322886" y="1251054"/>
                                                </a:cubicBezTo>
                                                <a:cubicBezTo>
                                                  <a:pt x="320796" y="1253144"/>
                                                  <a:pt x="317358" y="1253218"/>
                                                  <a:pt x="314472" y="1253859"/>
                                                </a:cubicBezTo>
                                                <a:cubicBezTo>
                                                  <a:pt x="308920" y="1255093"/>
                                                  <a:pt x="303252" y="1255729"/>
                                                  <a:pt x="297642" y="1256664"/>
                                                </a:cubicBezTo>
                                                <a:lnTo>
                                                  <a:pt x="263983" y="1267884"/>
                                                </a:lnTo>
                                                <a:cubicBezTo>
                                                  <a:pt x="261178" y="1268819"/>
                                                  <a:pt x="258029" y="1269049"/>
                                                  <a:pt x="255569" y="1270689"/>
                                                </a:cubicBezTo>
                                                <a:lnTo>
                                                  <a:pt x="238739" y="1281908"/>
                                                </a:lnTo>
                                                <a:cubicBezTo>
                                                  <a:pt x="239674" y="1284713"/>
                                                  <a:pt x="239453" y="1288232"/>
                                                  <a:pt x="241544" y="1290323"/>
                                                </a:cubicBezTo>
                                                <a:cubicBezTo>
                                                  <a:pt x="247886" y="1296665"/>
                                                  <a:pt x="270541" y="1290555"/>
                                                  <a:pt x="272398" y="1290323"/>
                                                </a:cubicBezTo>
                                                <a:cubicBezTo>
                                                  <a:pt x="285733" y="1281433"/>
                                                  <a:pt x="277615" y="1285779"/>
                                                  <a:pt x="297642" y="1279103"/>
                                                </a:cubicBezTo>
                                                <a:lnTo>
                                                  <a:pt x="306057" y="1276298"/>
                                                </a:lnTo>
                                                <a:lnTo>
                                                  <a:pt x="314472" y="1273494"/>
                                                </a:lnTo>
                                                <a:cubicBezTo>
                                                  <a:pt x="317277" y="1274429"/>
                                                  <a:pt x="322468" y="1273371"/>
                                                  <a:pt x="322886" y="1276298"/>
                                                </a:cubicBezTo>
                                                <a:cubicBezTo>
                                                  <a:pt x="325966" y="1297860"/>
                                                  <a:pt x="299371" y="1295686"/>
                                                  <a:pt x="336911" y="1290323"/>
                                                </a:cubicBezTo>
                                                <a:cubicBezTo>
                                                  <a:pt x="342521" y="1286583"/>
                                                  <a:pt x="351608" y="1285499"/>
                                                  <a:pt x="353740" y="1279103"/>
                                                </a:cubicBezTo>
                                                <a:cubicBezTo>
                                                  <a:pt x="354675" y="1276298"/>
                                                  <a:pt x="355828" y="1273557"/>
                                                  <a:pt x="356545" y="1270689"/>
                                                </a:cubicBezTo>
                                                <a:cubicBezTo>
                                                  <a:pt x="357701" y="1266064"/>
                                                  <a:pt x="356705" y="1260631"/>
                                                  <a:pt x="359350" y="1256664"/>
                                                </a:cubicBezTo>
                                                <a:cubicBezTo>
                                                  <a:pt x="360990" y="1254204"/>
                                                  <a:pt x="364960" y="1254794"/>
                                                  <a:pt x="367765" y="1253859"/>
                                                </a:cubicBezTo>
                                                <a:cubicBezTo>
                                                  <a:pt x="368700" y="1251054"/>
                                                  <a:pt x="367925" y="1246766"/>
                                                  <a:pt x="370570" y="1245444"/>
                                                </a:cubicBezTo>
                                                <a:cubicBezTo>
                                                  <a:pt x="373215" y="1244122"/>
                                                  <a:pt x="376400" y="1246813"/>
                                                  <a:pt x="378985" y="1248249"/>
                                                </a:cubicBezTo>
                                                <a:cubicBezTo>
                                                  <a:pt x="384879" y="1251523"/>
                                                  <a:pt x="390204" y="1255729"/>
                                                  <a:pt x="395814" y="1259469"/>
                                                </a:cubicBezTo>
                                                <a:cubicBezTo>
                                                  <a:pt x="398619" y="1261339"/>
                                                  <a:pt x="400923" y="1264418"/>
                                                  <a:pt x="404229" y="1265079"/>
                                                </a:cubicBezTo>
                                                <a:cubicBezTo>
                                                  <a:pt x="409565" y="1266146"/>
                                                  <a:pt x="420917" y="1267814"/>
                                                  <a:pt x="426668" y="1270689"/>
                                                </a:cubicBezTo>
                                                <a:cubicBezTo>
                                                  <a:pt x="429683" y="1272196"/>
                                                  <a:pt x="432278" y="1274428"/>
                                                  <a:pt x="435083" y="1276298"/>
                                                </a:cubicBezTo>
                                                <a:cubicBezTo>
                                                  <a:pt x="457519" y="1268821"/>
                                                  <a:pt x="431344" y="1280037"/>
                                                  <a:pt x="446302" y="1265079"/>
                                                </a:cubicBezTo>
                                                <a:cubicBezTo>
                                                  <a:pt x="448393" y="1262988"/>
                                                  <a:pt x="451912" y="1263209"/>
                                                  <a:pt x="454717" y="1262274"/>
                                                </a:cubicBezTo>
                                                <a:cubicBezTo>
                                                  <a:pt x="458457" y="1265079"/>
                                                  <a:pt x="462944" y="1267098"/>
                                                  <a:pt x="465937" y="1270689"/>
                                                </a:cubicBezTo>
                                                <a:cubicBezTo>
                                                  <a:pt x="467830" y="1272960"/>
                                                  <a:pt x="468256" y="1276187"/>
                                                  <a:pt x="468742" y="1279103"/>
                                                </a:cubicBezTo>
                                                <a:cubicBezTo>
                                                  <a:pt x="470134" y="1287455"/>
                                                  <a:pt x="467191" y="1297088"/>
                                                  <a:pt x="471547" y="1304348"/>
                                                </a:cubicBezTo>
                                                <a:cubicBezTo>
                                                  <a:pt x="474000" y="1308436"/>
                                                  <a:pt x="480896" y="1306217"/>
                                                  <a:pt x="485571" y="1307152"/>
                                                </a:cubicBezTo>
                                                <a:cubicBezTo>
                                                  <a:pt x="487441" y="1309957"/>
                                                  <a:pt x="489673" y="1312552"/>
                                                  <a:pt x="491181" y="1315567"/>
                                                </a:cubicBezTo>
                                                <a:cubicBezTo>
                                                  <a:pt x="492503" y="1318212"/>
                                                  <a:pt x="491895" y="1321891"/>
                                                  <a:pt x="493986" y="1323982"/>
                                                </a:cubicBezTo>
                                                <a:cubicBezTo>
                                                  <a:pt x="496077" y="1326073"/>
                                                  <a:pt x="499596" y="1325852"/>
                                                  <a:pt x="502401" y="1326787"/>
                                                </a:cubicBezTo>
                                                <a:cubicBezTo>
                                                  <a:pt x="505206" y="1328657"/>
                                                  <a:pt x="507800" y="1330890"/>
                                                  <a:pt x="510815" y="1332397"/>
                                                </a:cubicBezTo>
                                                <a:cubicBezTo>
                                                  <a:pt x="518387" y="1336183"/>
                                                  <a:pt x="528313" y="1336285"/>
                                                  <a:pt x="536059" y="1338006"/>
                                                </a:cubicBezTo>
                                                <a:cubicBezTo>
                                                  <a:pt x="538945" y="1338647"/>
                                                  <a:pt x="541631" y="1339999"/>
                                                  <a:pt x="544474" y="1340811"/>
                                                </a:cubicBezTo>
                                                <a:cubicBezTo>
                                                  <a:pt x="569129" y="1347855"/>
                                                  <a:pt x="543933" y="1339696"/>
                                                  <a:pt x="564109" y="1346421"/>
                                                </a:cubicBezTo>
                                                <a:cubicBezTo>
                                                  <a:pt x="569719" y="1345486"/>
                                                  <a:pt x="575741" y="1345926"/>
                                                  <a:pt x="580938" y="1343616"/>
                                                </a:cubicBezTo>
                                                <a:cubicBezTo>
                                                  <a:pt x="584563" y="1342005"/>
                                                  <a:pt x="586306" y="1337741"/>
                                                  <a:pt x="589353" y="1335201"/>
                                                </a:cubicBezTo>
                                                <a:cubicBezTo>
                                                  <a:pt x="591942" y="1333043"/>
                                                  <a:pt x="594687" y="1330961"/>
                                                  <a:pt x="597767" y="1329592"/>
                                                </a:cubicBezTo>
                                                <a:cubicBezTo>
                                                  <a:pt x="612359" y="1323107"/>
                                                  <a:pt x="618257" y="1323459"/>
                                                  <a:pt x="634231" y="1321177"/>
                                                </a:cubicBezTo>
                                                <a:cubicBezTo>
                                                  <a:pt x="647749" y="1312165"/>
                                                  <a:pt x="641914" y="1313407"/>
                                                  <a:pt x="665085" y="1318372"/>
                                                </a:cubicBezTo>
                                                <a:cubicBezTo>
                                                  <a:pt x="670867" y="1319611"/>
                                                  <a:pt x="681915" y="1323982"/>
                                                  <a:pt x="681915" y="1323982"/>
                                                </a:cubicBezTo>
                                                <a:cubicBezTo>
                                                  <a:pt x="682850" y="1321177"/>
                                                  <a:pt x="684720" y="1318524"/>
                                                  <a:pt x="684720" y="1315567"/>
                                                </a:cubicBezTo>
                                                <a:cubicBezTo>
                                                  <a:pt x="684720" y="1302675"/>
                                                  <a:pt x="682564" y="1297880"/>
                                                  <a:pt x="679110" y="1287518"/>
                                                </a:cubicBezTo>
                                                <a:cubicBezTo>
                                                  <a:pt x="680045" y="1281908"/>
                                                  <a:pt x="680536" y="1276206"/>
                                                  <a:pt x="681915" y="1270689"/>
                                                </a:cubicBezTo>
                                                <a:cubicBezTo>
                                                  <a:pt x="683349" y="1264952"/>
                                                  <a:pt x="687524" y="1253859"/>
                                                  <a:pt x="687524" y="1253859"/>
                                                </a:cubicBezTo>
                                                <a:cubicBezTo>
                                                  <a:pt x="685926" y="1242672"/>
                                                  <a:pt x="681904" y="1228636"/>
                                                  <a:pt x="687524" y="1217395"/>
                                                </a:cubicBezTo>
                                                <a:cubicBezTo>
                                                  <a:pt x="689032" y="1214380"/>
                                                  <a:pt x="692924" y="1213293"/>
                                                  <a:pt x="695939" y="1211786"/>
                                                </a:cubicBezTo>
                                                <a:cubicBezTo>
                                                  <a:pt x="698584" y="1210464"/>
                                                  <a:pt x="701415" y="1209308"/>
                                                  <a:pt x="704354" y="1208981"/>
                                                </a:cubicBezTo>
                                                <a:cubicBezTo>
                                                  <a:pt x="726733" y="1206494"/>
                                                  <a:pt x="771672" y="1203371"/>
                                                  <a:pt x="771672" y="1203371"/>
                                                </a:cubicBezTo>
                                                <a:cubicBezTo>
                                                  <a:pt x="792822" y="1196320"/>
                                                  <a:pt x="784657" y="1197874"/>
                                                  <a:pt x="824965" y="1203371"/>
                                                </a:cubicBezTo>
                                                <a:cubicBezTo>
                                                  <a:pt x="842601" y="1205776"/>
                                                  <a:pt x="837183" y="1209181"/>
                                                  <a:pt x="850209" y="1211786"/>
                                                </a:cubicBezTo>
                                                <a:cubicBezTo>
                                                  <a:pt x="859559" y="1213656"/>
                                                  <a:pt x="869008" y="1215082"/>
                                                  <a:pt x="878258" y="1217395"/>
                                                </a:cubicBezTo>
                                                <a:cubicBezTo>
                                                  <a:pt x="881998" y="1218330"/>
                                                  <a:pt x="885771" y="1219141"/>
                                                  <a:pt x="889478" y="1220200"/>
                                                </a:cubicBezTo>
                                                <a:cubicBezTo>
                                                  <a:pt x="892321" y="1221012"/>
                                                  <a:pt x="895007" y="1222364"/>
                                                  <a:pt x="897893" y="1223005"/>
                                                </a:cubicBezTo>
                                                <a:cubicBezTo>
                                                  <a:pt x="927512" y="1229587"/>
                                                  <a:pt x="904194" y="1222301"/>
                                                  <a:pt x="923137" y="1228615"/>
                                                </a:cubicBezTo>
                                                <a:cubicBezTo>
                                                  <a:pt x="925007" y="1234225"/>
                                                  <a:pt x="925467" y="1240524"/>
                                                  <a:pt x="928747" y="1245444"/>
                                                </a:cubicBezTo>
                                                <a:cubicBezTo>
                                                  <a:pt x="930617" y="1248249"/>
                                                  <a:pt x="932198" y="1251269"/>
                                                  <a:pt x="934356" y="1253859"/>
                                                </a:cubicBezTo>
                                                <a:cubicBezTo>
                                                  <a:pt x="938877" y="1259285"/>
                                                  <a:pt x="948082" y="1267312"/>
                                                  <a:pt x="953991" y="1270689"/>
                                                </a:cubicBezTo>
                                                <a:cubicBezTo>
                                                  <a:pt x="956558" y="1272156"/>
                                                  <a:pt x="959821" y="1272058"/>
                                                  <a:pt x="962405" y="1273494"/>
                                                </a:cubicBezTo>
                                                <a:cubicBezTo>
                                                  <a:pt x="991337" y="1289567"/>
                                                  <a:pt x="968610" y="1281171"/>
                                                  <a:pt x="987650" y="1287518"/>
                                                </a:cubicBezTo>
                                                <a:cubicBezTo>
                                                  <a:pt x="990455" y="1290323"/>
                                                  <a:pt x="993017" y="1293394"/>
                                                  <a:pt x="996064" y="1295933"/>
                                                </a:cubicBezTo>
                                                <a:cubicBezTo>
                                                  <a:pt x="1012449" y="1309588"/>
                                                  <a:pt x="1016646" y="1300732"/>
                                                  <a:pt x="1046553" y="1298738"/>
                                                </a:cubicBezTo>
                                                <a:lnTo>
                                                  <a:pt x="1071797" y="1290323"/>
                                                </a:lnTo>
                                                <a:cubicBezTo>
                                                  <a:pt x="1074602" y="1289388"/>
                                                  <a:pt x="1077313" y="1288098"/>
                                                  <a:pt x="1080212" y="1287518"/>
                                                </a:cubicBezTo>
                                                <a:cubicBezTo>
                                                  <a:pt x="1099813" y="1283598"/>
                                                  <a:pt x="1089534" y="1285497"/>
                                                  <a:pt x="1111066" y="1281908"/>
                                                </a:cubicBezTo>
                                                <a:cubicBezTo>
                                                  <a:pt x="1116676" y="1280038"/>
                                                  <a:pt x="1122097" y="1277457"/>
                                                  <a:pt x="1127895" y="1276298"/>
                                                </a:cubicBezTo>
                                                <a:cubicBezTo>
                                                  <a:pt x="1133234" y="1275231"/>
                                                  <a:pt x="1144581" y="1273565"/>
                                                  <a:pt x="1150334" y="1270689"/>
                                                </a:cubicBezTo>
                                                <a:cubicBezTo>
                                                  <a:pt x="1160780" y="1265466"/>
                                                  <a:pt x="1157859" y="1264419"/>
                                                  <a:pt x="1167164" y="1256664"/>
                                                </a:cubicBezTo>
                                                <a:cubicBezTo>
                                                  <a:pt x="1169754" y="1254506"/>
                                                  <a:pt x="1172773" y="1252924"/>
                                                  <a:pt x="1175578" y="1251054"/>
                                                </a:cubicBezTo>
                                                <a:cubicBezTo>
                                                  <a:pt x="1177448" y="1248249"/>
                                                  <a:pt x="1179680" y="1245655"/>
                                                  <a:pt x="1181188" y="1242640"/>
                                                </a:cubicBezTo>
                                                <a:cubicBezTo>
                                                  <a:pt x="1182510" y="1239995"/>
                                                  <a:pt x="1183993" y="1234225"/>
                                                  <a:pt x="1183993" y="1234225"/>
                                                </a:cubicBezTo>
                                                <a:lnTo>
                                                  <a:pt x="1220457" y="1186541"/>
                                                </a:lnTo>
                                                <a:cubicBezTo>
                                                  <a:pt x="1231101" y="1178938"/>
                                                  <a:pt x="1240548" y="1175696"/>
                                                  <a:pt x="1245701" y="1164102"/>
                                                </a:cubicBezTo>
                                                <a:cubicBezTo>
                                                  <a:pt x="1248103" y="1158699"/>
                                                  <a:pt x="1249877" y="1153010"/>
                                                  <a:pt x="1251311" y="1147273"/>
                                                </a:cubicBezTo>
                                                <a:cubicBezTo>
                                                  <a:pt x="1252246" y="1143533"/>
                                                  <a:pt x="1252597" y="1139596"/>
                                                  <a:pt x="1254116" y="1136053"/>
                                                </a:cubicBezTo>
                                                <a:cubicBezTo>
                                                  <a:pt x="1257934" y="1127145"/>
                                                  <a:pt x="1267984" y="1119276"/>
                                                  <a:pt x="1276555" y="1116419"/>
                                                </a:cubicBezTo>
                                                <a:lnTo>
                                                  <a:pt x="1284970" y="1113614"/>
                                                </a:lnTo>
                                                <a:cubicBezTo>
                                                  <a:pt x="1321467" y="1119697"/>
                                                  <a:pt x="1288957" y="1110073"/>
                                                  <a:pt x="1307409" y="1124833"/>
                                                </a:cubicBezTo>
                                                <a:cubicBezTo>
                                                  <a:pt x="1309718" y="1126680"/>
                                                  <a:pt x="1312908" y="1127152"/>
                                                  <a:pt x="1315824" y="1127638"/>
                                                </a:cubicBezTo>
                                                <a:cubicBezTo>
                                                  <a:pt x="1324175" y="1129030"/>
                                                  <a:pt x="1332653" y="1129508"/>
                                                  <a:pt x="1341068" y="1130443"/>
                                                </a:cubicBezTo>
                                                <a:cubicBezTo>
                                                  <a:pt x="1342938" y="1133248"/>
                                                  <a:pt x="1343480" y="1137792"/>
                                                  <a:pt x="1346678" y="1138858"/>
                                                </a:cubicBezTo>
                                                <a:cubicBezTo>
                                                  <a:pt x="1355592" y="1141829"/>
                                                  <a:pt x="1365395" y="1140565"/>
                                                  <a:pt x="1374727" y="1141663"/>
                                                </a:cubicBezTo>
                                                <a:cubicBezTo>
                                                  <a:pt x="1381293" y="1142435"/>
                                                  <a:pt x="1387816" y="1143533"/>
                                                  <a:pt x="1394361" y="1144468"/>
                                                </a:cubicBezTo>
                                                <a:cubicBezTo>
                                                  <a:pt x="1401190" y="1146744"/>
                                                  <a:pt x="1406745" y="1150269"/>
                                                  <a:pt x="1413996" y="1144468"/>
                                                </a:cubicBezTo>
                                                <a:cubicBezTo>
                                                  <a:pt x="1416305" y="1142621"/>
                                                  <a:pt x="1415866" y="1138858"/>
                                                  <a:pt x="1416801" y="1136053"/>
                                                </a:cubicBezTo>
                                                <a:cubicBezTo>
                                                  <a:pt x="1417736" y="1127638"/>
                                                  <a:pt x="1414244" y="1117362"/>
                                                  <a:pt x="1419605" y="1110809"/>
                                                </a:cubicBezTo>
                                                <a:cubicBezTo>
                                                  <a:pt x="1424487" y="1104842"/>
                                                  <a:pt x="1442045" y="1105199"/>
                                                  <a:pt x="1442045" y="1105199"/>
                                                </a:cubicBezTo>
                                                <a:cubicBezTo>
                                                  <a:pt x="1444850" y="1103329"/>
                                                  <a:pt x="1448353" y="1102221"/>
                                                  <a:pt x="1450459" y="1099589"/>
                                                </a:cubicBezTo>
                                                <a:cubicBezTo>
                                                  <a:pt x="1452306" y="1097280"/>
                                                  <a:pt x="1451942" y="1093819"/>
                                                  <a:pt x="1453264" y="1091174"/>
                                                </a:cubicBezTo>
                                                <a:cubicBezTo>
                                                  <a:pt x="1454772" y="1088159"/>
                                                  <a:pt x="1457004" y="1085565"/>
                                                  <a:pt x="1458874" y="1082760"/>
                                                </a:cubicBezTo>
                                                <a:cubicBezTo>
                                                  <a:pt x="1459809" y="1079955"/>
                                                  <a:pt x="1459832" y="1076654"/>
                                                  <a:pt x="1461679" y="1074345"/>
                                                </a:cubicBezTo>
                                                <a:cubicBezTo>
                                                  <a:pt x="1465634" y="1069402"/>
                                                  <a:pt x="1472966" y="1067778"/>
                                                  <a:pt x="1478509" y="1065930"/>
                                                </a:cubicBezTo>
                                                <a:cubicBezTo>
                                                  <a:pt x="1481314" y="1066865"/>
                                                  <a:pt x="1484614" y="1066888"/>
                                                  <a:pt x="1486923" y="1068735"/>
                                                </a:cubicBezTo>
                                                <a:cubicBezTo>
                                                  <a:pt x="1493623" y="1074095"/>
                                                  <a:pt x="1491950" y="1078789"/>
                                                  <a:pt x="1495338" y="1085565"/>
                                                </a:cubicBezTo>
                                                <a:cubicBezTo>
                                                  <a:pt x="1496846" y="1088580"/>
                                                  <a:pt x="1499078" y="1091174"/>
                                                  <a:pt x="1500948" y="1093979"/>
                                                </a:cubicBezTo>
                                                <a:cubicBezTo>
                                                  <a:pt x="1501883" y="1096784"/>
                                                  <a:pt x="1503753" y="1099437"/>
                                                  <a:pt x="1503753" y="1102394"/>
                                                </a:cubicBezTo>
                                                <a:cubicBezTo>
                                                  <a:pt x="1503753" y="1106249"/>
                                                  <a:pt x="1502007" y="1109907"/>
                                                  <a:pt x="1500948" y="1113614"/>
                                                </a:cubicBezTo>
                                                <a:cubicBezTo>
                                                  <a:pt x="1500136" y="1116457"/>
                                                  <a:pt x="1499465" y="1119384"/>
                                                  <a:pt x="1498143" y="1122028"/>
                                                </a:cubicBezTo>
                                                <a:cubicBezTo>
                                                  <a:pt x="1494237" y="1129839"/>
                                                  <a:pt x="1490322" y="1132654"/>
                                                  <a:pt x="1484118" y="1138858"/>
                                                </a:cubicBezTo>
                                                <a:lnTo>
                                                  <a:pt x="1478509" y="1155687"/>
                                                </a:lnTo>
                                                <a:cubicBezTo>
                                                  <a:pt x="1477574" y="1158492"/>
                                                  <a:pt x="1477344" y="1161642"/>
                                                  <a:pt x="1475704" y="1164102"/>
                                                </a:cubicBezTo>
                                                <a:lnTo>
                                                  <a:pt x="1470094" y="1172517"/>
                                                </a:lnTo>
                                                <a:cubicBezTo>
                                                  <a:pt x="1470118" y="1172614"/>
                                                  <a:pt x="1474363" y="1190810"/>
                                                  <a:pt x="1475704" y="1192151"/>
                                                </a:cubicBezTo>
                                                <a:cubicBezTo>
                                                  <a:pt x="1477794" y="1194242"/>
                                                  <a:pt x="1481313" y="1194021"/>
                                                  <a:pt x="1484118" y="1194956"/>
                                                </a:cubicBezTo>
                                                <a:cubicBezTo>
                                                  <a:pt x="1485053" y="1205241"/>
                                                  <a:pt x="1484759" y="1215712"/>
                                                  <a:pt x="1486923" y="1225810"/>
                                                </a:cubicBezTo>
                                                <a:cubicBezTo>
                                                  <a:pt x="1489316" y="1236979"/>
                                                  <a:pt x="1500730" y="1236958"/>
                                                  <a:pt x="1509362" y="1239835"/>
                                                </a:cubicBezTo>
                                                <a:cubicBezTo>
                                                  <a:pt x="1520975" y="1243706"/>
                                                  <a:pt x="1515316" y="1241000"/>
                                                  <a:pt x="1526192" y="1248249"/>
                                                </a:cubicBezTo>
                                                <a:cubicBezTo>
                                                  <a:pt x="1528997" y="1247314"/>
                                                  <a:pt x="1532888" y="1247850"/>
                                                  <a:pt x="1534607" y="1245444"/>
                                                </a:cubicBezTo>
                                                <a:cubicBezTo>
                                                  <a:pt x="1538044" y="1240632"/>
                                                  <a:pt x="1538346" y="1234225"/>
                                                  <a:pt x="1540216" y="1228615"/>
                                                </a:cubicBezTo>
                                                <a:cubicBezTo>
                                                  <a:pt x="1541151" y="1225810"/>
                                                  <a:pt x="1540216" y="1221135"/>
                                                  <a:pt x="1543021" y="1220200"/>
                                                </a:cubicBezTo>
                                                <a:lnTo>
                                                  <a:pt x="1551436" y="1217395"/>
                                                </a:lnTo>
                                                <a:cubicBezTo>
                                                  <a:pt x="1553306" y="1214590"/>
                                                  <a:pt x="1556711" y="1212335"/>
                                                  <a:pt x="1557046" y="1208981"/>
                                                </a:cubicBezTo>
                                                <a:cubicBezTo>
                                                  <a:pt x="1558916" y="1190282"/>
                                                  <a:pt x="1547696" y="1188411"/>
                                                  <a:pt x="1557046" y="1169712"/>
                                                </a:cubicBezTo>
                                                <a:cubicBezTo>
                                                  <a:pt x="1558368" y="1167067"/>
                                                  <a:pt x="1562656" y="1167842"/>
                                                  <a:pt x="1565461" y="1166907"/>
                                                </a:cubicBezTo>
                                                <a:cubicBezTo>
                                                  <a:pt x="1567331" y="1164102"/>
                                                  <a:pt x="1568438" y="1160598"/>
                                                  <a:pt x="1571070" y="1158492"/>
                                                </a:cubicBezTo>
                                                <a:cubicBezTo>
                                                  <a:pt x="1584670" y="1147611"/>
                                                  <a:pt x="1576169" y="1165632"/>
                                                  <a:pt x="1582290" y="1147273"/>
                                                </a:cubicBezTo>
                                                <a:cubicBezTo>
                                                  <a:pt x="1568954" y="1138383"/>
                                                  <a:pt x="1574942" y="1144862"/>
                                                  <a:pt x="1568266" y="1124833"/>
                                                </a:cubicBezTo>
                                                <a:lnTo>
                                                  <a:pt x="1565461" y="1116419"/>
                                                </a:lnTo>
                                                <a:cubicBezTo>
                                                  <a:pt x="1563591" y="1097719"/>
                                                  <a:pt x="1560098" y="1090433"/>
                                                  <a:pt x="1565461" y="1074345"/>
                                                </a:cubicBezTo>
                                                <a:cubicBezTo>
                                                  <a:pt x="1565879" y="1073091"/>
                                                  <a:pt x="1567331" y="1072475"/>
                                                  <a:pt x="1568266" y="1071540"/>
                                                </a:cubicBezTo>
                                                <a:lnTo>
                                                  <a:pt x="1607534" y="1065930"/>
                                                </a:lnTo>
                                                <a:lnTo>
                                                  <a:pt x="1669242" y="1068735"/>
                                                </a:lnTo>
                                                <a:cubicBezTo>
                                                  <a:pt x="1678592" y="1067800"/>
                                                  <a:pt x="1688377" y="1068901"/>
                                                  <a:pt x="1697291" y="1065930"/>
                                                </a:cubicBezTo>
                                                <a:cubicBezTo>
                                                  <a:pt x="1700489" y="1064864"/>
                                                  <a:pt x="1700364" y="1059736"/>
                                                  <a:pt x="1702901" y="1057516"/>
                                                </a:cubicBezTo>
                                                <a:cubicBezTo>
                                                  <a:pt x="1707975" y="1053076"/>
                                                  <a:pt x="1714964" y="1051064"/>
                                                  <a:pt x="1719731" y="1046296"/>
                                                </a:cubicBezTo>
                                                <a:cubicBezTo>
                                                  <a:pt x="1722536" y="1043491"/>
                                                  <a:pt x="1724845" y="1040081"/>
                                                  <a:pt x="1728145" y="1037881"/>
                                                </a:cubicBezTo>
                                                <a:cubicBezTo>
                                                  <a:pt x="1730605" y="1036241"/>
                                                  <a:pt x="1733975" y="1036512"/>
                                                  <a:pt x="1736560" y="1035076"/>
                                                </a:cubicBezTo>
                                                <a:cubicBezTo>
                                                  <a:pt x="1742454" y="1031802"/>
                                                  <a:pt x="1753389" y="1023857"/>
                                                  <a:pt x="1753389" y="1023857"/>
                                                </a:cubicBezTo>
                                                <a:cubicBezTo>
                                                  <a:pt x="1754324" y="1021052"/>
                                                  <a:pt x="1754872" y="1018087"/>
                                                  <a:pt x="1756194" y="1015442"/>
                                                </a:cubicBezTo>
                                                <a:cubicBezTo>
                                                  <a:pt x="1760776" y="1006278"/>
                                                  <a:pt x="1768535" y="999175"/>
                                                  <a:pt x="1778634" y="995808"/>
                                                </a:cubicBezTo>
                                                <a:lnTo>
                                                  <a:pt x="1795463" y="990198"/>
                                                </a:lnTo>
                                                <a:cubicBezTo>
                                                  <a:pt x="1803202" y="991165"/>
                                                  <a:pt x="1817668" y="991484"/>
                                                  <a:pt x="1826317" y="995808"/>
                                                </a:cubicBezTo>
                                                <a:cubicBezTo>
                                                  <a:pt x="1829332" y="997315"/>
                                                  <a:pt x="1831652" y="1000048"/>
                                                  <a:pt x="1834732" y="1001417"/>
                                                </a:cubicBezTo>
                                                <a:cubicBezTo>
                                                  <a:pt x="1840136" y="1003818"/>
                                                  <a:pt x="1846641" y="1003747"/>
                                                  <a:pt x="1851561" y="1007027"/>
                                                </a:cubicBezTo>
                                                <a:cubicBezTo>
                                                  <a:pt x="1862436" y="1014277"/>
                                                  <a:pt x="1856778" y="1011571"/>
                                                  <a:pt x="1868391" y="1015442"/>
                                                </a:cubicBezTo>
                                                <a:cubicBezTo>
                                                  <a:pt x="1910742" y="1009392"/>
                                                  <a:pt x="1874475" y="1019550"/>
                                                  <a:pt x="1893635" y="1004222"/>
                                                </a:cubicBezTo>
                                                <a:cubicBezTo>
                                                  <a:pt x="1895944" y="1002375"/>
                                                  <a:pt x="1899128" y="1001867"/>
                                                  <a:pt x="1902050" y="1001417"/>
                                                </a:cubicBezTo>
                                                <a:cubicBezTo>
                                                  <a:pt x="1911337" y="999988"/>
                                                  <a:pt x="1920749" y="999548"/>
                                                  <a:pt x="1930099" y="998613"/>
                                                </a:cubicBezTo>
                                                <a:cubicBezTo>
                                                  <a:pt x="1936770" y="996389"/>
                                                  <a:pt x="1942687" y="994177"/>
                                                  <a:pt x="1949733" y="993003"/>
                                                </a:cubicBezTo>
                                                <a:cubicBezTo>
                                                  <a:pt x="1957168" y="991764"/>
                                                  <a:pt x="1964692" y="991133"/>
                                                  <a:pt x="1972172" y="990198"/>
                                                </a:cubicBezTo>
                                                <a:lnTo>
                                                  <a:pt x="1989002" y="984588"/>
                                                </a:lnTo>
                                                <a:cubicBezTo>
                                                  <a:pt x="1991807" y="983653"/>
                                                  <a:pt x="1994956" y="983423"/>
                                                  <a:pt x="1997416" y="981783"/>
                                                </a:cubicBezTo>
                                                <a:lnTo>
                                                  <a:pt x="2005831" y="976173"/>
                                                </a:lnTo>
                                                <a:cubicBezTo>
                                                  <a:pt x="2021910" y="952057"/>
                                                  <a:pt x="2000499" y="980439"/>
                                                  <a:pt x="2019856" y="964954"/>
                                                </a:cubicBezTo>
                                                <a:cubicBezTo>
                                                  <a:pt x="2022488" y="962848"/>
                                                  <a:pt x="2023082" y="958923"/>
                                                  <a:pt x="2025466" y="956539"/>
                                                </a:cubicBezTo>
                                                <a:cubicBezTo>
                                                  <a:pt x="2027850" y="954155"/>
                                                  <a:pt x="2031496" y="953313"/>
                                                  <a:pt x="2033880" y="950929"/>
                                                </a:cubicBezTo>
                                                <a:cubicBezTo>
                                                  <a:pt x="2049161" y="935647"/>
                                                  <a:pt x="2034639" y="942260"/>
                                                  <a:pt x="2050710" y="936905"/>
                                                </a:cubicBezTo>
                                                <a:cubicBezTo>
                                                  <a:pt x="2056914" y="930700"/>
                                                  <a:pt x="2059728" y="926786"/>
                                                  <a:pt x="2067539" y="922880"/>
                                                </a:cubicBezTo>
                                                <a:cubicBezTo>
                                                  <a:pt x="2070184" y="921558"/>
                                                  <a:pt x="2073149" y="921010"/>
                                                  <a:pt x="2075954" y="920075"/>
                                                </a:cubicBezTo>
                                                <a:cubicBezTo>
                                                  <a:pt x="2078759" y="917270"/>
                                                  <a:pt x="2081829" y="914707"/>
                                                  <a:pt x="2084369" y="911660"/>
                                                </a:cubicBezTo>
                                                <a:cubicBezTo>
                                                  <a:pt x="2086527" y="909071"/>
                                                  <a:pt x="2087595" y="905629"/>
                                                  <a:pt x="2089978" y="903246"/>
                                                </a:cubicBezTo>
                                                <a:cubicBezTo>
                                                  <a:pt x="2092362" y="900862"/>
                                                  <a:pt x="2095588" y="899506"/>
                                                  <a:pt x="2098393" y="897636"/>
                                                </a:cubicBezTo>
                                                <a:cubicBezTo>
                                                  <a:pt x="2100263" y="894831"/>
                                                  <a:pt x="2101619" y="891605"/>
                                                  <a:pt x="2104003" y="889221"/>
                                                </a:cubicBezTo>
                                                <a:cubicBezTo>
                                                  <a:pt x="2108557" y="884667"/>
                                                  <a:pt x="2118506" y="880933"/>
                                                  <a:pt x="2123637" y="878001"/>
                                                </a:cubicBezTo>
                                                <a:cubicBezTo>
                                                  <a:pt x="2126564" y="876329"/>
                                                  <a:pt x="2128971" y="873761"/>
                                                  <a:pt x="2132052" y="872392"/>
                                                </a:cubicBezTo>
                                                <a:cubicBezTo>
                                                  <a:pt x="2137456" y="869990"/>
                                                  <a:pt x="2148882" y="866782"/>
                                                  <a:pt x="2148882" y="866782"/>
                                                </a:cubicBezTo>
                                                <a:cubicBezTo>
                                                  <a:pt x="2151687" y="864912"/>
                                                  <a:pt x="2154281" y="862680"/>
                                                  <a:pt x="2157296" y="861172"/>
                                                </a:cubicBezTo>
                                                <a:cubicBezTo>
                                                  <a:pt x="2168753" y="855443"/>
                                                  <a:pt x="2191853" y="856188"/>
                                                  <a:pt x="2199370" y="855562"/>
                                                </a:cubicBezTo>
                                                <a:cubicBezTo>
                                                  <a:pt x="2202175" y="854627"/>
                                                  <a:pt x="2205200" y="854193"/>
                                                  <a:pt x="2207785" y="852757"/>
                                                </a:cubicBezTo>
                                                <a:cubicBezTo>
                                                  <a:pt x="2236719" y="836683"/>
                                                  <a:pt x="2213988" y="845080"/>
                                                  <a:pt x="2233029" y="838733"/>
                                                </a:cubicBezTo>
                                                <a:cubicBezTo>
                                                  <a:pt x="2235834" y="836863"/>
                                                  <a:pt x="2238428" y="834631"/>
                                                  <a:pt x="2241443" y="833123"/>
                                                </a:cubicBezTo>
                                                <a:cubicBezTo>
                                                  <a:pt x="2244088" y="831801"/>
                                                  <a:pt x="2246990" y="831035"/>
                                                  <a:pt x="2249858" y="830318"/>
                                                </a:cubicBezTo>
                                                <a:cubicBezTo>
                                                  <a:pt x="2265877" y="826313"/>
                                                  <a:pt x="2260702" y="829028"/>
                                                  <a:pt x="2275102" y="824708"/>
                                                </a:cubicBezTo>
                                                <a:cubicBezTo>
                                                  <a:pt x="2280766" y="823009"/>
                                                  <a:pt x="2291932" y="819098"/>
                                                  <a:pt x="2291932" y="819098"/>
                                                </a:cubicBezTo>
                                                <a:cubicBezTo>
                                                  <a:pt x="2311984" y="789024"/>
                                                  <a:pt x="2280754" y="834672"/>
                                                  <a:pt x="2305956" y="802269"/>
                                                </a:cubicBezTo>
                                                <a:cubicBezTo>
                                                  <a:pt x="2310095" y="796947"/>
                                                  <a:pt x="2317176" y="785440"/>
                                                  <a:pt x="2317176" y="785440"/>
                                                </a:cubicBezTo>
                                                <a:cubicBezTo>
                                                  <a:pt x="2319278" y="779134"/>
                                                  <a:pt x="2320517" y="771237"/>
                                                  <a:pt x="2328396" y="768610"/>
                                                </a:cubicBezTo>
                                                <a:lnTo>
                                                  <a:pt x="2336810" y="771415"/>
                                                </a:lnTo>
                                                <a:cubicBezTo>
                                                  <a:pt x="2343012" y="777617"/>
                                                  <a:pt x="2346931" y="780436"/>
                                                  <a:pt x="2350835" y="788244"/>
                                                </a:cubicBezTo>
                                                <a:cubicBezTo>
                                                  <a:pt x="2352157" y="790889"/>
                                                  <a:pt x="2351549" y="794568"/>
                                                  <a:pt x="2353640" y="796659"/>
                                                </a:cubicBezTo>
                                                <a:cubicBezTo>
                                                  <a:pt x="2355731" y="798750"/>
                                                  <a:pt x="2359250" y="798529"/>
                                                  <a:pt x="2362055" y="799464"/>
                                                </a:cubicBezTo>
                                                <a:cubicBezTo>
                                                  <a:pt x="2372090" y="797457"/>
                                                  <a:pt x="2377271" y="798272"/>
                                                  <a:pt x="2384494" y="791049"/>
                                                </a:cubicBezTo>
                                                <a:cubicBezTo>
                                                  <a:pt x="2386878" y="788665"/>
                                                  <a:pt x="2388234" y="785440"/>
                                                  <a:pt x="2390104" y="782635"/>
                                                </a:cubicBezTo>
                                                <a:lnTo>
                                                  <a:pt x="2398518" y="757390"/>
                                                </a:lnTo>
                                                <a:cubicBezTo>
                                                  <a:pt x="2399453" y="754585"/>
                                                  <a:pt x="2399683" y="751436"/>
                                                  <a:pt x="2401323" y="748976"/>
                                                </a:cubicBezTo>
                                                <a:cubicBezTo>
                                                  <a:pt x="2403193" y="746171"/>
                                                  <a:pt x="2404074" y="742348"/>
                                                  <a:pt x="2406933" y="740561"/>
                                                </a:cubicBezTo>
                                                <a:cubicBezTo>
                                                  <a:pt x="2411947" y="737427"/>
                                                  <a:pt x="2417964" y="736111"/>
                                                  <a:pt x="2423762" y="734951"/>
                                                </a:cubicBezTo>
                                                <a:cubicBezTo>
                                                  <a:pt x="2453400" y="729023"/>
                                                  <a:pt x="2433028" y="732426"/>
                                                  <a:pt x="2485470" y="729341"/>
                                                </a:cubicBezTo>
                                                <a:cubicBezTo>
                                                  <a:pt x="2491080" y="728406"/>
                                                  <a:pt x="2496723" y="727651"/>
                                                  <a:pt x="2502300" y="726536"/>
                                                </a:cubicBezTo>
                                                <a:cubicBezTo>
                                                  <a:pt x="2506080" y="725780"/>
                                                  <a:pt x="2509717" y="724366"/>
                                                  <a:pt x="2513520" y="723732"/>
                                                </a:cubicBezTo>
                                                <a:cubicBezTo>
                                                  <a:pt x="2520955" y="722493"/>
                                                  <a:pt x="2528479" y="721862"/>
                                                  <a:pt x="2535959" y="720927"/>
                                                </a:cubicBezTo>
                                                <a:cubicBezTo>
                                                  <a:pt x="2536692" y="720744"/>
                                                  <a:pt x="2553764" y="716780"/>
                                                  <a:pt x="2555593" y="715317"/>
                                                </a:cubicBezTo>
                                                <a:cubicBezTo>
                                                  <a:pt x="2573718" y="700817"/>
                                                  <a:pt x="2548467" y="711147"/>
                                                  <a:pt x="2569618" y="704097"/>
                                                </a:cubicBezTo>
                                                <a:cubicBezTo>
                                                  <a:pt x="2571488" y="701292"/>
                                                  <a:pt x="2572596" y="697788"/>
                                                  <a:pt x="2575228" y="695682"/>
                                                </a:cubicBezTo>
                                                <a:cubicBezTo>
                                                  <a:pt x="2582369" y="689969"/>
                                                  <a:pt x="2593554" y="694529"/>
                                                  <a:pt x="2600472" y="695682"/>
                                                </a:cubicBezTo>
                                                <a:cubicBezTo>
                                                  <a:pt x="2605606" y="703383"/>
                                                  <a:pt x="2619262" y="726254"/>
                                                  <a:pt x="2628521" y="729341"/>
                                                </a:cubicBezTo>
                                                <a:cubicBezTo>
                                                  <a:pt x="2640133" y="733212"/>
                                                  <a:pt x="2634475" y="730506"/>
                                                  <a:pt x="2645350" y="737756"/>
                                                </a:cubicBezTo>
                                                <a:cubicBezTo>
                                                  <a:pt x="2654475" y="734714"/>
                                                  <a:pt x="2654962" y="736466"/>
                                                  <a:pt x="2659375" y="726536"/>
                                                </a:cubicBezTo>
                                                <a:cubicBezTo>
                                                  <a:pt x="2661777" y="721133"/>
                                                  <a:pt x="2660065" y="712987"/>
                                                  <a:pt x="2664985" y="709707"/>
                                                </a:cubicBezTo>
                                                <a:lnTo>
                                                  <a:pt x="2681814" y="698487"/>
                                                </a:lnTo>
                                                <a:lnTo>
                                                  <a:pt x="2690229" y="692878"/>
                                                </a:lnTo>
                                                <a:cubicBezTo>
                                                  <a:pt x="2692099" y="690073"/>
                                                  <a:pt x="2695599" y="687826"/>
                                                  <a:pt x="2695839" y="684463"/>
                                                </a:cubicBezTo>
                                                <a:cubicBezTo>
                                                  <a:pt x="2696575" y="674162"/>
                                                  <a:pt x="2696071" y="663479"/>
                                                  <a:pt x="2693034" y="653609"/>
                                                </a:cubicBezTo>
                                                <a:cubicBezTo>
                                                  <a:pt x="2692043" y="650387"/>
                                                  <a:pt x="2687700" y="649368"/>
                                                  <a:pt x="2684619" y="647999"/>
                                                </a:cubicBezTo>
                                                <a:cubicBezTo>
                                                  <a:pt x="2679215" y="645597"/>
                                                  <a:pt x="2673399" y="644259"/>
                                                  <a:pt x="2667789" y="642389"/>
                                                </a:cubicBezTo>
                                                <a:cubicBezTo>
                                                  <a:pt x="2664984" y="641454"/>
                                                  <a:pt x="2661835" y="641224"/>
                                                  <a:pt x="2659375" y="639584"/>
                                                </a:cubicBezTo>
                                                <a:lnTo>
                                                  <a:pt x="2650960" y="633974"/>
                                                </a:lnTo>
                                                <a:cubicBezTo>
                                                  <a:pt x="2649090" y="631169"/>
                                                  <a:pt x="2646858" y="628575"/>
                                                  <a:pt x="2645350" y="625560"/>
                                                </a:cubicBezTo>
                                                <a:cubicBezTo>
                                                  <a:pt x="2640787" y="616434"/>
                                                  <a:pt x="2644974" y="616769"/>
                                                  <a:pt x="2636935" y="608730"/>
                                                </a:cubicBezTo>
                                                <a:cubicBezTo>
                                                  <a:pt x="2634552" y="606347"/>
                                                  <a:pt x="2631326" y="604991"/>
                                                  <a:pt x="2628521" y="603121"/>
                                                </a:cubicBezTo>
                                                <a:cubicBezTo>
                                                  <a:pt x="2626651" y="600316"/>
                                                  <a:pt x="2625770" y="596493"/>
                                                  <a:pt x="2622911" y="594706"/>
                                                </a:cubicBezTo>
                                                <a:cubicBezTo>
                                                  <a:pt x="2617897" y="591572"/>
                                                  <a:pt x="2611692" y="590966"/>
                                                  <a:pt x="2606082" y="589096"/>
                                                </a:cubicBezTo>
                                                <a:lnTo>
                                                  <a:pt x="2597667" y="586291"/>
                                                </a:lnTo>
                                                <a:cubicBezTo>
                                                  <a:pt x="2594862" y="585356"/>
                                                  <a:pt x="2591712" y="585126"/>
                                                  <a:pt x="2589252" y="583486"/>
                                                </a:cubicBezTo>
                                                <a:lnTo>
                                                  <a:pt x="2580837" y="577876"/>
                                                </a:lnTo>
                                                <a:cubicBezTo>
                                                  <a:pt x="2578967" y="575071"/>
                                                  <a:pt x="2575563" y="572816"/>
                                                  <a:pt x="2575228" y="569462"/>
                                                </a:cubicBezTo>
                                                <a:cubicBezTo>
                                                  <a:pt x="2567562" y="492795"/>
                                                  <a:pt x="2597863" y="493729"/>
                                                  <a:pt x="2569618" y="493729"/>
                                                </a:cubicBezTo>
                                                <a:lnTo>
                                                  <a:pt x="2547178" y="446046"/>
                                                </a:lnTo>
                                                <a:lnTo>
                                                  <a:pt x="2538764" y="429216"/>
                                                </a:lnTo>
                                                <a:lnTo>
                                                  <a:pt x="2519129" y="401167"/>
                                                </a:lnTo>
                                                <a:cubicBezTo>
                                                  <a:pt x="2517210" y="398395"/>
                                                  <a:pt x="2513520" y="392752"/>
                                                  <a:pt x="2513520" y="392752"/>
                                                </a:cubicBezTo>
                                                <a:cubicBezTo>
                                                  <a:pt x="2511960" y="378716"/>
                                                  <a:pt x="2514768" y="368756"/>
                                                  <a:pt x="2505105" y="359094"/>
                                                </a:cubicBezTo>
                                                <a:cubicBezTo>
                                                  <a:pt x="2502721" y="356710"/>
                                                  <a:pt x="2499495" y="355354"/>
                                                  <a:pt x="2496690" y="353484"/>
                                                </a:cubicBezTo>
                                                <a:cubicBezTo>
                                                  <a:pt x="2495509" y="351712"/>
                                                  <a:pt x="2486823" y="340283"/>
                                                  <a:pt x="2488275" y="336654"/>
                                                </a:cubicBezTo>
                                                <a:cubicBezTo>
                                                  <a:pt x="2489527" y="333524"/>
                                                  <a:pt x="2493419" y="331862"/>
                                                  <a:pt x="2496690" y="331044"/>
                                                </a:cubicBezTo>
                                                <a:cubicBezTo>
                                                  <a:pt x="2504904" y="328991"/>
                                                  <a:pt x="2513519" y="329175"/>
                                                  <a:pt x="2521934" y="328240"/>
                                                </a:cubicBezTo>
                                                <a:cubicBezTo>
                                                  <a:pt x="2524739" y="326370"/>
                                                  <a:pt x="2528562" y="325489"/>
                                                  <a:pt x="2530349" y="322630"/>
                                                </a:cubicBezTo>
                                                <a:cubicBezTo>
                                                  <a:pt x="2533483" y="317615"/>
                                                  <a:pt x="2535959" y="305800"/>
                                                  <a:pt x="2535959" y="305800"/>
                                                </a:cubicBezTo>
                                                <a:cubicBezTo>
                                                  <a:pt x="2535024" y="297385"/>
                                                  <a:pt x="2534814" y="288858"/>
                                                  <a:pt x="2533154" y="280556"/>
                                                </a:cubicBezTo>
                                                <a:cubicBezTo>
                                                  <a:pt x="2531994" y="274758"/>
                                                  <a:pt x="2527544" y="263727"/>
                                                  <a:pt x="2527544" y="263727"/>
                                                </a:cubicBezTo>
                                                <a:cubicBezTo>
                                                  <a:pt x="2528479" y="259987"/>
                                                  <a:pt x="2527941" y="255517"/>
                                                  <a:pt x="2530349" y="252507"/>
                                                </a:cubicBezTo>
                                                <a:cubicBezTo>
                                                  <a:pt x="2532196" y="250198"/>
                                                  <a:pt x="2535848" y="250188"/>
                                                  <a:pt x="2538764" y="249702"/>
                                                </a:cubicBezTo>
                                                <a:cubicBezTo>
                                                  <a:pt x="2547115" y="248310"/>
                                                  <a:pt x="2555593" y="247832"/>
                                                  <a:pt x="2564008" y="246897"/>
                                                </a:cubicBezTo>
                                                <a:cubicBezTo>
                                                  <a:pt x="2562138" y="241287"/>
                                                  <a:pt x="2561835" y="234880"/>
                                                  <a:pt x="2558398" y="230068"/>
                                                </a:cubicBezTo>
                                                <a:cubicBezTo>
                                                  <a:pt x="2556679" y="227662"/>
                                                  <a:pt x="2552851" y="227980"/>
                                                  <a:pt x="2549983" y="227263"/>
                                                </a:cubicBezTo>
                                                <a:cubicBezTo>
                                                  <a:pt x="2545358" y="226107"/>
                                                  <a:pt x="2540634" y="225393"/>
                                                  <a:pt x="2535959" y="224458"/>
                                                </a:cubicBezTo>
                                                <a:cubicBezTo>
                                                  <a:pt x="2513519" y="209498"/>
                                                  <a:pt x="2540634" y="229133"/>
                                                  <a:pt x="2521934" y="210433"/>
                                                </a:cubicBezTo>
                                                <a:cubicBezTo>
                                                  <a:pt x="2516498" y="204997"/>
                                                  <a:pt x="2511948" y="204300"/>
                                                  <a:pt x="2505105" y="202019"/>
                                                </a:cubicBezTo>
                                                <a:cubicBezTo>
                                                  <a:pt x="2494820" y="202954"/>
                                                  <a:pt x="2484488" y="203459"/>
                                                  <a:pt x="2474251" y="204824"/>
                                                </a:cubicBezTo>
                                                <a:cubicBezTo>
                                                  <a:pt x="2468375" y="205607"/>
                                                  <a:pt x="2460389" y="208509"/>
                                                  <a:pt x="2454616" y="210433"/>
                                                </a:cubicBezTo>
                                                <a:cubicBezTo>
                                                  <a:pt x="2451811" y="212303"/>
                                                  <a:pt x="2449454" y="215156"/>
                                                  <a:pt x="2446202" y="216043"/>
                                                </a:cubicBezTo>
                                                <a:cubicBezTo>
                                                  <a:pt x="2438929" y="218026"/>
                                                  <a:pt x="2423762" y="218848"/>
                                                  <a:pt x="2423762" y="218848"/>
                                                </a:cubicBezTo>
                                                <a:lnTo>
                                                  <a:pt x="2395713" y="204824"/>
                                                </a:lnTo>
                                                <a:cubicBezTo>
                                                  <a:pt x="2390103" y="198279"/>
                                                  <a:pt x="2383402" y="192530"/>
                                                  <a:pt x="2378884" y="185189"/>
                                                </a:cubicBezTo>
                                                <a:cubicBezTo>
                                                  <a:pt x="2375785" y="180153"/>
                                                  <a:pt x="2375144" y="173970"/>
                                                  <a:pt x="2373274" y="168360"/>
                                                </a:cubicBezTo>
                                                <a:lnTo>
                                                  <a:pt x="2370469" y="159945"/>
                                                </a:lnTo>
                                                <a:cubicBezTo>
                                                  <a:pt x="2371241" y="152229"/>
                                                  <a:pt x="2376392" y="125433"/>
                                                  <a:pt x="2370469" y="115067"/>
                                                </a:cubicBezTo>
                                                <a:cubicBezTo>
                                                  <a:pt x="2368697" y="111966"/>
                                                  <a:pt x="2362630" y="112262"/>
                                                  <a:pt x="2359250" y="112262"/>
                                                </a:cubicBezTo>
                                                <a:lnTo>
                                                  <a:pt x="2348030" y="81408"/>
                                                </a:lnTo>
                                                <a:cubicBezTo>
                                                  <a:pt x="2341485" y="75798"/>
                                                  <a:pt x="2334803" y="70345"/>
                                                  <a:pt x="2328396" y="64578"/>
                                                </a:cubicBezTo>
                                                <a:cubicBezTo>
                                                  <a:pt x="2325447" y="61924"/>
                                                  <a:pt x="2323282" y="58363"/>
                                                  <a:pt x="2319981" y="56163"/>
                                                </a:cubicBezTo>
                                                <a:cubicBezTo>
                                                  <a:pt x="2317521" y="54523"/>
                                                  <a:pt x="2314371" y="54294"/>
                                                  <a:pt x="2311566" y="53359"/>
                                                </a:cubicBezTo>
                                                <a:cubicBezTo>
                                                  <a:pt x="2307826" y="49619"/>
                                                  <a:pt x="2303421" y="46443"/>
                                                  <a:pt x="2300347" y="42139"/>
                                                </a:cubicBezTo>
                                                <a:cubicBezTo>
                                                  <a:pt x="2290998" y="29049"/>
                                                  <a:pt x="2305956" y="36529"/>
                                                  <a:pt x="2289127" y="30919"/>
                                                </a:cubicBezTo>
                                                <a:cubicBezTo>
                                                  <a:pt x="2286322" y="31854"/>
                                                  <a:pt x="2282803" y="31633"/>
                                                  <a:pt x="2280712" y="33724"/>
                                                </a:cubicBezTo>
                                                <a:cubicBezTo>
                                                  <a:pt x="2265752" y="48684"/>
                                                  <a:pt x="2291931" y="37464"/>
                                                  <a:pt x="2269493" y="44944"/>
                                                </a:cubicBezTo>
                                                <a:cubicBezTo>
                                                  <a:pt x="2266688" y="44009"/>
                                                  <a:pt x="2263169" y="44230"/>
                                                  <a:pt x="2261078" y="42139"/>
                                                </a:cubicBezTo>
                                                <a:cubicBezTo>
                                                  <a:pt x="2258987" y="40048"/>
                                                  <a:pt x="2260679" y="35443"/>
                                                  <a:pt x="2258273" y="33724"/>
                                                </a:cubicBezTo>
                                                <a:cubicBezTo>
                                                  <a:pt x="2253461" y="30287"/>
                                                  <a:pt x="2241443" y="28114"/>
                                                  <a:pt x="2241443" y="28114"/>
                                                </a:cubicBezTo>
                                                <a:cubicBezTo>
                                                  <a:pt x="2238638" y="25309"/>
                                                  <a:pt x="2236329" y="21900"/>
                                                  <a:pt x="2233029" y="19700"/>
                                                </a:cubicBezTo>
                                                <a:cubicBezTo>
                                                  <a:pt x="2228426" y="16631"/>
                                                  <a:pt x="2209822" y="14429"/>
                                                  <a:pt x="2207785" y="14090"/>
                                                </a:cubicBezTo>
                                                <a:cubicBezTo>
                                                  <a:pt x="2204513" y="9181"/>
                                                  <a:pt x="2200773" y="1234"/>
                                                  <a:pt x="2193760" y="65"/>
                                                </a:cubicBezTo>
                                                <a:cubicBezTo>
                                                  <a:pt x="2190843" y="-421"/>
                                                  <a:pt x="2188150" y="1935"/>
                                                  <a:pt x="2185345" y="2870"/>
                                                </a:cubicBezTo>
                                                <a:lnTo>
                                                  <a:pt x="2179735" y="19700"/>
                                                </a:lnTo>
                                                <a:cubicBezTo>
                                                  <a:pt x="2177661" y="25922"/>
                                                  <a:pt x="2177343" y="32621"/>
                                                  <a:pt x="2168516" y="33724"/>
                                                </a:cubicBezTo>
                                                <a:cubicBezTo>
                                                  <a:pt x="2149011" y="36162"/>
                                                  <a:pt x="2129247" y="35594"/>
                                                  <a:pt x="2109613" y="36529"/>
                                                </a:cubicBezTo>
                                                <a:cubicBezTo>
                                                  <a:pt x="2106808" y="38399"/>
                                                  <a:pt x="2103582" y="39755"/>
                                                  <a:pt x="2101198" y="42139"/>
                                                </a:cubicBezTo>
                                                <a:cubicBezTo>
                                                  <a:pt x="2098814" y="44523"/>
                                                  <a:pt x="2098447" y="48767"/>
                                                  <a:pt x="2095588" y="50554"/>
                                                </a:cubicBezTo>
                                                <a:cubicBezTo>
                                                  <a:pt x="2084839" y="57272"/>
                                                  <a:pt x="2064430" y="57755"/>
                                                  <a:pt x="2053515" y="58968"/>
                                                </a:cubicBezTo>
                                                <a:cubicBezTo>
                                                  <a:pt x="2035155" y="65088"/>
                                                  <a:pt x="2053175" y="56588"/>
                                                  <a:pt x="2042295" y="70188"/>
                                                </a:cubicBezTo>
                                                <a:cubicBezTo>
                                                  <a:pt x="2040189" y="72820"/>
                                                  <a:pt x="2036685" y="73928"/>
                                                  <a:pt x="2033880" y="75798"/>
                                                </a:cubicBezTo>
                                                <a:cubicBezTo>
                                                  <a:pt x="2032010" y="78603"/>
                                                  <a:pt x="2030654" y="81829"/>
                                                  <a:pt x="2028270" y="84213"/>
                                                </a:cubicBezTo>
                                                <a:cubicBezTo>
                                                  <a:pt x="2025887" y="86596"/>
                                                  <a:pt x="2022553" y="87800"/>
                                                  <a:pt x="2019856" y="89822"/>
                                                </a:cubicBezTo>
                                                <a:cubicBezTo>
                                                  <a:pt x="2018798" y="90615"/>
                                                  <a:pt x="2017986" y="91692"/>
                                                  <a:pt x="2017051" y="92627"/>
                                                </a:cubicBezTo>
                                                <a:lnTo>
                                                  <a:pt x="1977782" y="134701"/>
                                                </a:lnTo>
                                                <a:cubicBezTo>
                                                  <a:pt x="1971237" y="139376"/>
                                                  <a:pt x="1965045" y="144587"/>
                                                  <a:pt x="1958148" y="148725"/>
                                                </a:cubicBezTo>
                                                <a:cubicBezTo>
                                                  <a:pt x="1955613" y="150246"/>
                                                  <a:pt x="1952193" y="149890"/>
                                                  <a:pt x="1949733" y="151530"/>
                                                </a:cubicBezTo>
                                                <a:cubicBezTo>
                                                  <a:pt x="1946432" y="153730"/>
                                                  <a:pt x="1944449" y="157510"/>
                                                  <a:pt x="1941318" y="159945"/>
                                                </a:cubicBezTo>
                                                <a:cubicBezTo>
                                                  <a:pt x="1935996" y="164084"/>
                                                  <a:pt x="1930099" y="167425"/>
                                                  <a:pt x="1924489" y="171165"/>
                                                </a:cubicBezTo>
                                                <a:cubicBezTo>
                                                  <a:pt x="1921684" y="173035"/>
                                                  <a:pt x="1918458" y="174390"/>
                                                  <a:pt x="1916074" y="176774"/>
                                                </a:cubicBezTo>
                                                <a:lnTo>
                                                  <a:pt x="1907659" y="185189"/>
                                                </a:lnTo>
                                                <a:cubicBezTo>
                                                  <a:pt x="1905378" y="192034"/>
                                                  <a:pt x="1904683" y="196581"/>
                                                  <a:pt x="1899245" y="202019"/>
                                                </a:cubicBezTo>
                                                <a:cubicBezTo>
                                                  <a:pt x="1896861" y="204403"/>
                                                  <a:pt x="1893635" y="205758"/>
                                                  <a:pt x="1890830" y="207628"/>
                                                </a:cubicBezTo>
                                                <a:cubicBezTo>
                                                  <a:pt x="1888960" y="210433"/>
                                                  <a:pt x="1887852" y="213937"/>
                                                  <a:pt x="1885220" y="216043"/>
                                                </a:cubicBezTo>
                                                <a:cubicBezTo>
                                                  <a:pt x="1882911" y="217890"/>
                                                  <a:pt x="1879762" y="218848"/>
                                                  <a:pt x="1876805" y="218848"/>
                                                </a:cubicBezTo>
                                                <a:cubicBezTo>
                                                  <a:pt x="1859950" y="218848"/>
                                                  <a:pt x="1843132" y="217203"/>
                                                  <a:pt x="1826317" y="216043"/>
                                                </a:cubicBezTo>
                                                <a:cubicBezTo>
                                                  <a:pt x="1816014" y="215332"/>
                                                  <a:pt x="1805748" y="214173"/>
                                                  <a:pt x="1795463" y="213238"/>
                                                </a:cubicBezTo>
                                                <a:cubicBezTo>
                                                  <a:pt x="1785075" y="209775"/>
                                                  <a:pt x="1783383" y="207753"/>
                                                  <a:pt x="1770219" y="213238"/>
                                                </a:cubicBezTo>
                                                <a:cubicBezTo>
                                                  <a:pt x="1763995" y="215831"/>
                                                  <a:pt x="1760000" y="223136"/>
                                                  <a:pt x="1753389" y="224458"/>
                                                </a:cubicBezTo>
                                                <a:cubicBezTo>
                                                  <a:pt x="1743752" y="226385"/>
                                                  <a:pt x="1737385" y="227428"/>
                                                  <a:pt x="1728145" y="230068"/>
                                                </a:cubicBezTo>
                                                <a:cubicBezTo>
                                                  <a:pt x="1725302" y="230880"/>
                                                  <a:pt x="1722536" y="231938"/>
                                                  <a:pt x="1719731" y="232873"/>
                                                </a:cubicBezTo>
                                                <a:cubicBezTo>
                                                  <a:pt x="1713186" y="242690"/>
                                                  <a:pt x="1711315" y="247832"/>
                                                  <a:pt x="1697291" y="252507"/>
                                                </a:cubicBezTo>
                                                <a:cubicBezTo>
                                                  <a:pt x="1691681" y="254377"/>
                                                  <a:pt x="1685382" y="254837"/>
                                                  <a:pt x="1680462" y="258117"/>
                                                </a:cubicBezTo>
                                                <a:cubicBezTo>
                                                  <a:pt x="1669410" y="265485"/>
                                                  <a:pt x="1671242" y="265330"/>
                                                  <a:pt x="1655218" y="269336"/>
                                                </a:cubicBezTo>
                                                <a:cubicBezTo>
                                                  <a:pt x="1651478" y="270271"/>
                                                  <a:pt x="1647691" y="271033"/>
                                                  <a:pt x="1643998" y="272141"/>
                                                </a:cubicBezTo>
                                                <a:cubicBezTo>
                                                  <a:pt x="1638334" y="273840"/>
                                                  <a:pt x="1627169" y="277751"/>
                                                  <a:pt x="1627169" y="277751"/>
                                                </a:cubicBezTo>
                                                <a:cubicBezTo>
                                                  <a:pt x="1584803" y="274492"/>
                                                  <a:pt x="1602273" y="278801"/>
                                                  <a:pt x="1573875" y="269336"/>
                                                </a:cubicBezTo>
                                                <a:lnTo>
                                                  <a:pt x="1565461" y="266532"/>
                                                </a:lnTo>
                                                <a:lnTo>
                                                  <a:pt x="1557046" y="263727"/>
                                                </a:lnTo>
                                                <a:cubicBezTo>
                                                  <a:pt x="1555176" y="266532"/>
                                                  <a:pt x="1553820" y="269757"/>
                                                  <a:pt x="1551436" y="272141"/>
                                                </a:cubicBezTo>
                                                <a:cubicBezTo>
                                                  <a:pt x="1545998" y="277578"/>
                                                  <a:pt x="1541451" y="278274"/>
                                                  <a:pt x="1534607" y="280556"/>
                                                </a:cubicBezTo>
                                                <a:cubicBezTo>
                                                  <a:pt x="1527127" y="278686"/>
                                                  <a:pt x="1519482" y="277384"/>
                                                  <a:pt x="1512167" y="274946"/>
                                                </a:cubicBezTo>
                                                <a:cubicBezTo>
                                                  <a:pt x="1506557" y="273076"/>
                                                  <a:pt x="1501231" y="269827"/>
                                                  <a:pt x="1495338" y="269336"/>
                                                </a:cubicBezTo>
                                                <a:lnTo>
                                                  <a:pt x="1461679" y="266532"/>
                                                </a:lnTo>
                                                <a:cubicBezTo>
                                                  <a:pt x="1459809" y="263727"/>
                                                  <a:pt x="1458701" y="260223"/>
                                                  <a:pt x="1456069" y="258117"/>
                                                </a:cubicBezTo>
                                                <a:cubicBezTo>
                                                  <a:pt x="1453760" y="256270"/>
                                                  <a:pt x="1450611" y="255312"/>
                                                  <a:pt x="1447655" y="255312"/>
                                                </a:cubicBezTo>
                                                <a:cubicBezTo>
                                                  <a:pt x="1433599" y="255312"/>
                                                  <a:pt x="1419606" y="257182"/>
                                                  <a:pt x="1405581" y="258117"/>
                                                </a:cubicBezTo>
                                                <a:cubicBezTo>
                                                  <a:pt x="1403711" y="260922"/>
                                                  <a:pt x="1402830" y="264745"/>
                                                  <a:pt x="1399971" y="266532"/>
                                                </a:cubicBezTo>
                                                <a:cubicBezTo>
                                                  <a:pt x="1394957" y="269666"/>
                                                  <a:pt x="1383142" y="272141"/>
                                                  <a:pt x="1383142" y="272141"/>
                                                </a:cubicBezTo>
                                                <a:cubicBezTo>
                                                  <a:pt x="1382837" y="272080"/>
                                                  <a:pt x="1359592" y="267662"/>
                                                  <a:pt x="1357897" y="266532"/>
                                                </a:cubicBezTo>
                                                <a:cubicBezTo>
                                                  <a:pt x="1355092" y="264662"/>
                                                  <a:pt x="1354825" y="260337"/>
                                                  <a:pt x="1352288" y="258117"/>
                                                </a:cubicBezTo>
                                                <a:cubicBezTo>
                                                  <a:pt x="1347214" y="253677"/>
                                                  <a:pt x="1335458" y="246897"/>
                                                  <a:pt x="1335458" y="246897"/>
                                                </a:cubicBezTo>
                                                <a:cubicBezTo>
                                                  <a:pt x="1334523" y="240352"/>
                                                  <a:pt x="1333950" y="233746"/>
                                                  <a:pt x="1332653" y="227263"/>
                                                </a:cubicBezTo>
                                                <a:cubicBezTo>
                                                  <a:pt x="1332073" y="224364"/>
                                                  <a:pt x="1331695" y="221157"/>
                                                  <a:pt x="1329848" y="218848"/>
                                                </a:cubicBezTo>
                                                <a:cubicBezTo>
                                                  <a:pt x="1327742" y="216216"/>
                                                  <a:pt x="1324449" y="214746"/>
                                                  <a:pt x="1321434" y="213238"/>
                                                </a:cubicBezTo>
                                                <a:cubicBezTo>
                                                  <a:pt x="1318789" y="211916"/>
                                                  <a:pt x="1315824" y="211368"/>
                                                  <a:pt x="1313019" y="210433"/>
                                                </a:cubicBezTo>
                                                <a:cubicBezTo>
                                                  <a:pt x="1304604" y="211368"/>
                                                  <a:pt x="1296077" y="211578"/>
                                                  <a:pt x="1287775" y="213238"/>
                                                </a:cubicBezTo>
                                                <a:cubicBezTo>
                                                  <a:pt x="1281976" y="214398"/>
                                                  <a:pt x="1270945" y="218848"/>
                                                  <a:pt x="1270945" y="218848"/>
                                                </a:cubicBezTo>
                                                <a:cubicBezTo>
                                                  <a:pt x="1249854" y="216931"/>
                                                  <a:pt x="1245032" y="218086"/>
                                                  <a:pt x="1228872" y="213238"/>
                                                </a:cubicBezTo>
                                                <a:cubicBezTo>
                                                  <a:pt x="1192685" y="202381"/>
                                                  <a:pt x="1226174" y="213291"/>
                                                  <a:pt x="1203628" y="202019"/>
                                                </a:cubicBezTo>
                                                <a:cubicBezTo>
                                                  <a:pt x="1196722" y="198566"/>
                                                  <a:pt x="1184848" y="197487"/>
                                                  <a:pt x="1178383" y="196409"/>
                                                </a:cubicBezTo>
                                                <a:cubicBezTo>
                                                  <a:pt x="1176513" y="193604"/>
                                                  <a:pt x="1173958" y="191150"/>
                                                  <a:pt x="1172774" y="187994"/>
                                                </a:cubicBezTo>
                                                <a:cubicBezTo>
                                                  <a:pt x="1171100" y="183530"/>
                                                  <a:pt x="1173936" y="176614"/>
                                                  <a:pt x="1169969" y="173970"/>
                                                </a:cubicBezTo>
                                                <a:cubicBezTo>
                                                  <a:pt x="1166002" y="171325"/>
                                                  <a:pt x="1155944" y="176774"/>
                                                  <a:pt x="1155944" y="176774"/>
                                                </a:cubicBezTo>
                                                <a:lnTo>
                                                  <a:pt x="1122285" y="199214"/>
                                                </a:lnTo>
                                                <a:lnTo>
                                                  <a:pt x="1099846" y="196409"/>
                                                </a:lnTo>
                                                <a:lnTo>
                                                  <a:pt x="1054967" y="204824"/>
                                                </a:lnTo>
                                                <a:cubicBezTo>
                                                  <a:pt x="1047487" y="207629"/>
                                                  <a:pt x="1040446" y="212182"/>
                                                  <a:pt x="1032528" y="213238"/>
                                                </a:cubicBezTo>
                                                <a:cubicBezTo>
                                                  <a:pt x="1025975" y="214112"/>
                                                  <a:pt x="1019505" y="210433"/>
                                                  <a:pt x="1012894" y="210433"/>
                                                </a:cubicBezTo>
                                                <a:cubicBezTo>
                                                  <a:pt x="1007207" y="210433"/>
                                                  <a:pt x="1001674" y="212303"/>
                                                  <a:pt x="996064" y="213238"/>
                                                </a:cubicBezTo>
                                                <a:cubicBezTo>
                                                  <a:pt x="982121" y="217886"/>
                                                  <a:pt x="986447" y="217789"/>
                                                  <a:pt x="965210" y="213238"/>
                                                </a:cubicBezTo>
                                                <a:cubicBezTo>
                                                  <a:pt x="959428" y="211999"/>
                                                  <a:pt x="948381" y="207628"/>
                                                  <a:pt x="948381" y="207628"/>
                                                </a:cubicBezTo>
                                                <a:cubicBezTo>
                                                  <a:pt x="925154" y="215370"/>
                                                  <a:pt x="936472" y="209957"/>
                                                  <a:pt x="914722" y="224458"/>
                                                </a:cubicBezTo>
                                                <a:lnTo>
                                                  <a:pt x="906307" y="230068"/>
                                                </a:lnTo>
                                                <a:lnTo>
                                                  <a:pt x="897893" y="235678"/>
                                                </a:lnTo>
                                                <a:cubicBezTo>
                                                  <a:pt x="888436" y="249862"/>
                                                  <a:pt x="897417" y="240123"/>
                                                  <a:pt x="883868" y="246897"/>
                                                </a:cubicBezTo>
                                                <a:cubicBezTo>
                                                  <a:pt x="865512" y="256075"/>
                                                  <a:pt x="885651" y="248514"/>
                                                  <a:pt x="867039" y="260922"/>
                                                </a:cubicBezTo>
                                                <a:cubicBezTo>
                                                  <a:pt x="864579" y="262562"/>
                                                  <a:pt x="861209" y="262291"/>
                                                  <a:pt x="858624" y="263727"/>
                                                </a:cubicBezTo>
                                                <a:cubicBezTo>
                                                  <a:pt x="852730" y="267001"/>
                                                  <a:pt x="841794" y="274946"/>
                                                  <a:pt x="841794" y="274946"/>
                                                </a:cubicBezTo>
                                                <a:cubicBezTo>
                                                  <a:pt x="832446" y="288971"/>
                                                  <a:pt x="838989" y="281493"/>
                                                  <a:pt x="819355" y="294581"/>
                                                </a:cubicBezTo>
                                                <a:cubicBezTo>
                                                  <a:pt x="816550" y="296451"/>
                                                  <a:pt x="814138" y="299124"/>
                                                  <a:pt x="810940" y="300190"/>
                                                </a:cubicBezTo>
                                                <a:lnTo>
                                                  <a:pt x="794111" y="305800"/>
                                                </a:lnTo>
                                                <a:cubicBezTo>
                                                  <a:pt x="792241" y="308605"/>
                                                  <a:pt x="790009" y="311200"/>
                                                  <a:pt x="788501" y="314215"/>
                                                </a:cubicBezTo>
                                                <a:cubicBezTo>
                                                  <a:pt x="787179" y="316860"/>
                                                  <a:pt x="787787" y="320539"/>
                                                  <a:pt x="785696" y="322630"/>
                                                </a:cubicBezTo>
                                                <a:cubicBezTo>
                                                  <a:pt x="780929" y="327397"/>
                                                  <a:pt x="773634" y="329082"/>
                                                  <a:pt x="768867" y="333849"/>
                                                </a:cubicBezTo>
                                                <a:cubicBezTo>
                                                  <a:pt x="766062" y="336654"/>
                                                  <a:pt x="763753" y="340064"/>
                                                  <a:pt x="760452" y="342264"/>
                                                </a:cubicBezTo>
                                                <a:cubicBezTo>
                                                  <a:pt x="757992" y="343904"/>
                                                  <a:pt x="754880" y="344257"/>
                                                  <a:pt x="752037" y="345069"/>
                                                </a:cubicBezTo>
                                                <a:cubicBezTo>
                                                  <a:pt x="727383" y="352113"/>
                                                  <a:pt x="752580" y="343953"/>
                                                  <a:pt x="732403" y="350679"/>
                                                </a:cubicBezTo>
                                                <a:cubicBezTo>
                                                  <a:pt x="719313" y="370313"/>
                                                  <a:pt x="726793" y="363768"/>
                                                  <a:pt x="712769" y="373118"/>
                                                </a:cubicBezTo>
                                                <a:cubicBezTo>
                                                  <a:pt x="710899" y="378728"/>
                                                  <a:pt x="707995" y="384094"/>
                                                  <a:pt x="707159" y="389948"/>
                                                </a:cubicBezTo>
                                                <a:cubicBezTo>
                                                  <a:pt x="706224" y="396493"/>
                                                  <a:pt x="706809" y="403444"/>
                                                  <a:pt x="704354" y="409582"/>
                                                </a:cubicBezTo>
                                                <a:cubicBezTo>
                                                  <a:pt x="701121" y="417664"/>
                                                  <a:pt x="694282" y="418549"/>
                                                  <a:pt x="687524" y="420801"/>
                                                </a:cubicBezTo>
                                                <a:cubicBezTo>
                                                  <a:pt x="684719" y="422671"/>
                                                  <a:pt x="682125" y="424903"/>
                                                  <a:pt x="679110" y="426411"/>
                                                </a:cubicBezTo>
                                                <a:cubicBezTo>
                                                  <a:pt x="676465" y="427733"/>
                                                  <a:pt x="673538" y="428404"/>
                                                  <a:pt x="670695" y="429216"/>
                                                </a:cubicBezTo>
                                                <a:cubicBezTo>
                                                  <a:pt x="666499" y="430415"/>
                                                  <a:pt x="655546" y="432583"/>
                                                  <a:pt x="651061" y="434826"/>
                                                </a:cubicBezTo>
                                                <a:cubicBezTo>
                                                  <a:pt x="629315" y="445700"/>
                                                  <a:pt x="655379" y="436192"/>
                                                  <a:pt x="634231" y="443241"/>
                                                </a:cubicBezTo>
                                                <a:cubicBezTo>
                                                  <a:pt x="630931" y="442987"/>
                                                  <a:pt x="597891" y="442493"/>
                                                  <a:pt x="586548" y="437631"/>
                                                </a:cubicBezTo>
                                                <a:cubicBezTo>
                                                  <a:pt x="548494" y="421321"/>
                                                  <a:pt x="605169" y="441033"/>
                                                  <a:pt x="569718" y="429216"/>
                                                </a:cubicBezTo>
                                                <a:cubicBezTo>
                                                  <a:pt x="562238" y="430151"/>
                                                  <a:pt x="554551" y="430038"/>
                                                  <a:pt x="547279" y="432021"/>
                                                </a:cubicBezTo>
                                                <a:cubicBezTo>
                                                  <a:pt x="544027" y="432908"/>
                                                  <a:pt x="541879" y="436123"/>
                                                  <a:pt x="538864" y="437631"/>
                                                </a:cubicBezTo>
                                                <a:cubicBezTo>
                                                  <a:pt x="531030" y="441548"/>
                                                  <a:pt x="518052" y="442207"/>
                                                  <a:pt x="510815" y="443241"/>
                                                </a:cubicBezTo>
                                                <a:cubicBezTo>
                                                  <a:pt x="487441" y="442306"/>
                                                  <a:pt x="464043" y="441851"/>
                                                  <a:pt x="440693" y="440436"/>
                                                </a:cubicBezTo>
                                                <a:cubicBezTo>
                                                  <a:pt x="402515" y="438122"/>
                                                  <a:pt x="433764" y="435415"/>
                                                  <a:pt x="398619" y="440436"/>
                                                </a:cubicBezTo>
                                                <a:cubicBezTo>
                                                  <a:pt x="396749" y="443241"/>
                                                  <a:pt x="394517" y="445836"/>
                                                  <a:pt x="393009" y="448851"/>
                                                </a:cubicBezTo>
                                                <a:cubicBezTo>
                                                  <a:pt x="387449" y="459970"/>
                                                  <a:pt x="388150" y="479095"/>
                                                  <a:pt x="393009" y="488119"/>
                                                </a:cubicBezTo>
                                                <a:cubicBezTo>
                                                  <a:pt x="395813" y="493326"/>
                                                  <a:pt x="409839" y="493729"/>
                                                  <a:pt x="409839" y="493729"/>
                                                </a:cubicBezTo>
                                                <a:cubicBezTo>
                                                  <a:pt x="412644" y="495599"/>
                                                  <a:pt x="415869" y="496955"/>
                                                  <a:pt x="418253" y="499339"/>
                                                </a:cubicBezTo>
                                                <a:cubicBezTo>
                                                  <a:pt x="420637" y="501723"/>
                                                  <a:pt x="421231" y="505648"/>
                                                  <a:pt x="423863" y="507754"/>
                                                </a:cubicBezTo>
                                                <a:cubicBezTo>
                                                  <a:pt x="426172" y="509601"/>
                                                  <a:pt x="429361" y="510073"/>
                                                  <a:pt x="432278" y="510559"/>
                                                </a:cubicBezTo>
                                                <a:cubicBezTo>
                                                  <a:pt x="440629" y="511951"/>
                                                  <a:pt x="449121" y="512313"/>
                                                  <a:pt x="457522" y="513363"/>
                                                </a:cubicBezTo>
                                                <a:cubicBezTo>
                                                  <a:pt x="464082" y="514183"/>
                                                  <a:pt x="470611" y="515233"/>
                                                  <a:pt x="477156" y="516168"/>
                                                </a:cubicBezTo>
                                                <a:cubicBezTo>
                                                  <a:pt x="479961" y="517103"/>
                                                  <a:pt x="484249" y="516328"/>
                                                  <a:pt x="485571" y="518973"/>
                                                </a:cubicBezTo>
                                                <a:cubicBezTo>
                                                  <a:pt x="486893" y="521618"/>
                                                  <a:pt x="484857" y="525297"/>
                                                  <a:pt x="482766" y="527388"/>
                                                </a:cubicBezTo>
                                                <a:cubicBezTo>
                                                  <a:pt x="480675" y="529479"/>
                                                  <a:pt x="477069" y="529028"/>
                                                  <a:pt x="474351" y="530193"/>
                                                </a:cubicBezTo>
                                                <a:cubicBezTo>
                                                  <a:pt x="470508" y="531840"/>
                                                  <a:pt x="466762" y="533728"/>
                                                  <a:pt x="463132" y="535803"/>
                                                </a:cubicBezTo>
                                                <a:cubicBezTo>
                                                  <a:pt x="460205" y="537476"/>
                                                  <a:pt x="458030" y="540792"/>
                                                  <a:pt x="454717" y="541413"/>
                                                </a:cubicBezTo>
                                                <a:cubicBezTo>
                                                  <a:pt x="442735" y="543659"/>
                                                  <a:pt x="430408" y="543282"/>
                                                  <a:pt x="418253" y="544217"/>
                                                </a:cubicBezTo>
                                                <a:cubicBezTo>
                                                  <a:pt x="412643" y="546087"/>
                                                  <a:pt x="406344" y="546547"/>
                                                  <a:pt x="401424" y="549827"/>
                                                </a:cubicBezTo>
                                                <a:cubicBezTo>
                                                  <a:pt x="390549" y="557077"/>
                                                  <a:pt x="396207" y="554371"/>
                                                  <a:pt x="384594" y="558242"/>
                                                </a:cubicBezTo>
                                                <a:cubicBezTo>
                                                  <a:pt x="382724" y="561047"/>
                                                  <a:pt x="381617" y="564551"/>
                                                  <a:pt x="378985" y="566657"/>
                                                </a:cubicBezTo>
                                                <a:cubicBezTo>
                                                  <a:pt x="378206" y="567280"/>
                                                  <a:pt x="359195" y="569774"/>
                                                  <a:pt x="373375" y="577876"/>
                                                </a:cubicBezTo>
                                                <a:cubicBezTo>
                                                  <a:pt x="378313" y="580697"/>
                                                  <a:pt x="384687" y="579302"/>
                                                  <a:pt x="390204" y="580681"/>
                                                </a:cubicBezTo>
                                                <a:cubicBezTo>
                                                  <a:pt x="395941" y="582115"/>
                                                  <a:pt x="407034" y="586291"/>
                                                  <a:pt x="407034" y="586291"/>
                                                </a:cubicBezTo>
                                                <a:cubicBezTo>
                                                  <a:pt x="403018" y="598338"/>
                                                  <a:pt x="405818" y="596024"/>
                                                  <a:pt x="390204" y="603121"/>
                                                </a:cubicBezTo>
                                                <a:cubicBezTo>
                                                  <a:pt x="384821" y="605568"/>
                                                  <a:pt x="373375" y="608730"/>
                                                  <a:pt x="373375" y="608730"/>
                                                </a:cubicBezTo>
                                                <a:cubicBezTo>
                                                  <a:pt x="345423" y="604071"/>
                                                  <a:pt x="355443" y="604417"/>
                                                  <a:pt x="314472" y="608730"/>
                                                </a:cubicBezTo>
                                                <a:cubicBezTo>
                                                  <a:pt x="305410" y="609684"/>
                                                  <a:pt x="303054" y="612286"/>
                                                  <a:pt x="294837" y="614340"/>
                                                </a:cubicBezTo>
                                                <a:cubicBezTo>
                                                  <a:pt x="286994" y="616301"/>
                                                  <a:pt x="271488" y="618699"/>
                                                  <a:pt x="263983" y="619950"/>
                                                </a:cubicBezTo>
                                                <a:cubicBezTo>
                                                  <a:pt x="260014" y="621273"/>
                                                  <a:pt x="247872" y="625560"/>
                                                  <a:pt x="244349" y="625560"/>
                                                </a:cubicBezTo>
                                                <a:cubicBezTo>
                                                  <a:pt x="240494" y="625560"/>
                                                  <a:pt x="236869" y="623690"/>
                                                  <a:pt x="233129" y="622755"/>
                                                </a:cubicBezTo>
                                                <a:cubicBezTo>
                                                  <a:pt x="234999" y="619015"/>
                                                  <a:pt x="236062" y="614747"/>
                                                  <a:pt x="238739" y="611535"/>
                                                </a:cubicBezTo>
                                                <a:cubicBezTo>
                                                  <a:pt x="246753" y="601918"/>
                                                  <a:pt x="253165" y="609932"/>
                                                  <a:pt x="238739" y="600316"/>
                                                </a:cubicBezTo>
                                                <a:cubicBezTo>
                                                  <a:pt x="231259" y="601251"/>
                                                  <a:pt x="222434" y="598740"/>
                                                  <a:pt x="216300" y="603121"/>
                                                </a:cubicBezTo>
                                                <a:cubicBezTo>
                                                  <a:pt x="213486" y="605131"/>
                                                  <a:pt x="224576" y="625282"/>
                                                  <a:pt x="224715" y="625560"/>
                                                </a:cubicBezTo>
                                                <a:cubicBezTo>
                                                  <a:pt x="221910" y="627430"/>
                                                  <a:pt x="219399" y="629842"/>
                                                  <a:pt x="216300" y="631170"/>
                                                </a:cubicBezTo>
                                                <a:cubicBezTo>
                                                  <a:pt x="212757" y="632688"/>
                                                  <a:pt x="208787" y="632915"/>
                                                  <a:pt x="205080" y="633974"/>
                                                </a:cubicBezTo>
                                                <a:cubicBezTo>
                                                  <a:pt x="202237" y="634786"/>
                                                  <a:pt x="199471" y="635844"/>
                                                  <a:pt x="196666" y="636779"/>
                                                </a:cubicBezTo>
                                                <a:cubicBezTo>
                                                  <a:pt x="186381" y="635844"/>
                                                  <a:pt x="176035" y="635434"/>
                                                  <a:pt x="165812" y="633974"/>
                                                </a:cubicBezTo>
                                                <a:cubicBezTo>
                                                  <a:pt x="162885" y="633556"/>
                                                  <a:pt x="159857" y="632810"/>
                                                  <a:pt x="157397" y="631170"/>
                                                </a:cubicBezTo>
                                                <a:cubicBezTo>
                                                  <a:pt x="136382" y="617161"/>
                                                  <a:pt x="160579" y="626621"/>
                                                  <a:pt x="140567" y="619950"/>
                                                </a:cubicBezTo>
                                                <a:cubicBezTo>
                                                  <a:pt x="134022" y="620885"/>
                                                  <a:pt x="127437" y="621572"/>
                                                  <a:pt x="120933" y="622755"/>
                                                </a:cubicBezTo>
                                                <a:cubicBezTo>
                                                  <a:pt x="101687" y="626254"/>
                                                  <a:pt x="117326" y="624358"/>
                                                  <a:pt x="101299" y="628365"/>
                                                </a:cubicBezTo>
                                                <a:lnTo>
                                                  <a:pt x="78859" y="633974"/>
                                                </a:lnTo>
                                                <a:cubicBezTo>
                                                  <a:pt x="71812" y="655123"/>
                                                  <a:pt x="82138" y="629877"/>
                                                  <a:pt x="67640" y="647999"/>
                                                </a:cubicBezTo>
                                                <a:cubicBezTo>
                                                  <a:pt x="65793" y="650308"/>
                                                  <a:pt x="66650" y="654080"/>
                                                  <a:pt x="64835" y="656414"/>
                                                </a:cubicBezTo>
                                                <a:cubicBezTo>
                                                  <a:pt x="59964" y="662676"/>
                                                  <a:pt x="52405" y="666642"/>
                                                  <a:pt x="48005" y="673243"/>
                                                </a:cubicBezTo>
                                                <a:cubicBezTo>
                                                  <a:pt x="46135" y="676048"/>
                                                  <a:pt x="44780" y="679274"/>
                                                  <a:pt x="42396" y="681658"/>
                                                </a:cubicBezTo>
                                                <a:cubicBezTo>
                                                  <a:pt x="40012" y="684042"/>
                                                  <a:pt x="36786" y="685398"/>
                                                  <a:pt x="33981" y="687268"/>
                                                </a:cubicBezTo>
                                                <a:cubicBezTo>
                                                  <a:pt x="32111" y="692878"/>
                                                  <a:pt x="33291" y="700817"/>
                                                  <a:pt x="28371" y="704097"/>
                                                </a:cubicBezTo>
                                                <a:lnTo>
                                                  <a:pt x="11542" y="715317"/>
                                                </a:lnTo>
                                                <a:cubicBezTo>
                                                  <a:pt x="4376" y="726066"/>
                                                  <a:pt x="9204" y="722330"/>
                                                  <a:pt x="8737" y="723732"/>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0" name="Freeform 199"/>
                                          <p:cNvSpPr/>
                                          <p:nvPr/>
                                        </p:nvSpPr>
                                        <p:spPr>
                                          <a:xfrm>
                                            <a:off x="5466766" y="5528474"/>
                                            <a:ext cx="381496" cy="347808"/>
                                          </a:xfrm>
                                          <a:custGeom>
                                            <a:avLst/>
                                            <a:gdLst>
                                              <a:gd name="connsiteX0" fmla="*/ 0 w 381496"/>
                                              <a:gd name="connsiteY0" fmla="*/ 255246 h 347808"/>
                                              <a:gd name="connsiteX1" fmla="*/ 0 w 381496"/>
                                              <a:gd name="connsiteY1" fmla="*/ 255246 h 347808"/>
                                              <a:gd name="connsiteX2" fmla="*/ 14024 w 381496"/>
                                              <a:gd name="connsiteY2" fmla="*/ 235612 h 347808"/>
                                              <a:gd name="connsiteX3" fmla="*/ 30854 w 381496"/>
                                              <a:gd name="connsiteY3" fmla="*/ 215978 h 347808"/>
                                              <a:gd name="connsiteX4" fmla="*/ 33659 w 381496"/>
                                              <a:gd name="connsiteY4" fmla="*/ 179514 h 347808"/>
                                              <a:gd name="connsiteX5" fmla="*/ 36463 w 381496"/>
                                              <a:gd name="connsiteY5" fmla="*/ 171099 h 347808"/>
                                              <a:gd name="connsiteX6" fmla="*/ 53293 w 381496"/>
                                              <a:gd name="connsiteY6" fmla="*/ 159879 h 347808"/>
                                              <a:gd name="connsiteX7" fmla="*/ 56098 w 381496"/>
                                              <a:gd name="connsiteY7" fmla="*/ 95366 h 347808"/>
                                              <a:gd name="connsiteX8" fmla="*/ 39268 w 381496"/>
                                              <a:gd name="connsiteY8" fmla="*/ 89757 h 347808"/>
                                              <a:gd name="connsiteX9" fmla="*/ 47683 w 381496"/>
                                              <a:gd name="connsiteY9" fmla="*/ 56098 h 347808"/>
                                              <a:gd name="connsiteX10" fmla="*/ 53293 w 381496"/>
                                              <a:gd name="connsiteY10" fmla="*/ 47683 h 347808"/>
                                              <a:gd name="connsiteX11" fmla="*/ 56098 w 381496"/>
                                              <a:gd name="connsiteY11" fmla="*/ 36463 h 347808"/>
                                              <a:gd name="connsiteX12" fmla="*/ 89757 w 381496"/>
                                              <a:gd name="connsiteY12" fmla="*/ 19634 h 347808"/>
                                              <a:gd name="connsiteX13" fmla="*/ 98171 w 381496"/>
                                              <a:gd name="connsiteY13" fmla="*/ 16829 h 347808"/>
                                              <a:gd name="connsiteX14" fmla="*/ 106586 w 381496"/>
                                              <a:gd name="connsiteY14" fmla="*/ 14024 h 347808"/>
                                              <a:gd name="connsiteX15" fmla="*/ 112196 w 381496"/>
                                              <a:gd name="connsiteY15" fmla="*/ 5609 h 347808"/>
                                              <a:gd name="connsiteX16" fmla="*/ 129025 w 381496"/>
                                              <a:gd name="connsiteY16" fmla="*/ 0 h 347808"/>
                                              <a:gd name="connsiteX17" fmla="*/ 154270 w 381496"/>
                                              <a:gd name="connsiteY17" fmla="*/ 5609 h 347808"/>
                                              <a:gd name="connsiteX18" fmla="*/ 159879 w 381496"/>
                                              <a:gd name="connsiteY18" fmla="*/ 14024 h 347808"/>
                                              <a:gd name="connsiteX19" fmla="*/ 168294 w 381496"/>
                                              <a:gd name="connsiteY19" fmla="*/ 16829 h 347808"/>
                                              <a:gd name="connsiteX20" fmla="*/ 176709 w 381496"/>
                                              <a:gd name="connsiteY20" fmla="*/ 22439 h 347808"/>
                                              <a:gd name="connsiteX21" fmla="*/ 201953 w 381496"/>
                                              <a:gd name="connsiteY21" fmla="*/ 14024 h 347808"/>
                                              <a:gd name="connsiteX22" fmla="*/ 218782 w 381496"/>
                                              <a:gd name="connsiteY22" fmla="*/ 8414 h 347808"/>
                                              <a:gd name="connsiteX23" fmla="*/ 238417 w 381496"/>
                                              <a:gd name="connsiteY23" fmla="*/ 11219 h 347808"/>
                                              <a:gd name="connsiteX24" fmla="*/ 246832 w 381496"/>
                                              <a:gd name="connsiteY24" fmla="*/ 14024 h 347808"/>
                                              <a:gd name="connsiteX25" fmla="*/ 258051 w 381496"/>
                                              <a:gd name="connsiteY25" fmla="*/ 39268 h 347808"/>
                                              <a:gd name="connsiteX26" fmla="*/ 263661 w 381496"/>
                                              <a:gd name="connsiteY26" fmla="*/ 56098 h 347808"/>
                                              <a:gd name="connsiteX27" fmla="*/ 272076 w 381496"/>
                                              <a:gd name="connsiteY27" fmla="*/ 72927 h 347808"/>
                                              <a:gd name="connsiteX28" fmla="*/ 288905 w 381496"/>
                                              <a:gd name="connsiteY28" fmla="*/ 89757 h 347808"/>
                                              <a:gd name="connsiteX29" fmla="*/ 314149 w 381496"/>
                                              <a:gd name="connsiteY29" fmla="*/ 95366 h 347808"/>
                                              <a:gd name="connsiteX30" fmla="*/ 322564 w 381496"/>
                                              <a:gd name="connsiteY30" fmla="*/ 98171 h 347808"/>
                                              <a:gd name="connsiteX31" fmla="*/ 350613 w 381496"/>
                                              <a:gd name="connsiteY31" fmla="*/ 103781 h 347808"/>
                                              <a:gd name="connsiteX32" fmla="*/ 367443 w 381496"/>
                                              <a:gd name="connsiteY32" fmla="*/ 109391 h 347808"/>
                                              <a:gd name="connsiteX33" fmla="*/ 375857 w 381496"/>
                                              <a:gd name="connsiteY33" fmla="*/ 112196 h 347808"/>
                                              <a:gd name="connsiteX34" fmla="*/ 378662 w 381496"/>
                                              <a:gd name="connsiteY34" fmla="*/ 143050 h 347808"/>
                                              <a:gd name="connsiteX35" fmla="*/ 373052 w 381496"/>
                                              <a:gd name="connsiteY35" fmla="*/ 159879 h 347808"/>
                                              <a:gd name="connsiteX36" fmla="*/ 364638 w 381496"/>
                                              <a:gd name="connsiteY36" fmla="*/ 162684 h 347808"/>
                                              <a:gd name="connsiteX37" fmla="*/ 342198 w 381496"/>
                                              <a:gd name="connsiteY37" fmla="*/ 159879 h 347808"/>
                                              <a:gd name="connsiteX38" fmla="*/ 333784 w 381496"/>
                                              <a:gd name="connsiteY38" fmla="*/ 154270 h 347808"/>
                                              <a:gd name="connsiteX39" fmla="*/ 286100 w 381496"/>
                                              <a:gd name="connsiteY39" fmla="*/ 157074 h 347808"/>
                                              <a:gd name="connsiteX40" fmla="*/ 280490 w 381496"/>
                                              <a:gd name="connsiteY40" fmla="*/ 165489 h 347808"/>
                                              <a:gd name="connsiteX41" fmla="*/ 263661 w 381496"/>
                                              <a:gd name="connsiteY41" fmla="*/ 171099 h 347808"/>
                                              <a:gd name="connsiteX42" fmla="*/ 241222 w 381496"/>
                                              <a:gd name="connsiteY42" fmla="*/ 176709 h 347808"/>
                                              <a:gd name="connsiteX43" fmla="*/ 224392 w 381496"/>
                                              <a:gd name="connsiteY43" fmla="*/ 173904 h 347808"/>
                                              <a:gd name="connsiteX44" fmla="*/ 215978 w 381496"/>
                                              <a:gd name="connsiteY44" fmla="*/ 171099 h 347808"/>
                                              <a:gd name="connsiteX45" fmla="*/ 193538 w 381496"/>
                                              <a:gd name="connsiteY45" fmla="*/ 173904 h 347808"/>
                                              <a:gd name="connsiteX46" fmla="*/ 182319 w 381496"/>
                                              <a:gd name="connsiteY46" fmla="*/ 190733 h 347808"/>
                                              <a:gd name="connsiteX47" fmla="*/ 176709 w 381496"/>
                                              <a:gd name="connsiteY47" fmla="*/ 207563 h 347808"/>
                                              <a:gd name="connsiteX48" fmla="*/ 173904 w 381496"/>
                                              <a:gd name="connsiteY48" fmla="*/ 215978 h 347808"/>
                                              <a:gd name="connsiteX49" fmla="*/ 168294 w 381496"/>
                                              <a:gd name="connsiteY49" fmla="*/ 235612 h 347808"/>
                                              <a:gd name="connsiteX50" fmla="*/ 159879 w 381496"/>
                                              <a:gd name="connsiteY50" fmla="*/ 244027 h 347808"/>
                                              <a:gd name="connsiteX51" fmla="*/ 143050 w 381496"/>
                                              <a:gd name="connsiteY51" fmla="*/ 249636 h 347808"/>
                                              <a:gd name="connsiteX52" fmla="*/ 126221 w 381496"/>
                                              <a:gd name="connsiteY52" fmla="*/ 260856 h 347808"/>
                                              <a:gd name="connsiteX53" fmla="*/ 109391 w 381496"/>
                                              <a:gd name="connsiteY53" fmla="*/ 269271 h 347808"/>
                                              <a:gd name="connsiteX54" fmla="*/ 103781 w 381496"/>
                                              <a:gd name="connsiteY54" fmla="*/ 277686 h 347808"/>
                                              <a:gd name="connsiteX55" fmla="*/ 95367 w 381496"/>
                                              <a:gd name="connsiteY55" fmla="*/ 280490 h 347808"/>
                                              <a:gd name="connsiteX56" fmla="*/ 78537 w 381496"/>
                                              <a:gd name="connsiteY56" fmla="*/ 288905 h 347808"/>
                                              <a:gd name="connsiteX57" fmla="*/ 72927 w 381496"/>
                                              <a:gd name="connsiteY57" fmla="*/ 297320 h 347808"/>
                                              <a:gd name="connsiteX58" fmla="*/ 64513 w 381496"/>
                                              <a:gd name="connsiteY58" fmla="*/ 300125 h 347808"/>
                                              <a:gd name="connsiteX59" fmla="*/ 56098 w 381496"/>
                                              <a:gd name="connsiteY59" fmla="*/ 305735 h 347808"/>
                                              <a:gd name="connsiteX60" fmla="*/ 50488 w 381496"/>
                                              <a:gd name="connsiteY60" fmla="*/ 322564 h 347808"/>
                                              <a:gd name="connsiteX61" fmla="*/ 44878 w 381496"/>
                                              <a:gd name="connsiteY61" fmla="*/ 330979 h 347808"/>
                                              <a:gd name="connsiteX62" fmla="*/ 36463 w 381496"/>
                                              <a:gd name="connsiteY62" fmla="*/ 347808 h 347808"/>
                                              <a:gd name="connsiteX63" fmla="*/ 30854 w 381496"/>
                                              <a:gd name="connsiteY63" fmla="*/ 339393 h 347808"/>
                                              <a:gd name="connsiteX64" fmla="*/ 39268 w 381496"/>
                                              <a:gd name="connsiteY64" fmla="*/ 336589 h 347808"/>
                                              <a:gd name="connsiteX65" fmla="*/ 56098 w 381496"/>
                                              <a:gd name="connsiteY65" fmla="*/ 325369 h 347808"/>
                                              <a:gd name="connsiteX66" fmla="*/ 64513 w 381496"/>
                                              <a:gd name="connsiteY66" fmla="*/ 319759 h 347808"/>
                                              <a:gd name="connsiteX67" fmla="*/ 75732 w 381496"/>
                                              <a:gd name="connsiteY67" fmla="*/ 302930 h 347808"/>
                                              <a:gd name="connsiteX68" fmla="*/ 86952 w 381496"/>
                                              <a:gd name="connsiteY68" fmla="*/ 286100 h 347808"/>
                                              <a:gd name="connsiteX69" fmla="*/ 92562 w 381496"/>
                                              <a:gd name="connsiteY69" fmla="*/ 277686 h 347808"/>
                                              <a:gd name="connsiteX70" fmla="*/ 86952 w 381496"/>
                                              <a:gd name="connsiteY70" fmla="*/ 263661 h 347808"/>
                                              <a:gd name="connsiteX71" fmla="*/ 75732 w 381496"/>
                                              <a:gd name="connsiteY71" fmla="*/ 266466 h 347808"/>
                                              <a:gd name="connsiteX72" fmla="*/ 58903 w 381496"/>
                                              <a:gd name="connsiteY72" fmla="*/ 272076 h 347808"/>
                                              <a:gd name="connsiteX73" fmla="*/ 50488 w 381496"/>
                                              <a:gd name="connsiteY73" fmla="*/ 274881 h 347808"/>
                                              <a:gd name="connsiteX74" fmla="*/ 36463 w 381496"/>
                                              <a:gd name="connsiteY74" fmla="*/ 272076 h 347808"/>
                                              <a:gd name="connsiteX75" fmla="*/ 8414 w 381496"/>
                                              <a:gd name="connsiteY75" fmla="*/ 269271 h 347808"/>
                                              <a:gd name="connsiteX76" fmla="*/ 0 w 381496"/>
                                              <a:gd name="connsiteY76" fmla="*/ 255246 h 34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81496" h="347808">
                                                <a:moveTo>
                                                  <a:pt x="0" y="255246"/>
                                                </a:moveTo>
                                                <a:lnTo>
                                                  <a:pt x="0" y="255246"/>
                                                </a:lnTo>
                                                <a:cubicBezTo>
                                                  <a:pt x="4675" y="248701"/>
                                                  <a:pt x="9817" y="237014"/>
                                                  <a:pt x="14024" y="235612"/>
                                                </a:cubicBezTo>
                                                <a:lnTo>
                                                  <a:pt x="30854" y="215978"/>
                                                </a:lnTo>
                                                <a:cubicBezTo>
                                                  <a:pt x="31789" y="203823"/>
                                                  <a:pt x="32147" y="191610"/>
                                                  <a:pt x="33659" y="179514"/>
                                                </a:cubicBezTo>
                                                <a:cubicBezTo>
                                                  <a:pt x="34026" y="176580"/>
                                                  <a:pt x="34372" y="173190"/>
                                                  <a:pt x="36463" y="171099"/>
                                                </a:cubicBezTo>
                                                <a:cubicBezTo>
                                                  <a:pt x="41230" y="166331"/>
                                                  <a:pt x="53293" y="159879"/>
                                                  <a:pt x="53293" y="159879"/>
                                                </a:cubicBezTo>
                                                <a:cubicBezTo>
                                                  <a:pt x="61012" y="136725"/>
                                                  <a:pt x="67131" y="125312"/>
                                                  <a:pt x="56098" y="95366"/>
                                                </a:cubicBezTo>
                                                <a:cubicBezTo>
                                                  <a:pt x="54054" y="89817"/>
                                                  <a:pt x="39268" y="89757"/>
                                                  <a:pt x="39268" y="89757"/>
                                                </a:cubicBezTo>
                                                <a:cubicBezTo>
                                                  <a:pt x="40670" y="81344"/>
                                                  <a:pt x="42744" y="63507"/>
                                                  <a:pt x="47683" y="56098"/>
                                                </a:cubicBezTo>
                                                <a:lnTo>
                                                  <a:pt x="53293" y="47683"/>
                                                </a:lnTo>
                                                <a:cubicBezTo>
                                                  <a:pt x="54228" y="43943"/>
                                                  <a:pt x="53559" y="39364"/>
                                                  <a:pt x="56098" y="36463"/>
                                                </a:cubicBezTo>
                                                <a:cubicBezTo>
                                                  <a:pt x="65053" y="26228"/>
                                                  <a:pt x="77753" y="23635"/>
                                                  <a:pt x="89757" y="19634"/>
                                                </a:cubicBezTo>
                                                <a:lnTo>
                                                  <a:pt x="98171" y="16829"/>
                                                </a:lnTo>
                                                <a:lnTo>
                                                  <a:pt x="106586" y="14024"/>
                                                </a:lnTo>
                                                <a:cubicBezTo>
                                                  <a:pt x="108456" y="11219"/>
                                                  <a:pt x="109337" y="7396"/>
                                                  <a:pt x="112196" y="5609"/>
                                                </a:cubicBezTo>
                                                <a:cubicBezTo>
                                                  <a:pt x="117210" y="2475"/>
                                                  <a:pt x="129025" y="0"/>
                                                  <a:pt x="129025" y="0"/>
                                                </a:cubicBezTo>
                                                <a:cubicBezTo>
                                                  <a:pt x="129191" y="28"/>
                                                  <a:pt x="150638" y="2704"/>
                                                  <a:pt x="154270" y="5609"/>
                                                </a:cubicBezTo>
                                                <a:cubicBezTo>
                                                  <a:pt x="156902" y="7715"/>
                                                  <a:pt x="157247" y="11918"/>
                                                  <a:pt x="159879" y="14024"/>
                                                </a:cubicBezTo>
                                                <a:cubicBezTo>
                                                  <a:pt x="162188" y="15871"/>
                                                  <a:pt x="165649" y="15507"/>
                                                  <a:pt x="168294" y="16829"/>
                                                </a:cubicBezTo>
                                                <a:cubicBezTo>
                                                  <a:pt x="171309" y="18337"/>
                                                  <a:pt x="173904" y="20569"/>
                                                  <a:pt x="176709" y="22439"/>
                                                </a:cubicBezTo>
                                                <a:cubicBezTo>
                                                  <a:pt x="214604" y="16123"/>
                                                  <a:pt x="178290" y="24541"/>
                                                  <a:pt x="201953" y="14024"/>
                                                </a:cubicBezTo>
                                                <a:cubicBezTo>
                                                  <a:pt x="207356" y="11622"/>
                                                  <a:pt x="218782" y="8414"/>
                                                  <a:pt x="218782" y="8414"/>
                                                </a:cubicBezTo>
                                                <a:cubicBezTo>
                                                  <a:pt x="225327" y="9349"/>
                                                  <a:pt x="231934" y="9922"/>
                                                  <a:pt x="238417" y="11219"/>
                                                </a:cubicBezTo>
                                                <a:cubicBezTo>
                                                  <a:pt x="241316" y="11799"/>
                                                  <a:pt x="244523" y="12177"/>
                                                  <a:pt x="246832" y="14024"/>
                                                </a:cubicBezTo>
                                                <a:cubicBezTo>
                                                  <a:pt x="252891" y="18872"/>
                                                  <a:pt x="256338" y="34129"/>
                                                  <a:pt x="258051" y="39268"/>
                                                </a:cubicBezTo>
                                                <a:lnTo>
                                                  <a:pt x="263661" y="56098"/>
                                                </a:lnTo>
                                                <a:cubicBezTo>
                                                  <a:pt x="266261" y="63897"/>
                                                  <a:pt x="266275" y="66401"/>
                                                  <a:pt x="272076" y="72927"/>
                                                </a:cubicBezTo>
                                                <a:cubicBezTo>
                                                  <a:pt x="277347" y="78857"/>
                                                  <a:pt x="281379" y="87248"/>
                                                  <a:pt x="288905" y="89757"/>
                                                </a:cubicBezTo>
                                                <a:cubicBezTo>
                                                  <a:pt x="302715" y="94360"/>
                                                  <a:pt x="294403" y="92076"/>
                                                  <a:pt x="314149" y="95366"/>
                                                </a:cubicBezTo>
                                                <a:cubicBezTo>
                                                  <a:pt x="316954" y="96301"/>
                                                  <a:pt x="319683" y="97506"/>
                                                  <a:pt x="322564" y="98171"/>
                                                </a:cubicBezTo>
                                                <a:cubicBezTo>
                                                  <a:pt x="331855" y="100315"/>
                                                  <a:pt x="341567" y="100766"/>
                                                  <a:pt x="350613" y="103781"/>
                                                </a:cubicBezTo>
                                                <a:lnTo>
                                                  <a:pt x="367443" y="109391"/>
                                                </a:lnTo>
                                                <a:lnTo>
                                                  <a:pt x="375857" y="112196"/>
                                                </a:lnTo>
                                                <a:cubicBezTo>
                                                  <a:pt x="381991" y="130597"/>
                                                  <a:pt x="383420" y="125606"/>
                                                  <a:pt x="378662" y="143050"/>
                                                </a:cubicBezTo>
                                                <a:cubicBezTo>
                                                  <a:pt x="377106" y="148755"/>
                                                  <a:pt x="378662" y="158009"/>
                                                  <a:pt x="373052" y="159879"/>
                                                </a:cubicBezTo>
                                                <a:lnTo>
                                                  <a:pt x="364638" y="162684"/>
                                                </a:lnTo>
                                                <a:cubicBezTo>
                                                  <a:pt x="357158" y="161749"/>
                                                  <a:pt x="349471" y="161862"/>
                                                  <a:pt x="342198" y="159879"/>
                                                </a:cubicBezTo>
                                                <a:cubicBezTo>
                                                  <a:pt x="338946" y="158992"/>
                                                  <a:pt x="337151" y="154438"/>
                                                  <a:pt x="333784" y="154270"/>
                                                </a:cubicBezTo>
                                                <a:lnTo>
                                                  <a:pt x="286100" y="157074"/>
                                                </a:lnTo>
                                                <a:cubicBezTo>
                                                  <a:pt x="284230" y="159879"/>
                                                  <a:pt x="283349" y="163702"/>
                                                  <a:pt x="280490" y="165489"/>
                                                </a:cubicBezTo>
                                                <a:cubicBezTo>
                                                  <a:pt x="275476" y="168623"/>
                                                  <a:pt x="269271" y="169229"/>
                                                  <a:pt x="263661" y="171099"/>
                                                </a:cubicBezTo>
                                                <a:cubicBezTo>
                                                  <a:pt x="250725" y="175411"/>
                                                  <a:pt x="258143" y="173325"/>
                                                  <a:pt x="241222" y="176709"/>
                                                </a:cubicBezTo>
                                                <a:cubicBezTo>
                                                  <a:pt x="235612" y="175774"/>
                                                  <a:pt x="229944" y="175138"/>
                                                  <a:pt x="224392" y="173904"/>
                                                </a:cubicBezTo>
                                                <a:cubicBezTo>
                                                  <a:pt x="221506" y="173263"/>
                                                  <a:pt x="218934" y="171099"/>
                                                  <a:pt x="215978" y="171099"/>
                                                </a:cubicBezTo>
                                                <a:cubicBezTo>
                                                  <a:pt x="208440" y="171099"/>
                                                  <a:pt x="201018" y="172969"/>
                                                  <a:pt x="193538" y="173904"/>
                                                </a:cubicBezTo>
                                                <a:cubicBezTo>
                                                  <a:pt x="189798" y="179514"/>
                                                  <a:pt x="184451" y="184337"/>
                                                  <a:pt x="182319" y="190733"/>
                                                </a:cubicBezTo>
                                                <a:lnTo>
                                                  <a:pt x="176709" y="207563"/>
                                                </a:lnTo>
                                                <a:cubicBezTo>
                                                  <a:pt x="175774" y="210368"/>
                                                  <a:pt x="174621" y="213110"/>
                                                  <a:pt x="173904" y="215978"/>
                                                </a:cubicBezTo>
                                                <a:cubicBezTo>
                                                  <a:pt x="173530" y="217474"/>
                                                  <a:pt x="169903" y="233198"/>
                                                  <a:pt x="168294" y="235612"/>
                                                </a:cubicBezTo>
                                                <a:cubicBezTo>
                                                  <a:pt x="166094" y="238913"/>
                                                  <a:pt x="163347" y="242101"/>
                                                  <a:pt x="159879" y="244027"/>
                                                </a:cubicBezTo>
                                                <a:cubicBezTo>
                                                  <a:pt x="154710" y="246899"/>
                                                  <a:pt x="143050" y="249636"/>
                                                  <a:pt x="143050" y="249636"/>
                                                </a:cubicBezTo>
                                                <a:cubicBezTo>
                                                  <a:pt x="137440" y="253376"/>
                                                  <a:pt x="132617" y="258724"/>
                                                  <a:pt x="126221" y="260856"/>
                                                </a:cubicBezTo>
                                                <a:cubicBezTo>
                                                  <a:pt x="114608" y="264727"/>
                                                  <a:pt x="120266" y="262021"/>
                                                  <a:pt x="109391" y="269271"/>
                                                </a:cubicBezTo>
                                                <a:cubicBezTo>
                                                  <a:pt x="107521" y="272076"/>
                                                  <a:pt x="106413" y="275580"/>
                                                  <a:pt x="103781" y="277686"/>
                                                </a:cubicBezTo>
                                                <a:cubicBezTo>
                                                  <a:pt x="101472" y="279533"/>
                                                  <a:pt x="98011" y="279168"/>
                                                  <a:pt x="95367" y="280490"/>
                                                </a:cubicBezTo>
                                                <a:cubicBezTo>
                                                  <a:pt x="73613" y="291366"/>
                                                  <a:pt x="99692" y="281853"/>
                                                  <a:pt x="78537" y="288905"/>
                                                </a:cubicBezTo>
                                                <a:cubicBezTo>
                                                  <a:pt x="76667" y="291710"/>
                                                  <a:pt x="75559" y="295214"/>
                                                  <a:pt x="72927" y="297320"/>
                                                </a:cubicBezTo>
                                                <a:cubicBezTo>
                                                  <a:pt x="70618" y="299167"/>
                                                  <a:pt x="67157" y="298803"/>
                                                  <a:pt x="64513" y="300125"/>
                                                </a:cubicBezTo>
                                                <a:cubicBezTo>
                                                  <a:pt x="61498" y="301633"/>
                                                  <a:pt x="58903" y="303865"/>
                                                  <a:pt x="56098" y="305735"/>
                                                </a:cubicBezTo>
                                                <a:cubicBezTo>
                                                  <a:pt x="54228" y="311345"/>
                                                  <a:pt x="53768" y="317644"/>
                                                  <a:pt x="50488" y="322564"/>
                                                </a:cubicBezTo>
                                                <a:cubicBezTo>
                                                  <a:pt x="48618" y="325369"/>
                                                  <a:pt x="46386" y="327964"/>
                                                  <a:pt x="44878" y="330979"/>
                                                </a:cubicBezTo>
                                                <a:cubicBezTo>
                                                  <a:pt x="33264" y="354205"/>
                                                  <a:pt x="52542" y="323690"/>
                                                  <a:pt x="36463" y="347808"/>
                                                </a:cubicBezTo>
                                                <a:cubicBezTo>
                                                  <a:pt x="34593" y="345003"/>
                                                  <a:pt x="30036" y="342663"/>
                                                  <a:pt x="30854" y="339393"/>
                                                </a:cubicBezTo>
                                                <a:cubicBezTo>
                                                  <a:pt x="31571" y="336525"/>
                                                  <a:pt x="36684" y="338025"/>
                                                  <a:pt x="39268" y="336589"/>
                                                </a:cubicBezTo>
                                                <a:cubicBezTo>
                                                  <a:pt x="45162" y="333315"/>
                                                  <a:pt x="50488" y="329109"/>
                                                  <a:pt x="56098" y="325369"/>
                                                </a:cubicBezTo>
                                                <a:lnTo>
                                                  <a:pt x="64513" y="319759"/>
                                                </a:lnTo>
                                                <a:cubicBezTo>
                                                  <a:pt x="69876" y="303666"/>
                                                  <a:pt x="63476" y="318687"/>
                                                  <a:pt x="75732" y="302930"/>
                                                </a:cubicBezTo>
                                                <a:cubicBezTo>
                                                  <a:pt x="79872" y="297608"/>
                                                  <a:pt x="83212" y="291710"/>
                                                  <a:pt x="86952" y="286100"/>
                                                </a:cubicBezTo>
                                                <a:lnTo>
                                                  <a:pt x="92562" y="277686"/>
                                                </a:lnTo>
                                                <a:cubicBezTo>
                                                  <a:pt x="94843" y="270842"/>
                                                  <a:pt x="99640" y="265474"/>
                                                  <a:pt x="86952" y="263661"/>
                                                </a:cubicBezTo>
                                                <a:cubicBezTo>
                                                  <a:pt x="83136" y="263116"/>
                                                  <a:pt x="79425" y="265358"/>
                                                  <a:pt x="75732" y="266466"/>
                                                </a:cubicBezTo>
                                                <a:cubicBezTo>
                                                  <a:pt x="70068" y="268165"/>
                                                  <a:pt x="64513" y="270206"/>
                                                  <a:pt x="58903" y="272076"/>
                                                </a:cubicBezTo>
                                                <a:lnTo>
                                                  <a:pt x="50488" y="274881"/>
                                                </a:lnTo>
                                                <a:cubicBezTo>
                                                  <a:pt x="45813" y="273946"/>
                                                  <a:pt x="41189" y="272706"/>
                                                  <a:pt x="36463" y="272076"/>
                                                </a:cubicBezTo>
                                                <a:cubicBezTo>
                                                  <a:pt x="27149" y="270834"/>
                                                  <a:pt x="17245" y="272482"/>
                                                  <a:pt x="8414" y="269271"/>
                                                </a:cubicBezTo>
                                                <a:cubicBezTo>
                                                  <a:pt x="4426" y="267821"/>
                                                  <a:pt x="1402" y="257583"/>
                                                  <a:pt x="0" y="25524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196" name="Freeform 195"/>
                                      <p:cNvSpPr/>
                                      <p:nvPr/>
                                    </p:nvSpPr>
                                    <p:spPr>
                                      <a:xfrm>
                                        <a:off x="7239467" y="4908589"/>
                                        <a:ext cx="964889" cy="356396"/>
                                      </a:xfrm>
                                      <a:custGeom>
                                        <a:avLst/>
                                        <a:gdLst>
                                          <a:gd name="connsiteX0" fmla="*/ 286101 w 964889"/>
                                          <a:gd name="connsiteY0" fmla="*/ 353418 h 356396"/>
                                          <a:gd name="connsiteX1" fmla="*/ 286101 w 964889"/>
                                          <a:gd name="connsiteY1" fmla="*/ 353418 h 356396"/>
                                          <a:gd name="connsiteX2" fmla="*/ 342199 w 964889"/>
                                          <a:gd name="connsiteY2" fmla="*/ 350613 h 356396"/>
                                          <a:gd name="connsiteX3" fmla="*/ 347809 w 964889"/>
                                          <a:gd name="connsiteY3" fmla="*/ 333784 h 356396"/>
                                          <a:gd name="connsiteX4" fmla="*/ 356224 w 964889"/>
                                          <a:gd name="connsiteY4" fmla="*/ 330979 h 356396"/>
                                          <a:gd name="connsiteX5" fmla="*/ 426346 w 964889"/>
                                          <a:gd name="connsiteY5" fmla="*/ 330979 h 356396"/>
                                          <a:gd name="connsiteX6" fmla="*/ 429151 w 964889"/>
                                          <a:gd name="connsiteY6" fmla="*/ 322564 h 356396"/>
                                          <a:gd name="connsiteX7" fmla="*/ 431956 w 964889"/>
                                          <a:gd name="connsiteY7" fmla="*/ 297320 h 356396"/>
                                          <a:gd name="connsiteX8" fmla="*/ 440371 w 964889"/>
                                          <a:gd name="connsiteY8" fmla="*/ 300125 h 356396"/>
                                          <a:gd name="connsiteX9" fmla="*/ 445981 w 964889"/>
                                          <a:gd name="connsiteY9" fmla="*/ 308540 h 356396"/>
                                          <a:gd name="connsiteX10" fmla="*/ 462810 w 964889"/>
                                          <a:gd name="connsiteY10" fmla="*/ 314150 h 356396"/>
                                          <a:gd name="connsiteX11" fmla="*/ 493664 w 964889"/>
                                          <a:gd name="connsiteY11" fmla="*/ 319759 h 356396"/>
                                          <a:gd name="connsiteX12" fmla="*/ 499274 w 964889"/>
                                          <a:gd name="connsiteY12" fmla="*/ 328174 h 356396"/>
                                          <a:gd name="connsiteX13" fmla="*/ 538543 w 964889"/>
                                          <a:gd name="connsiteY13" fmla="*/ 333784 h 356396"/>
                                          <a:gd name="connsiteX14" fmla="*/ 546958 w 964889"/>
                                          <a:gd name="connsiteY14" fmla="*/ 336589 h 356396"/>
                                          <a:gd name="connsiteX15" fmla="*/ 549762 w 964889"/>
                                          <a:gd name="connsiteY15" fmla="*/ 345004 h 356396"/>
                                          <a:gd name="connsiteX16" fmla="*/ 566592 w 964889"/>
                                          <a:gd name="connsiteY16" fmla="*/ 339394 h 356396"/>
                                          <a:gd name="connsiteX17" fmla="*/ 589031 w 964889"/>
                                          <a:gd name="connsiteY17" fmla="*/ 336589 h 356396"/>
                                          <a:gd name="connsiteX18" fmla="*/ 605861 w 964889"/>
                                          <a:gd name="connsiteY18" fmla="*/ 325369 h 356396"/>
                                          <a:gd name="connsiteX19" fmla="*/ 614275 w 964889"/>
                                          <a:gd name="connsiteY19" fmla="*/ 319759 h 356396"/>
                                          <a:gd name="connsiteX20" fmla="*/ 625495 w 964889"/>
                                          <a:gd name="connsiteY20" fmla="*/ 316955 h 356396"/>
                                          <a:gd name="connsiteX21" fmla="*/ 645129 w 964889"/>
                                          <a:gd name="connsiteY21" fmla="*/ 297320 h 356396"/>
                                          <a:gd name="connsiteX22" fmla="*/ 647934 w 964889"/>
                                          <a:gd name="connsiteY22" fmla="*/ 283296 h 356396"/>
                                          <a:gd name="connsiteX23" fmla="*/ 704032 w 964889"/>
                                          <a:gd name="connsiteY23" fmla="*/ 283296 h 356396"/>
                                          <a:gd name="connsiteX24" fmla="*/ 720862 w 964889"/>
                                          <a:gd name="connsiteY24" fmla="*/ 277686 h 356396"/>
                                          <a:gd name="connsiteX25" fmla="*/ 729277 w 964889"/>
                                          <a:gd name="connsiteY25" fmla="*/ 274881 h 356396"/>
                                          <a:gd name="connsiteX26" fmla="*/ 754521 w 964889"/>
                                          <a:gd name="connsiteY26" fmla="*/ 258051 h 356396"/>
                                          <a:gd name="connsiteX27" fmla="*/ 762935 w 964889"/>
                                          <a:gd name="connsiteY27" fmla="*/ 252442 h 356396"/>
                                          <a:gd name="connsiteX28" fmla="*/ 774155 w 964889"/>
                                          <a:gd name="connsiteY28" fmla="*/ 227198 h 356396"/>
                                          <a:gd name="connsiteX29" fmla="*/ 776960 w 964889"/>
                                          <a:gd name="connsiteY29" fmla="*/ 213173 h 356396"/>
                                          <a:gd name="connsiteX30" fmla="*/ 819034 w 964889"/>
                                          <a:gd name="connsiteY30" fmla="*/ 210368 h 356396"/>
                                          <a:gd name="connsiteX31" fmla="*/ 849888 w 964889"/>
                                          <a:gd name="connsiteY31" fmla="*/ 207563 h 356396"/>
                                          <a:gd name="connsiteX32" fmla="*/ 858302 w 964889"/>
                                          <a:gd name="connsiteY32" fmla="*/ 210368 h 356396"/>
                                          <a:gd name="connsiteX33" fmla="*/ 861107 w 964889"/>
                                          <a:gd name="connsiteY33" fmla="*/ 218783 h 356396"/>
                                          <a:gd name="connsiteX34" fmla="*/ 869522 w 964889"/>
                                          <a:gd name="connsiteY34" fmla="*/ 221588 h 356396"/>
                                          <a:gd name="connsiteX35" fmla="*/ 897571 w 964889"/>
                                          <a:gd name="connsiteY35" fmla="*/ 218783 h 356396"/>
                                          <a:gd name="connsiteX36" fmla="*/ 900376 w 964889"/>
                                          <a:gd name="connsiteY36" fmla="*/ 210368 h 356396"/>
                                          <a:gd name="connsiteX37" fmla="*/ 928425 w 964889"/>
                                          <a:gd name="connsiteY37" fmla="*/ 218783 h 356396"/>
                                          <a:gd name="connsiteX38" fmla="*/ 936840 w 964889"/>
                                          <a:gd name="connsiteY38" fmla="*/ 221588 h 356396"/>
                                          <a:gd name="connsiteX39" fmla="*/ 959279 w 964889"/>
                                          <a:gd name="connsiteY39" fmla="*/ 207563 h 356396"/>
                                          <a:gd name="connsiteX40" fmla="*/ 964889 w 964889"/>
                                          <a:gd name="connsiteY40" fmla="*/ 190734 h 356396"/>
                                          <a:gd name="connsiteX41" fmla="*/ 956474 w 964889"/>
                                          <a:gd name="connsiteY41" fmla="*/ 173904 h 356396"/>
                                          <a:gd name="connsiteX42" fmla="*/ 931230 w 964889"/>
                                          <a:gd name="connsiteY42" fmla="*/ 159880 h 356396"/>
                                          <a:gd name="connsiteX43" fmla="*/ 920010 w 964889"/>
                                          <a:gd name="connsiteY43" fmla="*/ 157075 h 356396"/>
                                          <a:gd name="connsiteX44" fmla="*/ 911596 w 964889"/>
                                          <a:gd name="connsiteY44" fmla="*/ 151465 h 356396"/>
                                          <a:gd name="connsiteX45" fmla="*/ 900376 w 964889"/>
                                          <a:gd name="connsiteY45" fmla="*/ 134636 h 356396"/>
                                          <a:gd name="connsiteX46" fmla="*/ 883546 w 964889"/>
                                          <a:gd name="connsiteY46" fmla="*/ 123416 h 356396"/>
                                          <a:gd name="connsiteX47" fmla="*/ 894766 w 964889"/>
                                          <a:gd name="connsiteY47" fmla="*/ 98172 h 356396"/>
                                          <a:gd name="connsiteX48" fmla="*/ 891961 w 964889"/>
                                          <a:gd name="connsiteY48" fmla="*/ 89757 h 356396"/>
                                          <a:gd name="connsiteX49" fmla="*/ 849888 w 964889"/>
                                          <a:gd name="connsiteY49" fmla="*/ 81342 h 356396"/>
                                          <a:gd name="connsiteX50" fmla="*/ 835863 w 964889"/>
                                          <a:gd name="connsiteY50" fmla="*/ 78537 h 356396"/>
                                          <a:gd name="connsiteX51" fmla="*/ 819034 w 964889"/>
                                          <a:gd name="connsiteY51" fmla="*/ 72928 h 356396"/>
                                          <a:gd name="connsiteX52" fmla="*/ 802204 w 964889"/>
                                          <a:gd name="connsiteY52" fmla="*/ 64513 h 356396"/>
                                          <a:gd name="connsiteX53" fmla="*/ 793789 w 964889"/>
                                          <a:gd name="connsiteY53" fmla="*/ 58903 h 356396"/>
                                          <a:gd name="connsiteX54" fmla="*/ 779765 w 964889"/>
                                          <a:gd name="connsiteY54" fmla="*/ 56098 h 356396"/>
                                          <a:gd name="connsiteX55" fmla="*/ 774155 w 964889"/>
                                          <a:gd name="connsiteY55" fmla="*/ 47683 h 356396"/>
                                          <a:gd name="connsiteX56" fmla="*/ 768545 w 964889"/>
                                          <a:gd name="connsiteY56" fmla="*/ 11220 h 356396"/>
                                          <a:gd name="connsiteX57" fmla="*/ 718057 w 964889"/>
                                          <a:gd name="connsiteY57" fmla="*/ 11220 h 356396"/>
                                          <a:gd name="connsiteX58" fmla="*/ 709642 w 964889"/>
                                          <a:gd name="connsiteY58" fmla="*/ 5610 h 356396"/>
                                          <a:gd name="connsiteX59" fmla="*/ 695618 w 964889"/>
                                          <a:gd name="connsiteY59" fmla="*/ 0 h 356396"/>
                                          <a:gd name="connsiteX60" fmla="*/ 670373 w 964889"/>
                                          <a:gd name="connsiteY60" fmla="*/ 2805 h 356396"/>
                                          <a:gd name="connsiteX61" fmla="*/ 659154 w 964889"/>
                                          <a:gd name="connsiteY61" fmla="*/ 19634 h 356396"/>
                                          <a:gd name="connsiteX62" fmla="*/ 650739 w 964889"/>
                                          <a:gd name="connsiteY62" fmla="*/ 25244 h 356396"/>
                                          <a:gd name="connsiteX63" fmla="*/ 633910 w 964889"/>
                                          <a:gd name="connsiteY63" fmla="*/ 16829 h 356396"/>
                                          <a:gd name="connsiteX64" fmla="*/ 622690 w 964889"/>
                                          <a:gd name="connsiteY64" fmla="*/ 19634 h 356396"/>
                                          <a:gd name="connsiteX65" fmla="*/ 603056 w 964889"/>
                                          <a:gd name="connsiteY65" fmla="*/ 25244 h 356396"/>
                                          <a:gd name="connsiteX66" fmla="*/ 586226 w 964889"/>
                                          <a:gd name="connsiteY66" fmla="*/ 36464 h 356396"/>
                                          <a:gd name="connsiteX67" fmla="*/ 577812 w 964889"/>
                                          <a:gd name="connsiteY67" fmla="*/ 44878 h 356396"/>
                                          <a:gd name="connsiteX68" fmla="*/ 572202 w 964889"/>
                                          <a:gd name="connsiteY68" fmla="*/ 53293 h 356396"/>
                                          <a:gd name="connsiteX69" fmla="*/ 563787 w 964889"/>
                                          <a:gd name="connsiteY69" fmla="*/ 56098 h 356396"/>
                                          <a:gd name="connsiteX70" fmla="*/ 555372 w 964889"/>
                                          <a:gd name="connsiteY70" fmla="*/ 64513 h 356396"/>
                                          <a:gd name="connsiteX71" fmla="*/ 513299 w 964889"/>
                                          <a:gd name="connsiteY71" fmla="*/ 67318 h 356396"/>
                                          <a:gd name="connsiteX72" fmla="*/ 510494 w 964889"/>
                                          <a:gd name="connsiteY72" fmla="*/ 58903 h 356396"/>
                                          <a:gd name="connsiteX73" fmla="*/ 485250 w 964889"/>
                                          <a:gd name="connsiteY73" fmla="*/ 47683 h 356396"/>
                                          <a:gd name="connsiteX74" fmla="*/ 460005 w 964889"/>
                                          <a:gd name="connsiteY74" fmla="*/ 33659 h 356396"/>
                                          <a:gd name="connsiteX75" fmla="*/ 398297 w 964889"/>
                                          <a:gd name="connsiteY75" fmla="*/ 30854 h 356396"/>
                                          <a:gd name="connsiteX76" fmla="*/ 387078 w 964889"/>
                                          <a:gd name="connsiteY76" fmla="*/ 11220 h 356396"/>
                                          <a:gd name="connsiteX77" fmla="*/ 378663 w 964889"/>
                                          <a:gd name="connsiteY77" fmla="*/ 8415 h 356396"/>
                                          <a:gd name="connsiteX78" fmla="*/ 350614 w 964889"/>
                                          <a:gd name="connsiteY78" fmla="*/ 11220 h 356396"/>
                                          <a:gd name="connsiteX79" fmla="*/ 342199 w 964889"/>
                                          <a:gd name="connsiteY79" fmla="*/ 14024 h 356396"/>
                                          <a:gd name="connsiteX80" fmla="*/ 336589 w 964889"/>
                                          <a:gd name="connsiteY80" fmla="*/ 22439 h 356396"/>
                                          <a:gd name="connsiteX81" fmla="*/ 272077 w 964889"/>
                                          <a:gd name="connsiteY81" fmla="*/ 22439 h 356396"/>
                                          <a:gd name="connsiteX82" fmla="*/ 266467 w 964889"/>
                                          <a:gd name="connsiteY82" fmla="*/ 30854 h 356396"/>
                                          <a:gd name="connsiteX83" fmla="*/ 258052 w 964889"/>
                                          <a:gd name="connsiteY83" fmla="*/ 33659 h 356396"/>
                                          <a:gd name="connsiteX84" fmla="*/ 232808 w 964889"/>
                                          <a:gd name="connsiteY84" fmla="*/ 36464 h 356396"/>
                                          <a:gd name="connsiteX85" fmla="*/ 224393 w 964889"/>
                                          <a:gd name="connsiteY85" fmla="*/ 42074 h 356396"/>
                                          <a:gd name="connsiteX86" fmla="*/ 179515 w 964889"/>
                                          <a:gd name="connsiteY86" fmla="*/ 36464 h 356396"/>
                                          <a:gd name="connsiteX87" fmla="*/ 162685 w 964889"/>
                                          <a:gd name="connsiteY87" fmla="*/ 30854 h 356396"/>
                                          <a:gd name="connsiteX88" fmla="*/ 154270 w 964889"/>
                                          <a:gd name="connsiteY88" fmla="*/ 28049 h 356396"/>
                                          <a:gd name="connsiteX89" fmla="*/ 145856 w 964889"/>
                                          <a:gd name="connsiteY89" fmla="*/ 25244 h 356396"/>
                                          <a:gd name="connsiteX90" fmla="*/ 103782 w 964889"/>
                                          <a:gd name="connsiteY90" fmla="*/ 33659 h 356396"/>
                                          <a:gd name="connsiteX91" fmla="*/ 72928 w 964889"/>
                                          <a:gd name="connsiteY91" fmla="*/ 36464 h 356396"/>
                                          <a:gd name="connsiteX92" fmla="*/ 64513 w 964889"/>
                                          <a:gd name="connsiteY92" fmla="*/ 39269 h 356396"/>
                                          <a:gd name="connsiteX93" fmla="*/ 22440 w 964889"/>
                                          <a:gd name="connsiteY93" fmla="*/ 42074 h 356396"/>
                                          <a:gd name="connsiteX94" fmla="*/ 5610 w 964889"/>
                                          <a:gd name="connsiteY94" fmla="*/ 50488 h 356396"/>
                                          <a:gd name="connsiteX95" fmla="*/ 0 w 964889"/>
                                          <a:gd name="connsiteY95" fmla="*/ 67318 h 356396"/>
                                          <a:gd name="connsiteX96" fmla="*/ 8415 w 964889"/>
                                          <a:gd name="connsiteY96" fmla="*/ 72928 h 356396"/>
                                          <a:gd name="connsiteX97" fmla="*/ 36464 w 964889"/>
                                          <a:gd name="connsiteY97" fmla="*/ 78537 h 356396"/>
                                          <a:gd name="connsiteX98" fmla="*/ 44879 w 964889"/>
                                          <a:gd name="connsiteY98" fmla="*/ 81342 h 356396"/>
                                          <a:gd name="connsiteX99" fmla="*/ 47684 w 964889"/>
                                          <a:gd name="connsiteY99" fmla="*/ 89757 h 356396"/>
                                          <a:gd name="connsiteX100" fmla="*/ 64513 w 964889"/>
                                          <a:gd name="connsiteY100" fmla="*/ 95367 h 356396"/>
                                          <a:gd name="connsiteX101" fmla="*/ 72928 w 964889"/>
                                          <a:gd name="connsiteY101" fmla="*/ 98172 h 356396"/>
                                          <a:gd name="connsiteX102" fmla="*/ 81343 w 964889"/>
                                          <a:gd name="connsiteY102" fmla="*/ 100977 h 356396"/>
                                          <a:gd name="connsiteX103" fmla="*/ 92562 w 964889"/>
                                          <a:gd name="connsiteY103" fmla="*/ 103782 h 356396"/>
                                          <a:gd name="connsiteX104" fmla="*/ 120612 w 964889"/>
                                          <a:gd name="connsiteY104" fmla="*/ 106586 h 356396"/>
                                          <a:gd name="connsiteX105" fmla="*/ 140246 w 964889"/>
                                          <a:gd name="connsiteY105" fmla="*/ 115001 h 356396"/>
                                          <a:gd name="connsiteX106" fmla="*/ 157075 w 964889"/>
                                          <a:gd name="connsiteY106" fmla="*/ 126221 h 356396"/>
                                          <a:gd name="connsiteX107" fmla="*/ 165490 w 964889"/>
                                          <a:gd name="connsiteY107" fmla="*/ 131831 h 356396"/>
                                          <a:gd name="connsiteX108" fmla="*/ 173905 w 964889"/>
                                          <a:gd name="connsiteY108" fmla="*/ 134636 h 356396"/>
                                          <a:gd name="connsiteX109" fmla="*/ 182320 w 964889"/>
                                          <a:gd name="connsiteY109" fmla="*/ 140245 h 356396"/>
                                          <a:gd name="connsiteX110" fmla="*/ 221588 w 964889"/>
                                          <a:gd name="connsiteY110" fmla="*/ 145855 h 356396"/>
                                          <a:gd name="connsiteX111" fmla="*/ 238418 w 964889"/>
                                          <a:gd name="connsiteY111" fmla="*/ 151465 h 356396"/>
                                          <a:gd name="connsiteX112" fmla="*/ 246832 w 964889"/>
                                          <a:gd name="connsiteY112" fmla="*/ 168294 h 356396"/>
                                          <a:gd name="connsiteX113" fmla="*/ 260857 w 964889"/>
                                          <a:gd name="connsiteY113" fmla="*/ 185124 h 356396"/>
                                          <a:gd name="connsiteX114" fmla="*/ 266467 w 964889"/>
                                          <a:gd name="connsiteY114" fmla="*/ 210368 h 356396"/>
                                          <a:gd name="connsiteX115" fmla="*/ 272077 w 964889"/>
                                          <a:gd name="connsiteY115" fmla="*/ 218783 h 356396"/>
                                          <a:gd name="connsiteX116" fmla="*/ 280491 w 964889"/>
                                          <a:gd name="connsiteY116" fmla="*/ 227198 h 356396"/>
                                          <a:gd name="connsiteX117" fmla="*/ 286101 w 964889"/>
                                          <a:gd name="connsiteY117" fmla="*/ 246832 h 356396"/>
                                          <a:gd name="connsiteX118" fmla="*/ 288906 w 964889"/>
                                          <a:gd name="connsiteY118" fmla="*/ 255247 h 356396"/>
                                          <a:gd name="connsiteX119" fmla="*/ 302931 w 964889"/>
                                          <a:gd name="connsiteY119" fmla="*/ 280491 h 356396"/>
                                          <a:gd name="connsiteX120" fmla="*/ 297321 w 964889"/>
                                          <a:gd name="connsiteY120" fmla="*/ 297320 h 356396"/>
                                          <a:gd name="connsiteX121" fmla="*/ 294516 w 964889"/>
                                          <a:gd name="connsiteY121" fmla="*/ 305735 h 356396"/>
                                          <a:gd name="connsiteX122" fmla="*/ 286101 w 964889"/>
                                          <a:gd name="connsiteY122" fmla="*/ 353418 h 35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964889" h="356396">
                                            <a:moveTo>
                                              <a:pt x="286101" y="353418"/>
                                            </a:moveTo>
                                            <a:lnTo>
                                              <a:pt x="286101" y="353418"/>
                                            </a:lnTo>
                                            <a:cubicBezTo>
                                              <a:pt x="302795" y="355273"/>
                                              <a:pt x="326399" y="360336"/>
                                              <a:pt x="342199" y="350613"/>
                                            </a:cubicBezTo>
                                            <a:cubicBezTo>
                                              <a:pt x="347235" y="347514"/>
                                              <a:pt x="342199" y="335654"/>
                                              <a:pt x="347809" y="333784"/>
                                            </a:cubicBezTo>
                                            <a:lnTo>
                                              <a:pt x="356224" y="330979"/>
                                            </a:lnTo>
                                            <a:cubicBezTo>
                                              <a:pt x="369149" y="331841"/>
                                              <a:pt x="410065" y="336900"/>
                                              <a:pt x="426346" y="330979"/>
                                            </a:cubicBezTo>
                                            <a:cubicBezTo>
                                              <a:pt x="429125" y="329969"/>
                                              <a:pt x="428216" y="325369"/>
                                              <a:pt x="429151" y="322564"/>
                                            </a:cubicBezTo>
                                            <a:cubicBezTo>
                                              <a:pt x="430086" y="314149"/>
                                              <a:pt x="428170" y="304893"/>
                                              <a:pt x="431956" y="297320"/>
                                            </a:cubicBezTo>
                                            <a:cubicBezTo>
                                              <a:pt x="433278" y="294675"/>
                                              <a:pt x="438062" y="298278"/>
                                              <a:pt x="440371" y="300125"/>
                                            </a:cubicBezTo>
                                            <a:cubicBezTo>
                                              <a:pt x="443003" y="302231"/>
                                              <a:pt x="443122" y="306753"/>
                                              <a:pt x="445981" y="308540"/>
                                            </a:cubicBezTo>
                                            <a:cubicBezTo>
                                              <a:pt x="450995" y="311674"/>
                                              <a:pt x="456977" y="313178"/>
                                              <a:pt x="462810" y="314150"/>
                                            </a:cubicBezTo>
                                            <a:cubicBezTo>
                                              <a:pt x="484342" y="317739"/>
                                              <a:pt x="474063" y="315840"/>
                                              <a:pt x="493664" y="319759"/>
                                            </a:cubicBezTo>
                                            <a:cubicBezTo>
                                              <a:pt x="495534" y="322564"/>
                                              <a:pt x="497116" y="325584"/>
                                              <a:pt x="499274" y="328174"/>
                                            </a:cubicBezTo>
                                            <a:cubicBezTo>
                                              <a:pt x="512556" y="344113"/>
                                              <a:pt x="510078" y="336372"/>
                                              <a:pt x="538543" y="333784"/>
                                            </a:cubicBezTo>
                                            <a:cubicBezTo>
                                              <a:pt x="541348" y="334719"/>
                                              <a:pt x="544867" y="334498"/>
                                              <a:pt x="546958" y="336589"/>
                                            </a:cubicBezTo>
                                            <a:cubicBezTo>
                                              <a:pt x="549049" y="338680"/>
                                              <a:pt x="546835" y="344586"/>
                                              <a:pt x="549762" y="345004"/>
                                            </a:cubicBezTo>
                                            <a:cubicBezTo>
                                              <a:pt x="555616" y="345840"/>
                                              <a:pt x="560724" y="340128"/>
                                              <a:pt x="566592" y="339394"/>
                                            </a:cubicBezTo>
                                            <a:lnTo>
                                              <a:pt x="589031" y="336589"/>
                                            </a:lnTo>
                                            <a:lnTo>
                                              <a:pt x="605861" y="325369"/>
                                            </a:lnTo>
                                            <a:cubicBezTo>
                                              <a:pt x="608666" y="323499"/>
                                              <a:pt x="611005" y="320576"/>
                                              <a:pt x="614275" y="319759"/>
                                            </a:cubicBezTo>
                                            <a:lnTo>
                                              <a:pt x="625495" y="316955"/>
                                            </a:lnTo>
                                            <a:cubicBezTo>
                                              <a:pt x="641407" y="306346"/>
                                              <a:pt x="641673" y="311144"/>
                                              <a:pt x="645129" y="297320"/>
                                            </a:cubicBezTo>
                                            <a:cubicBezTo>
                                              <a:pt x="646285" y="292695"/>
                                              <a:pt x="646999" y="287971"/>
                                              <a:pt x="647934" y="283296"/>
                                            </a:cubicBezTo>
                                            <a:cubicBezTo>
                                              <a:pt x="673986" y="285664"/>
                                              <a:pt x="679373" y="288228"/>
                                              <a:pt x="704032" y="283296"/>
                                            </a:cubicBezTo>
                                            <a:cubicBezTo>
                                              <a:pt x="709831" y="282136"/>
                                              <a:pt x="715252" y="279556"/>
                                              <a:pt x="720862" y="277686"/>
                                            </a:cubicBezTo>
                                            <a:lnTo>
                                              <a:pt x="729277" y="274881"/>
                                            </a:lnTo>
                                            <a:lnTo>
                                              <a:pt x="754521" y="258051"/>
                                            </a:lnTo>
                                            <a:lnTo>
                                              <a:pt x="762935" y="252442"/>
                                            </a:lnTo>
                                            <a:cubicBezTo>
                                              <a:pt x="769650" y="242370"/>
                                              <a:pt x="771294" y="241502"/>
                                              <a:pt x="774155" y="227198"/>
                                            </a:cubicBezTo>
                                            <a:cubicBezTo>
                                              <a:pt x="775090" y="222523"/>
                                              <a:pt x="772496" y="214847"/>
                                              <a:pt x="776960" y="213173"/>
                                            </a:cubicBezTo>
                                            <a:cubicBezTo>
                                              <a:pt x="790121" y="208238"/>
                                              <a:pt x="805009" y="211303"/>
                                              <a:pt x="819034" y="210368"/>
                                            </a:cubicBezTo>
                                            <a:cubicBezTo>
                                              <a:pt x="838278" y="203953"/>
                                              <a:pt x="831764" y="203032"/>
                                              <a:pt x="849888" y="207563"/>
                                            </a:cubicBezTo>
                                            <a:cubicBezTo>
                                              <a:pt x="852756" y="208280"/>
                                              <a:pt x="855497" y="209433"/>
                                              <a:pt x="858302" y="210368"/>
                                            </a:cubicBezTo>
                                            <a:cubicBezTo>
                                              <a:pt x="859237" y="213173"/>
                                              <a:pt x="859016" y="216692"/>
                                              <a:pt x="861107" y="218783"/>
                                            </a:cubicBezTo>
                                            <a:cubicBezTo>
                                              <a:pt x="863198" y="220874"/>
                                              <a:pt x="866565" y="221588"/>
                                              <a:pt x="869522" y="221588"/>
                                            </a:cubicBezTo>
                                            <a:cubicBezTo>
                                              <a:pt x="878918" y="221588"/>
                                              <a:pt x="888221" y="219718"/>
                                              <a:pt x="897571" y="218783"/>
                                            </a:cubicBezTo>
                                            <a:cubicBezTo>
                                              <a:pt x="898506" y="215978"/>
                                              <a:pt x="897533" y="211180"/>
                                              <a:pt x="900376" y="210368"/>
                                            </a:cubicBezTo>
                                            <a:cubicBezTo>
                                              <a:pt x="910276" y="207539"/>
                                              <a:pt x="920245" y="215277"/>
                                              <a:pt x="928425" y="218783"/>
                                            </a:cubicBezTo>
                                            <a:cubicBezTo>
                                              <a:pt x="931143" y="219948"/>
                                              <a:pt x="934035" y="220653"/>
                                              <a:pt x="936840" y="221588"/>
                                            </a:cubicBezTo>
                                            <a:cubicBezTo>
                                              <a:pt x="950766" y="216946"/>
                                              <a:pt x="953867" y="219738"/>
                                              <a:pt x="959279" y="207563"/>
                                            </a:cubicBezTo>
                                            <a:cubicBezTo>
                                              <a:pt x="961681" y="202160"/>
                                              <a:pt x="964889" y="190734"/>
                                              <a:pt x="964889" y="190734"/>
                                            </a:cubicBezTo>
                                            <a:cubicBezTo>
                                              <a:pt x="962888" y="184732"/>
                                              <a:pt x="961592" y="178382"/>
                                              <a:pt x="956474" y="173904"/>
                                            </a:cubicBezTo>
                                            <a:cubicBezTo>
                                              <a:pt x="946734" y="165381"/>
                                              <a:pt x="941853" y="162915"/>
                                              <a:pt x="931230" y="159880"/>
                                            </a:cubicBezTo>
                                            <a:cubicBezTo>
                                              <a:pt x="927523" y="158821"/>
                                              <a:pt x="923750" y="158010"/>
                                              <a:pt x="920010" y="157075"/>
                                            </a:cubicBezTo>
                                            <a:cubicBezTo>
                                              <a:pt x="917205" y="155205"/>
                                              <a:pt x="913816" y="154002"/>
                                              <a:pt x="911596" y="151465"/>
                                            </a:cubicBezTo>
                                            <a:cubicBezTo>
                                              <a:pt x="907156" y="146391"/>
                                              <a:pt x="905986" y="138376"/>
                                              <a:pt x="900376" y="134636"/>
                                            </a:cubicBezTo>
                                            <a:lnTo>
                                              <a:pt x="883546" y="123416"/>
                                            </a:lnTo>
                                            <a:cubicBezTo>
                                              <a:pt x="890222" y="103388"/>
                                              <a:pt x="885876" y="111506"/>
                                              <a:pt x="894766" y="98172"/>
                                            </a:cubicBezTo>
                                            <a:cubicBezTo>
                                              <a:pt x="893831" y="95367"/>
                                              <a:pt x="893808" y="92066"/>
                                              <a:pt x="891961" y="89757"/>
                                            </a:cubicBezTo>
                                            <a:cubicBezTo>
                                              <a:pt x="883070" y="78643"/>
                                              <a:pt x="857213" y="81952"/>
                                              <a:pt x="849888" y="81342"/>
                                            </a:cubicBezTo>
                                            <a:cubicBezTo>
                                              <a:pt x="845213" y="80407"/>
                                              <a:pt x="840463" y="79791"/>
                                              <a:pt x="835863" y="78537"/>
                                            </a:cubicBezTo>
                                            <a:cubicBezTo>
                                              <a:pt x="830158" y="76981"/>
                                              <a:pt x="819034" y="72928"/>
                                              <a:pt x="819034" y="72928"/>
                                            </a:cubicBezTo>
                                            <a:cubicBezTo>
                                              <a:pt x="794918" y="56851"/>
                                              <a:pt x="825430" y="76126"/>
                                              <a:pt x="802204" y="64513"/>
                                            </a:cubicBezTo>
                                            <a:cubicBezTo>
                                              <a:pt x="799189" y="63005"/>
                                              <a:pt x="796946" y="60087"/>
                                              <a:pt x="793789" y="58903"/>
                                            </a:cubicBezTo>
                                            <a:cubicBezTo>
                                              <a:pt x="789325" y="57229"/>
                                              <a:pt x="784440" y="57033"/>
                                              <a:pt x="779765" y="56098"/>
                                            </a:cubicBezTo>
                                            <a:cubicBezTo>
                                              <a:pt x="777895" y="53293"/>
                                              <a:pt x="775483" y="50782"/>
                                              <a:pt x="774155" y="47683"/>
                                            </a:cubicBezTo>
                                            <a:cubicBezTo>
                                              <a:pt x="770511" y="39181"/>
                                              <a:pt x="769108" y="16289"/>
                                              <a:pt x="768545" y="11220"/>
                                            </a:cubicBezTo>
                                            <a:cubicBezTo>
                                              <a:pt x="747835" y="13520"/>
                                              <a:pt x="738767" y="16397"/>
                                              <a:pt x="718057" y="11220"/>
                                            </a:cubicBezTo>
                                            <a:cubicBezTo>
                                              <a:pt x="714786" y="10402"/>
                                              <a:pt x="712657" y="7118"/>
                                              <a:pt x="709642" y="5610"/>
                                            </a:cubicBezTo>
                                            <a:cubicBezTo>
                                              <a:pt x="705139" y="3358"/>
                                              <a:pt x="700293" y="1870"/>
                                              <a:pt x="695618" y="0"/>
                                            </a:cubicBezTo>
                                            <a:cubicBezTo>
                                              <a:pt x="687203" y="935"/>
                                              <a:pt x="677828" y="-1209"/>
                                              <a:pt x="670373" y="2805"/>
                                            </a:cubicBezTo>
                                            <a:cubicBezTo>
                                              <a:pt x="664437" y="6001"/>
                                              <a:pt x="664764" y="15894"/>
                                              <a:pt x="659154" y="19634"/>
                                            </a:cubicBezTo>
                                            <a:lnTo>
                                              <a:pt x="650739" y="25244"/>
                                            </a:lnTo>
                                            <a:cubicBezTo>
                                              <a:pt x="646486" y="22408"/>
                                              <a:pt x="639715" y="16829"/>
                                              <a:pt x="633910" y="16829"/>
                                            </a:cubicBezTo>
                                            <a:cubicBezTo>
                                              <a:pt x="630055" y="16829"/>
                                              <a:pt x="626397" y="18575"/>
                                              <a:pt x="622690" y="19634"/>
                                            </a:cubicBezTo>
                                            <a:cubicBezTo>
                                              <a:pt x="594512" y="27685"/>
                                              <a:pt x="638141" y="16472"/>
                                              <a:pt x="603056" y="25244"/>
                                            </a:cubicBezTo>
                                            <a:cubicBezTo>
                                              <a:pt x="597446" y="28984"/>
                                              <a:pt x="590994" y="31696"/>
                                              <a:pt x="586226" y="36464"/>
                                            </a:cubicBezTo>
                                            <a:cubicBezTo>
                                              <a:pt x="583421" y="39269"/>
                                              <a:pt x="580351" y="41831"/>
                                              <a:pt x="577812" y="44878"/>
                                            </a:cubicBezTo>
                                            <a:cubicBezTo>
                                              <a:pt x="575654" y="47468"/>
                                              <a:pt x="574834" y="51187"/>
                                              <a:pt x="572202" y="53293"/>
                                            </a:cubicBezTo>
                                            <a:cubicBezTo>
                                              <a:pt x="569893" y="55140"/>
                                              <a:pt x="566592" y="55163"/>
                                              <a:pt x="563787" y="56098"/>
                                            </a:cubicBezTo>
                                            <a:cubicBezTo>
                                              <a:pt x="560982" y="58903"/>
                                              <a:pt x="558419" y="61973"/>
                                              <a:pt x="555372" y="64513"/>
                                            </a:cubicBezTo>
                                            <a:cubicBezTo>
                                              <a:pt x="540823" y="76638"/>
                                              <a:pt x="539522" y="69503"/>
                                              <a:pt x="513299" y="67318"/>
                                            </a:cubicBezTo>
                                            <a:cubicBezTo>
                                              <a:pt x="512364" y="64513"/>
                                              <a:pt x="512341" y="61212"/>
                                              <a:pt x="510494" y="58903"/>
                                            </a:cubicBezTo>
                                            <a:cubicBezTo>
                                              <a:pt x="503970" y="50748"/>
                                              <a:pt x="493330" y="53069"/>
                                              <a:pt x="485250" y="47683"/>
                                            </a:cubicBezTo>
                                            <a:cubicBezTo>
                                              <a:pt x="480545" y="44547"/>
                                              <a:pt x="468420" y="34332"/>
                                              <a:pt x="460005" y="33659"/>
                                            </a:cubicBezTo>
                                            <a:cubicBezTo>
                                              <a:pt x="439480" y="32017"/>
                                              <a:pt x="418866" y="31789"/>
                                              <a:pt x="398297" y="30854"/>
                                            </a:cubicBezTo>
                                            <a:cubicBezTo>
                                              <a:pt x="396915" y="28090"/>
                                              <a:pt x="390384" y="13865"/>
                                              <a:pt x="387078" y="11220"/>
                                            </a:cubicBezTo>
                                            <a:cubicBezTo>
                                              <a:pt x="384769" y="9373"/>
                                              <a:pt x="381468" y="9350"/>
                                              <a:pt x="378663" y="8415"/>
                                            </a:cubicBezTo>
                                            <a:cubicBezTo>
                                              <a:pt x="369313" y="9350"/>
                                              <a:pt x="359901" y="9791"/>
                                              <a:pt x="350614" y="11220"/>
                                            </a:cubicBezTo>
                                            <a:cubicBezTo>
                                              <a:pt x="347692" y="11670"/>
                                              <a:pt x="344508" y="12177"/>
                                              <a:pt x="342199" y="14024"/>
                                            </a:cubicBezTo>
                                            <a:cubicBezTo>
                                              <a:pt x="339566" y="16130"/>
                                              <a:pt x="338459" y="19634"/>
                                              <a:pt x="336589" y="22439"/>
                                            </a:cubicBezTo>
                                            <a:cubicBezTo>
                                              <a:pt x="311987" y="16288"/>
                                              <a:pt x="311338" y="14961"/>
                                              <a:pt x="272077" y="22439"/>
                                            </a:cubicBezTo>
                                            <a:cubicBezTo>
                                              <a:pt x="268765" y="23070"/>
                                              <a:pt x="269099" y="28748"/>
                                              <a:pt x="266467" y="30854"/>
                                            </a:cubicBezTo>
                                            <a:cubicBezTo>
                                              <a:pt x="264158" y="32701"/>
                                              <a:pt x="260968" y="33173"/>
                                              <a:pt x="258052" y="33659"/>
                                            </a:cubicBezTo>
                                            <a:cubicBezTo>
                                              <a:pt x="249701" y="35051"/>
                                              <a:pt x="241223" y="35529"/>
                                              <a:pt x="232808" y="36464"/>
                                            </a:cubicBezTo>
                                            <a:cubicBezTo>
                                              <a:pt x="230003" y="38334"/>
                                              <a:pt x="227756" y="41834"/>
                                              <a:pt x="224393" y="42074"/>
                                            </a:cubicBezTo>
                                            <a:cubicBezTo>
                                              <a:pt x="216639" y="42628"/>
                                              <a:pt x="190810" y="39545"/>
                                              <a:pt x="179515" y="36464"/>
                                            </a:cubicBezTo>
                                            <a:cubicBezTo>
                                              <a:pt x="173810" y="34908"/>
                                              <a:pt x="168295" y="32724"/>
                                              <a:pt x="162685" y="30854"/>
                                            </a:cubicBezTo>
                                            <a:lnTo>
                                              <a:pt x="154270" y="28049"/>
                                            </a:lnTo>
                                            <a:lnTo>
                                              <a:pt x="145856" y="25244"/>
                                            </a:lnTo>
                                            <a:cubicBezTo>
                                              <a:pt x="121981" y="41160"/>
                                              <a:pt x="135727" y="37209"/>
                                              <a:pt x="103782" y="33659"/>
                                            </a:cubicBezTo>
                                            <a:cubicBezTo>
                                              <a:pt x="93497" y="34594"/>
                                              <a:pt x="83151" y="35003"/>
                                              <a:pt x="72928" y="36464"/>
                                            </a:cubicBezTo>
                                            <a:cubicBezTo>
                                              <a:pt x="70001" y="36882"/>
                                              <a:pt x="67452" y="38942"/>
                                              <a:pt x="64513" y="39269"/>
                                            </a:cubicBezTo>
                                            <a:cubicBezTo>
                                              <a:pt x="50544" y="40821"/>
                                              <a:pt x="36464" y="41139"/>
                                              <a:pt x="22440" y="42074"/>
                                            </a:cubicBezTo>
                                            <a:cubicBezTo>
                                              <a:pt x="17854" y="43602"/>
                                              <a:pt x="8473" y="45908"/>
                                              <a:pt x="5610" y="50488"/>
                                            </a:cubicBezTo>
                                            <a:cubicBezTo>
                                              <a:pt x="2476" y="55503"/>
                                              <a:pt x="0" y="67318"/>
                                              <a:pt x="0" y="67318"/>
                                            </a:cubicBezTo>
                                            <a:cubicBezTo>
                                              <a:pt x="2805" y="69188"/>
                                              <a:pt x="5400" y="71421"/>
                                              <a:pt x="8415" y="72928"/>
                                            </a:cubicBezTo>
                                            <a:cubicBezTo>
                                              <a:pt x="16244" y="76842"/>
                                              <a:pt x="29237" y="77505"/>
                                              <a:pt x="36464" y="78537"/>
                                            </a:cubicBezTo>
                                            <a:cubicBezTo>
                                              <a:pt x="39269" y="79472"/>
                                              <a:pt x="42788" y="79251"/>
                                              <a:pt x="44879" y="81342"/>
                                            </a:cubicBezTo>
                                            <a:cubicBezTo>
                                              <a:pt x="46970" y="83433"/>
                                              <a:pt x="45278" y="88038"/>
                                              <a:pt x="47684" y="89757"/>
                                            </a:cubicBezTo>
                                            <a:cubicBezTo>
                                              <a:pt x="52496" y="93194"/>
                                              <a:pt x="58903" y="93497"/>
                                              <a:pt x="64513" y="95367"/>
                                            </a:cubicBezTo>
                                            <a:lnTo>
                                              <a:pt x="72928" y="98172"/>
                                            </a:lnTo>
                                            <a:cubicBezTo>
                                              <a:pt x="75733" y="99107"/>
                                              <a:pt x="78475" y="100260"/>
                                              <a:pt x="81343" y="100977"/>
                                            </a:cubicBezTo>
                                            <a:cubicBezTo>
                                              <a:pt x="85083" y="101912"/>
                                              <a:pt x="88746" y="103237"/>
                                              <a:pt x="92562" y="103782"/>
                                            </a:cubicBezTo>
                                            <a:cubicBezTo>
                                              <a:pt x="101864" y="105111"/>
                                              <a:pt x="111262" y="105651"/>
                                              <a:pt x="120612" y="106586"/>
                                            </a:cubicBezTo>
                                            <a:cubicBezTo>
                                              <a:pt x="151233" y="127003"/>
                                              <a:pt x="104027" y="96891"/>
                                              <a:pt x="140246" y="115001"/>
                                            </a:cubicBezTo>
                                            <a:cubicBezTo>
                                              <a:pt x="146276" y="118016"/>
                                              <a:pt x="151465" y="122481"/>
                                              <a:pt x="157075" y="126221"/>
                                            </a:cubicBezTo>
                                            <a:cubicBezTo>
                                              <a:pt x="159880" y="128091"/>
                                              <a:pt x="162292" y="130765"/>
                                              <a:pt x="165490" y="131831"/>
                                            </a:cubicBezTo>
                                            <a:cubicBezTo>
                                              <a:pt x="168295" y="132766"/>
                                              <a:pt x="171260" y="133314"/>
                                              <a:pt x="173905" y="134636"/>
                                            </a:cubicBezTo>
                                            <a:cubicBezTo>
                                              <a:pt x="176920" y="136143"/>
                                              <a:pt x="179122" y="139179"/>
                                              <a:pt x="182320" y="140245"/>
                                            </a:cubicBezTo>
                                            <a:cubicBezTo>
                                              <a:pt x="187174" y="141863"/>
                                              <a:pt x="219233" y="145561"/>
                                              <a:pt x="221588" y="145855"/>
                                            </a:cubicBezTo>
                                            <a:cubicBezTo>
                                              <a:pt x="227198" y="147725"/>
                                              <a:pt x="235138" y="146544"/>
                                              <a:pt x="238418" y="151465"/>
                                            </a:cubicBezTo>
                                            <a:cubicBezTo>
                                              <a:pt x="254499" y="175591"/>
                                              <a:pt x="235214" y="145060"/>
                                              <a:pt x="246832" y="168294"/>
                                            </a:cubicBezTo>
                                            <a:cubicBezTo>
                                              <a:pt x="250738" y="176105"/>
                                              <a:pt x="254653" y="178920"/>
                                              <a:pt x="260857" y="185124"/>
                                            </a:cubicBezTo>
                                            <a:cubicBezTo>
                                              <a:pt x="261934" y="191588"/>
                                              <a:pt x="263015" y="203463"/>
                                              <a:pt x="266467" y="210368"/>
                                            </a:cubicBezTo>
                                            <a:cubicBezTo>
                                              <a:pt x="267975" y="213383"/>
                                              <a:pt x="269919" y="216193"/>
                                              <a:pt x="272077" y="218783"/>
                                            </a:cubicBezTo>
                                            <a:cubicBezTo>
                                              <a:pt x="274616" y="221830"/>
                                              <a:pt x="277686" y="224393"/>
                                              <a:pt x="280491" y="227198"/>
                                            </a:cubicBezTo>
                                            <a:cubicBezTo>
                                              <a:pt x="287214" y="247365"/>
                                              <a:pt x="279059" y="222187"/>
                                              <a:pt x="286101" y="246832"/>
                                            </a:cubicBezTo>
                                            <a:cubicBezTo>
                                              <a:pt x="286913" y="249675"/>
                                              <a:pt x="287470" y="252662"/>
                                              <a:pt x="288906" y="255247"/>
                                            </a:cubicBezTo>
                                            <a:cubicBezTo>
                                              <a:pt x="304981" y="284181"/>
                                              <a:pt x="296584" y="261450"/>
                                              <a:pt x="302931" y="280491"/>
                                            </a:cubicBezTo>
                                            <a:lnTo>
                                              <a:pt x="297321" y="297320"/>
                                            </a:lnTo>
                                            <a:lnTo>
                                              <a:pt x="294516" y="305735"/>
                                            </a:lnTo>
                                            <a:cubicBezTo>
                                              <a:pt x="297554" y="342189"/>
                                              <a:pt x="287503" y="345471"/>
                                              <a:pt x="286101" y="353418"/>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94" name="Freeform 193"/>
                                    <p:cNvSpPr/>
                                    <p:nvPr/>
                                  </p:nvSpPr>
                                  <p:spPr>
                                    <a:xfrm>
                                      <a:off x="7814394" y="5166640"/>
                                      <a:ext cx="510573" cy="379617"/>
                                    </a:xfrm>
                                    <a:custGeom>
                                      <a:avLst/>
                                      <a:gdLst>
                                        <a:gd name="connsiteX0" fmla="*/ 188008 w 510573"/>
                                        <a:gd name="connsiteY0" fmla="*/ 0 h 379617"/>
                                        <a:gd name="connsiteX1" fmla="*/ 188008 w 510573"/>
                                        <a:gd name="connsiteY1" fmla="*/ 0 h 379617"/>
                                        <a:gd name="connsiteX2" fmla="*/ 159959 w 510573"/>
                                        <a:gd name="connsiteY2" fmla="*/ 19635 h 379617"/>
                                        <a:gd name="connsiteX3" fmla="*/ 143130 w 510573"/>
                                        <a:gd name="connsiteY3" fmla="*/ 28050 h 379617"/>
                                        <a:gd name="connsiteX4" fmla="*/ 117886 w 510573"/>
                                        <a:gd name="connsiteY4" fmla="*/ 30854 h 379617"/>
                                        <a:gd name="connsiteX5" fmla="*/ 84227 w 510573"/>
                                        <a:gd name="connsiteY5" fmla="*/ 28050 h 379617"/>
                                        <a:gd name="connsiteX6" fmla="*/ 75812 w 510573"/>
                                        <a:gd name="connsiteY6" fmla="*/ 25245 h 379617"/>
                                        <a:gd name="connsiteX7" fmla="*/ 70202 w 510573"/>
                                        <a:gd name="connsiteY7" fmla="*/ 42074 h 379617"/>
                                        <a:gd name="connsiteX8" fmla="*/ 67397 w 510573"/>
                                        <a:gd name="connsiteY8" fmla="*/ 50489 h 379617"/>
                                        <a:gd name="connsiteX9" fmla="*/ 58983 w 510573"/>
                                        <a:gd name="connsiteY9" fmla="*/ 67318 h 379617"/>
                                        <a:gd name="connsiteX10" fmla="*/ 30934 w 510573"/>
                                        <a:gd name="connsiteY10" fmla="*/ 72928 h 379617"/>
                                        <a:gd name="connsiteX11" fmla="*/ 14104 w 510573"/>
                                        <a:gd name="connsiteY11" fmla="*/ 78538 h 379617"/>
                                        <a:gd name="connsiteX12" fmla="*/ 5689 w 510573"/>
                                        <a:gd name="connsiteY12" fmla="*/ 81343 h 379617"/>
                                        <a:gd name="connsiteX13" fmla="*/ 80 w 510573"/>
                                        <a:gd name="connsiteY13" fmla="*/ 89758 h 379617"/>
                                        <a:gd name="connsiteX14" fmla="*/ 19714 w 510573"/>
                                        <a:gd name="connsiteY14" fmla="*/ 109392 h 379617"/>
                                        <a:gd name="connsiteX15" fmla="*/ 22519 w 510573"/>
                                        <a:gd name="connsiteY15" fmla="*/ 126221 h 379617"/>
                                        <a:gd name="connsiteX16" fmla="*/ 28129 w 510573"/>
                                        <a:gd name="connsiteY16" fmla="*/ 134636 h 379617"/>
                                        <a:gd name="connsiteX17" fmla="*/ 30934 w 510573"/>
                                        <a:gd name="connsiteY17" fmla="*/ 148661 h 379617"/>
                                        <a:gd name="connsiteX18" fmla="*/ 39348 w 510573"/>
                                        <a:gd name="connsiteY18" fmla="*/ 151466 h 379617"/>
                                        <a:gd name="connsiteX19" fmla="*/ 42153 w 510573"/>
                                        <a:gd name="connsiteY19" fmla="*/ 204759 h 379617"/>
                                        <a:gd name="connsiteX20" fmla="*/ 47763 w 510573"/>
                                        <a:gd name="connsiteY20" fmla="*/ 213173 h 379617"/>
                                        <a:gd name="connsiteX21" fmla="*/ 50568 w 510573"/>
                                        <a:gd name="connsiteY21" fmla="*/ 221588 h 379617"/>
                                        <a:gd name="connsiteX22" fmla="*/ 58983 w 510573"/>
                                        <a:gd name="connsiteY22" fmla="*/ 224393 h 379617"/>
                                        <a:gd name="connsiteX23" fmla="*/ 73007 w 510573"/>
                                        <a:gd name="connsiteY23" fmla="*/ 238418 h 379617"/>
                                        <a:gd name="connsiteX24" fmla="*/ 78617 w 510573"/>
                                        <a:gd name="connsiteY24" fmla="*/ 246832 h 379617"/>
                                        <a:gd name="connsiteX25" fmla="*/ 95446 w 510573"/>
                                        <a:gd name="connsiteY25" fmla="*/ 252442 h 379617"/>
                                        <a:gd name="connsiteX26" fmla="*/ 120691 w 510573"/>
                                        <a:gd name="connsiteY26" fmla="*/ 244027 h 379617"/>
                                        <a:gd name="connsiteX27" fmla="*/ 129105 w 510573"/>
                                        <a:gd name="connsiteY27" fmla="*/ 241223 h 379617"/>
                                        <a:gd name="connsiteX28" fmla="*/ 179594 w 510573"/>
                                        <a:gd name="connsiteY28" fmla="*/ 244027 h 379617"/>
                                        <a:gd name="connsiteX29" fmla="*/ 185204 w 510573"/>
                                        <a:gd name="connsiteY29" fmla="*/ 252442 h 379617"/>
                                        <a:gd name="connsiteX30" fmla="*/ 202033 w 510573"/>
                                        <a:gd name="connsiteY30" fmla="*/ 258052 h 379617"/>
                                        <a:gd name="connsiteX31" fmla="*/ 218862 w 510573"/>
                                        <a:gd name="connsiteY31" fmla="*/ 266467 h 379617"/>
                                        <a:gd name="connsiteX32" fmla="*/ 221667 w 510573"/>
                                        <a:gd name="connsiteY32" fmla="*/ 274881 h 379617"/>
                                        <a:gd name="connsiteX33" fmla="*/ 246912 w 510573"/>
                                        <a:gd name="connsiteY33" fmla="*/ 266467 h 379617"/>
                                        <a:gd name="connsiteX34" fmla="*/ 258131 w 510573"/>
                                        <a:gd name="connsiteY34" fmla="*/ 263662 h 379617"/>
                                        <a:gd name="connsiteX35" fmla="*/ 283375 w 510573"/>
                                        <a:gd name="connsiteY35" fmla="*/ 269272 h 379617"/>
                                        <a:gd name="connsiteX36" fmla="*/ 300205 w 510573"/>
                                        <a:gd name="connsiteY36" fmla="*/ 277686 h 379617"/>
                                        <a:gd name="connsiteX37" fmla="*/ 353498 w 510573"/>
                                        <a:gd name="connsiteY37" fmla="*/ 274881 h 379617"/>
                                        <a:gd name="connsiteX38" fmla="*/ 359108 w 510573"/>
                                        <a:gd name="connsiteY38" fmla="*/ 266467 h 379617"/>
                                        <a:gd name="connsiteX39" fmla="*/ 375937 w 510573"/>
                                        <a:gd name="connsiteY39" fmla="*/ 258052 h 379617"/>
                                        <a:gd name="connsiteX40" fmla="*/ 384352 w 510573"/>
                                        <a:gd name="connsiteY40" fmla="*/ 260857 h 379617"/>
                                        <a:gd name="connsiteX41" fmla="*/ 392767 w 510573"/>
                                        <a:gd name="connsiteY41" fmla="*/ 294516 h 379617"/>
                                        <a:gd name="connsiteX42" fmla="*/ 401181 w 510573"/>
                                        <a:gd name="connsiteY42" fmla="*/ 297321 h 379617"/>
                                        <a:gd name="connsiteX43" fmla="*/ 412401 w 510573"/>
                                        <a:gd name="connsiteY43" fmla="*/ 300126 h 379617"/>
                                        <a:gd name="connsiteX44" fmla="*/ 429231 w 510573"/>
                                        <a:gd name="connsiteY44" fmla="*/ 305735 h 379617"/>
                                        <a:gd name="connsiteX45" fmla="*/ 443255 w 510573"/>
                                        <a:gd name="connsiteY45" fmla="*/ 319760 h 379617"/>
                                        <a:gd name="connsiteX46" fmla="*/ 446060 w 510573"/>
                                        <a:gd name="connsiteY46" fmla="*/ 333785 h 379617"/>
                                        <a:gd name="connsiteX47" fmla="*/ 454475 w 510573"/>
                                        <a:gd name="connsiteY47" fmla="*/ 350614 h 379617"/>
                                        <a:gd name="connsiteX48" fmla="*/ 471304 w 510573"/>
                                        <a:gd name="connsiteY48" fmla="*/ 359029 h 379617"/>
                                        <a:gd name="connsiteX49" fmla="*/ 479719 w 510573"/>
                                        <a:gd name="connsiteY49" fmla="*/ 364639 h 379617"/>
                                        <a:gd name="connsiteX50" fmla="*/ 490939 w 510573"/>
                                        <a:gd name="connsiteY50" fmla="*/ 378663 h 379617"/>
                                        <a:gd name="connsiteX51" fmla="*/ 496548 w 510573"/>
                                        <a:gd name="connsiteY51" fmla="*/ 361834 h 379617"/>
                                        <a:gd name="connsiteX52" fmla="*/ 502158 w 510573"/>
                                        <a:gd name="connsiteY52" fmla="*/ 353419 h 379617"/>
                                        <a:gd name="connsiteX53" fmla="*/ 510573 w 510573"/>
                                        <a:gd name="connsiteY53" fmla="*/ 350614 h 379617"/>
                                        <a:gd name="connsiteX54" fmla="*/ 507768 w 510573"/>
                                        <a:gd name="connsiteY54" fmla="*/ 336589 h 379617"/>
                                        <a:gd name="connsiteX55" fmla="*/ 499353 w 510573"/>
                                        <a:gd name="connsiteY55" fmla="*/ 330980 h 379617"/>
                                        <a:gd name="connsiteX56" fmla="*/ 485329 w 510573"/>
                                        <a:gd name="connsiteY56" fmla="*/ 319760 h 379617"/>
                                        <a:gd name="connsiteX57" fmla="*/ 482524 w 510573"/>
                                        <a:gd name="connsiteY57" fmla="*/ 311345 h 379617"/>
                                        <a:gd name="connsiteX58" fmla="*/ 476914 w 510573"/>
                                        <a:gd name="connsiteY58" fmla="*/ 302931 h 379617"/>
                                        <a:gd name="connsiteX59" fmla="*/ 471304 w 510573"/>
                                        <a:gd name="connsiteY59" fmla="*/ 286101 h 379617"/>
                                        <a:gd name="connsiteX60" fmla="*/ 474109 w 510573"/>
                                        <a:gd name="connsiteY60" fmla="*/ 263662 h 379617"/>
                                        <a:gd name="connsiteX61" fmla="*/ 471304 w 510573"/>
                                        <a:gd name="connsiteY61" fmla="*/ 255247 h 379617"/>
                                        <a:gd name="connsiteX62" fmla="*/ 454475 w 510573"/>
                                        <a:gd name="connsiteY62" fmla="*/ 249637 h 379617"/>
                                        <a:gd name="connsiteX63" fmla="*/ 451670 w 510573"/>
                                        <a:gd name="connsiteY63" fmla="*/ 235613 h 379617"/>
                                        <a:gd name="connsiteX64" fmla="*/ 429231 w 510573"/>
                                        <a:gd name="connsiteY64" fmla="*/ 227198 h 379617"/>
                                        <a:gd name="connsiteX65" fmla="*/ 426426 w 510573"/>
                                        <a:gd name="connsiteY65" fmla="*/ 215978 h 379617"/>
                                        <a:gd name="connsiteX66" fmla="*/ 409596 w 510573"/>
                                        <a:gd name="connsiteY66" fmla="*/ 210369 h 379617"/>
                                        <a:gd name="connsiteX67" fmla="*/ 392767 w 510573"/>
                                        <a:gd name="connsiteY67" fmla="*/ 199149 h 379617"/>
                                        <a:gd name="connsiteX68" fmla="*/ 373132 w 510573"/>
                                        <a:gd name="connsiteY68" fmla="*/ 193539 h 379617"/>
                                        <a:gd name="connsiteX69" fmla="*/ 345083 w 510573"/>
                                        <a:gd name="connsiteY69" fmla="*/ 187929 h 379617"/>
                                        <a:gd name="connsiteX70" fmla="*/ 339473 w 510573"/>
                                        <a:gd name="connsiteY70" fmla="*/ 165490 h 379617"/>
                                        <a:gd name="connsiteX71" fmla="*/ 356303 w 510573"/>
                                        <a:gd name="connsiteY71" fmla="*/ 154270 h 379617"/>
                                        <a:gd name="connsiteX72" fmla="*/ 361913 w 510573"/>
                                        <a:gd name="connsiteY72" fmla="*/ 145856 h 379617"/>
                                        <a:gd name="connsiteX73" fmla="*/ 350693 w 510573"/>
                                        <a:gd name="connsiteY73" fmla="*/ 129026 h 379617"/>
                                        <a:gd name="connsiteX74" fmla="*/ 319839 w 510573"/>
                                        <a:gd name="connsiteY74" fmla="*/ 120612 h 379617"/>
                                        <a:gd name="connsiteX75" fmla="*/ 303010 w 510573"/>
                                        <a:gd name="connsiteY75" fmla="*/ 115002 h 379617"/>
                                        <a:gd name="connsiteX76" fmla="*/ 294595 w 510573"/>
                                        <a:gd name="connsiteY76" fmla="*/ 112197 h 379617"/>
                                        <a:gd name="connsiteX77" fmla="*/ 269351 w 510573"/>
                                        <a:gd name="connsiteY77" fmla="*/ 98172 h 379617"/>
                                        <a:gd name="connsiteX78" fmla="*/ 260936 w 510573"/>
                                        <a:gd name="connsiteY78" fmla="*/ 81343 h 379617"/>
                                        <a:gd name="connsiteX79" fmla="*/ 269351 w 510573"/>
                                        <a:gd name="connsiteY79" fmla="*/ 58904 h 379617"/>
                                        <a:gd name="connsiteX80" fmla="*/ 277766 w 510573"/>
                                        <a:gd name="connsiteY80" fmla="*/ 53294 h 379617"/>
                                        <a:gd name="connsiteX81" fmla="*/ 280570 w 510573"/>
                                        <a:gd name="connsiteY81" fmla="*/ 44879 h 379617"/>
                                        <a:gd name="connsiteX82" fmla="*/ 277766 w 510573"/>
                                        <a:gd name="connsiteY82" fmla="*/ 33659 h 379617"/>
                                        <a:gd name="connsiteX83" fmla="*/ 260936 w 510573"/>
                                        <a:gd name="connsiteY83" fmla="*/ 25245 h 379617"/>
                                        <a:gd name="connsiteX84" fmla="*/ 238497 w 510573"/>
                                        <a:gd name="connsiteY84" fmla="*/ 28050 h 379617"/>
                                        <a:gd name="connsiteX85" fmla="*/ 230082 w 510573"/>
                                        <a:gd name="connsiteY85" fmla="*/ 30854 h 379617"/>
                                        <a:gd name="connsiteX86" fmla="*/ 202033 w 510573"/>
                                        <a:gd name="connsiteY86" fmla="*/ 28050 h 379617"/>
                                        <a:gd name="connsiteX87" fmla="*/ 193618 w 510573"/>
                                        <a:gd name="connsiteY87" fmla="*/ 22440 h 379617"/>
                                        <a:gd name="connsiteX88" fmla="*/ 190813 w 510573"/>
                                        <a:gd name="connsiteY88" fmla="*/ 14025 h 379617"/>
                                        <a:gd name="connsiteX89" fmla="*/ 188008 w 510573"/>
                                        <a:gd name="connsiteY89" fmla="*/ 0 h 37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10573" h="379617">
                                          <a:moveTo>
                                            <a:pt x="188008" y="0"/>
                                          </a:moveTo>
                                          <a:lnTo>
                                            <a:pt x="188008" y="0"/>
                                          </a:lnTo>
                                          <a:lnTo>
                                            <a:pt x="159959" y="19635"/>
                                          </a:lnTo>
                                          <a:cubicBezTo>
                                            <a:pt x="153813" y="23890"/>
                                            <a:pt x="150596" y="26806"/>
                                            <a:pt x="143130" y="28050"/>
                                          </a:cubicBezTo>
                                          <a:cubicBezTo>
                                            <a:pt x="134779" y="29442"/>
                                            <a:pt x="126301" y="29919"/>
                                            <a:pt x="117886" y="30854"/>
                                          </a:cubicBezTo>
                                          <a:cubicBezTo>
                                            <a:pt x="106666" y="29919"/>
                                            <a:pt x="95387" y="29538"/>
                                            <a:pt x="84227" y="28050"/>
                                          </a:cubicBezTo>
                                          <a:cubicBezTo>
                                            <a:pt x="81296" y="27659"/>
                                            <a:pt x="77903" y="23154"/>
                                            <a:pt x="75812" y="25245"/>
                                          </a:cubicBezTo>
                                          <a:cubicBezTo>
                                            <a:pt x="71631" y="29426"/>
                                            <a:pt x="72072" y="36464"/>
                                            <a:pt x="70202" y="42074"/>
                                          </a:cubicBezTo>
                                          <a:lnTo>
                                            <a:pt x="67397" y="50489"/>
                                          </a:lnTo>
                                          <a:cubicBezTo>
                                            <a:pt x="65797" y="55291"/>
                                            <a:pt x="63646" y="64210"/>
                                            <a:pt x="58983" y="67318"/>
                                          </a:cubicBezTo>
                                          <a:cubicBezTo>
                                            <a:pt x="56186" y="69183"/>
                                            <a:pt x="31001" y="72911"/>
                                            <a:pt x="30934" y="72928"/>
                                          </a:cubicBezTo>
                                          <a:cubicBezTo>
                                            <a:pt x="25197" y="74362"/>
                                            <a:pt x="19714" y="76668"/>
                                            <a:pt x="14104" y="78538"/>
                                          </a:cubicBezTo>
                                          <a:lnTo>
                                            <a:pt x="5689" y="81343"/>
                                          </a:lnTo>
                                          <a:cubicBezTo>
                                            <a:pt x="3819" y="84148"/>
                                            <a:pt x="-651" y="86467"/>
                                            <a:pt x="80" y="89758"/>
                                          </a:cubicBezTo>
                                          <a:cubicBezTo>
                                            <a:pt x="3681" y="105961"/>
                                            <a:pt x="8963" y="105808"/>
                                            <a:pt x="19714" y="109392"/>
                                          </a:cubicBezTo>
                                          <a:cubicBezTo>
                                            <a:pt x="20649" y="115002"/>
                                            <a:pt x="20721" y="120826"/>
                                            <a:pt x="22519" y="126221"/>
                                          </a:cubicBezTo>
                                          <a:cubicBezTo>
                                            <a:pt x="23585" y="129419"/>
                                            <a:pt x="26945" y="131479"/>
                                            <a:pt x="28129" y="134636"/>
                                          </a:cubicBezTo>
                                          <a:cubicBezTo>
                                            <a:pt x="29803" y="139100"/>
                                            <a:pt x="28290" y="144694"/>
                                            <a:pt x="30934" y="148661"/>
                                          </a:cubicBezTo>
                                          <a:cubicBezTo>
                                            <a:pt x="32574" y="151121"/>
                                            <a:pt x="36543" y="150531"/>
                                            <a:pt x="39348" y="151466"/>
                                          </a:cubicBezTo>
                                          <a:cubicBezTo>
                                            <a:pt x="40283" y="169230"/>
                                            <a:pt x="39749" y="187133"/>
                                            <a:pt x="42153" y="204759"/>
                                          </a:cubicBezTo>
                                          <a:cubicBezTo>
                                            <a:pt x="42608" y="208099"/>
                                            <a:pt x="46255" y="210158"/>
                                            <a:pt x="47763" y="213173"/>
                                          </a:cubicBezTo>
                                          <a:cubicBezTo>
                                            <a:pt x="49085" y="215818"/>
                                            <a:pt x="48477" y="219497"/>
                                            <a:pt x="50568" y="221588"/>
                                          </a:cubicBezTo>
                                          <a:cubicBezTo>
                                            <a:pt x="52659" y="223679"/>
                                            <a:pt x="56178" y="223458"/>
                                            <a:pt x="58983" y="224393"/>
                                          </a:cubicBezTo>
                                          <a:cubicBezTo>
                                            <a:pt x="73941" y="246830"/>
                                            <a:pt x="54311" y="219722"/>
                                            <a:pt x="73007" y="238418"/>
                                          </a:cubicBezTo>
                                          <a:cubicBezTo>
                                            <a:pt x="75391" y="240802"/>
                                            <a:pt x="75758" y="245045"/>
                                            <a:pt x="78617" y="246832"/>
                                          </a:cubicBezTo>
                                          <a:cubicBezTo>
                                            <a:pt x="83631" y="249966"/>
                                            <a:pt x="95446" y="252442"/>
                                            <a:pt x="95446" y="252442"/>
                                          </a:cubicBezTo>
                                          <a:lnTo>
                                            <a:pt x="120691" y="244027"/>
                                          </a:lnTo>
                                          <a:lnTo>
                                            <a:pt x="129105" y="241223"/>
                                          </a:lnTo>
                                          <a:cubicBezTo>
                                            <a:pt x="145935" y="242158"/>
                                            <a:pt x="163066" y="240722"/>
                                            <a:pt x="179594" y="244027"/>
                                          </a:cubicBezTo>
                                          <a:cubicBezTo>
                                            <a:pt x="182900" y="244688"/>
                                            <a:pt x="182345" y="250655"/>
                                            <a:pt x="185204" y="252442"/>
                                          </a:cubicBezTo>
                                          <a:cubicBezTo>
                                            <a:pt x="190218" y="255576"/>
                                            <a:pt x="197113" y="254772"/>
                                            <a:pt x="202033" y="258052"/>
                                          </a:cubicBezTo>
                                          <a:cubicBezTo>
                                            <a:pt x="212908" y="265302"/>
                                            <a:pt x="207250" y="262596"/>
                                            <a:pt x="218862" y="266467"/>
                                          </a:cubicBezTo>
                                          <a:cubicBezTo>
                                            <a:pt x="219797" y="269272"/>
                                            <a:pt x="219576" y="272791"/>
                                            <a:pt x="221667" y="274881"/>
                                          </a:cubicBezTo>
                                          <a:cubicBezTo>
                                            <a:pt x="231399" y="284612"/>
                                            <a:pt x="239204" y="268394"/>
                                            <a:pt x="246912" y="266467"/>
                                          </a:cubicBezTo>
                                          <a:lnTo>
                                            <a:pt x="258131" y="263662"/>
                                          </a:lnTo>
                                          <a:cubicBezTo>
                                            <a:pt x="264599" y="264740"/>
                                            <a:pt x="276468" y="265819"/>
                                            <a:pt x="283375" y="269272"/>
                                          </a:cubicBezTo>
                                          <a:cubicBezTo>
                                            <a:pt x="305122" y="280145"/>
                                            <a:pt x="279057" y="270637"/>
                                            <a:pt x="300205" y="277686"/>
                                          </a:cubicBezTo>
                                          <a:cubicBezTo>
                                            <a:pt x="317969" y="276751"/>
                                            <a:pt x="336023" y="278209"/>
                                            <a:pt x="353498" y="274881"/>
                                          </a:cubicBezTo>
                                          <a:cubicBezTo>
                                            <a:pt x="356809" y="274250"/>
                                            <a:pt x="356724" y="268851"/>
                                            <a:pt x="359108" y="266467"/>
                                          </a:cubicBezTo>
                                          <a:cubicBezTo>
                                            <a:pt x="364546" y="261030"/>
                                            <a:pt x="369093" y="260334"/>
                                            <a:pt x="375937" y="258052"/>
                                          </a:cubicBezTo>
                                          <a:cubicBezTo>
                                            <a:pt x="378742" y="258987"/>
                                            <a:pt x="382043" y="259010"/>
                                            <a:pt x="384352" y="260857"/>
                                          </a:cubicBezTo>
                                          <a:cubicBezTo>
                                            <a:pt x="395251" y="269577"/>
                                            <a:pt x="388100" y="282848"/>
                                            <a:pt x="392767" y="294516"/>
                                          </a:cubicBezTo>
                                          <a:cubicBezTo>
                                            <a:pt x="393865" y="297261"/>
                                            <a:pt x="398338" y="296509"/>
                                            <a:pt x="401181" y="297321"/>
                                          </a:cubicBezTo>
                                          <a:cubicBezTo>
                                            <a:pt x="404888" y="298380"/>
                                            <a:pt x="408708" y="299018"/>
                                            <a:pt x="412401" y="300126"/>
                                          </a:cubicBezTo>
                                          <a:cubicBezTo>
                                            <a:pt x="418065" y="301825"/>
                                            <a:pt x="429231" y="305735"/>
                                            <a:pt x="429231" y="305735"/>
                                          </a:cubicBezTo>
                                          <a:cubicBezTo>
                                            <a:pt x="436087" y="310306"/>
                                            <a:pt x="440139" y="311450"/>
                                            <a:pt x="443255" y="319760"/>
                                          </a:cubicBezTo>
                                          <a:cubicBezTo>
                                            <a:pt x="444929" y="324224"/>
                                            <a:pt x="444904" y="329160"/>
                                            <a:pt x="446060" y="333785"/>
                                          </a:cubicBezTo>
                                          <a:cubicBezTo>
                                            <a:pt x="447581" y="339868"/>
                                            <a:pt x="449905" y="346044"/>
                                            <a:pt x="454475" y="350614"/>
                                          </a:cubicBezTo>
                                          <a:cubicBezTo>
                                            <a:pt x="462513" y="358653"/>
                                            <a:pt x="462178" y="354466"/>
                                            <a:pt x="471304" y="359029"/>
                                          </a:cubicBezTo>
                                          <a:cubicBezTo>
                                            <a:pt x="474319" y="360537"/>
                                            <a:pt x="476914" y="362769"/>
                                            <a:pt x="479719" y="364639"/>
                                          </a:cubicBezTo>
                                          <a:cubicBezTo>
                                            <a:pt x="479909" y="365209"/>
                                            <a:pt x="484262" y="384005"/>
                                            <a:pt x="490939" y="378663"/>
                                          </a:cubicBezTo>
                                          <a:cubicBezTo>
                                            <a:pt x="495556" y="374969"/>
                                            <a:pt x="493268" y="366754"/>
                                            <a:pt x="496548" y="361834"/>
                                          </a:cubicBezTo>
                                          <a:cubicBezTo>
                                            <a:pt x="498418" y="359029"/>
                                            <a:pt x="499526" y="355525"/>
                                            <a:pt x="502158" y="353419"/>
                                          </a:cubicBezTo>
                                          <a:cubicBezTo>
                                            <a:pt x="504467" y="351572"/>
                                            <a:pt x="507768" y="351549"/>
                                            <a:pt x="510573" y="350614"/>
                                          </a:cubicBezTo>
                                          <a:cubicBezTo>
                                            <a:pt x="509638" y="345939"/>
                                            <a:pt x="510133" y="340728"/>
                                            <a:pt x="507768" y="336589"/>
                                          </a:cubicBezTo>
                                          <a:cubicBezTo>
                                            <a:pt x="506095" y="333662"/>
                                            <a:pt x="501737" y="333364"/>
                                            <a:pt x="499353" y="330980"/>
                                          </a:cubicBezTo>
                                          <a:cubicBezTo>
                                            <a:pt x="486664" y="318292"/>
                                            <a:pt x="501711" y="325221"/>
                                            <a:pt x="485329" y="319760"/>
                                          </a:cubicBezTo>
                                          <a:cubicBezTo>
                                            <a:pt x="484394" y="316955"/>
                                            <a:pt x="483846" y="313990"/>
                                            <a:pt x="482524" y="311345"/>
                                          </a:cubicBezTo>
                                          <a:cubicBezTo>
                                            <a:pt x="481016" y="308330"/>
                                            <a:pt x="478283" y="306011"/>
                                            <a:pt x="476914" y="302931"/>
                                          </a:cubicBezTo>
                                          <a:cubicBezTo>
                                            <a:pt x="474512" y="297527"/>
                                            <a:pt x="471304" y="286101"/>
                                            <a:pt x="471304" y="286101"/>
                                          </a:cubicBezTo>
                                          <a:cubicBezTo>
                                            <a:pt x="472239" y="278621"/>
                                            <a:pt x="474109" y="271200"/>
                                            <a:pt x="474109" y="263662"/>
                                          </a:cubicBezTo>
                                          <a:cubicBezTo>
                                            <a:pt x="474109" y="260705"/>
                                            <a:pt x="473710" y="256966"/>
                                            <a:pt x="471304" y="255247"/>
                                          </a:cubicBezTo>
                                          <a:cubicBezTo>
                                            <a:pt x="466492" y="251810"/>
                                            <a:pt x="454475" y="249637"/>
                                            <a:pt x="454475" y="249637"/>
                                          </a:cubicBezTo>
                                          <a:cubicBezTo>
                                            <a:pt x="453540" y="244962"/>
                                            <a:pt x="454035" y="239752"/>
                                            <a:pt x="451670" y="235613"/>
                                          </a:cubicBezTo>
                                          <a:cubicBezTo>
                                            <a:pt x="447942" y="229089"/>
                                            <a:pt x="434323" y="228217"/>
                                            <a:pt x="429231" y="227198"/>
                                          </a:cubicBezTo>
                                          <a:cubicBezTo>
                                            <a:pt x="428296" y="223458"/>
                                            <a:pt x="429353" y="218487"/>
                                            <a:pt x="426426" y="215978"/>
                                          </a:cubicBezTo>
                                          <a:cubicBezTo>
                                            <a:pt x="421936" y="212130"/>
                                            <a:pt x="409596" y="210369"/>
                                            <a:pt x="409596" y="210369"/>
                                          </a:cubicBezTo>
                                          <a:cubicBezTo>
                                            <a:pt x="403986" y="206629"/>
                                            <a:pt x="399163" y="201281"/>
                                            <a:pt x="392767" y="199149"/>
                                          </a:cubicBezTo>
                                          <a:cubicBezTo>
                                            <a:pt x="384746" y="196475"/>
                                            <a:pt x="381938" y="195300"/>
                                            <a:pt x="373132" y="193539"/>
                                          </a:cubicBezTo>
                                          <a:cubicBezTo>
                                            <a:pt x="338745" y="186661"/>
                                            <a:pt x="371145" y="194444"/>
                                            <a:pt x="345083" y="187929"/>
                                          </a:cubicBezTo>
                                          <a:cubicBezTo>
                                            <a:pt x="336281" y="182061"/>
                                            <a:pt x="328785" y="180759"/>
                                            <a:pt x="339473" y="165490"/>
                                          </a:cubicBezTo>
                                          <a:cubicBezTo>
                                            <a:pt x="343339" y="159966"/>
                                            <a:pt x="356303" y="154270"/>
                                            <a:pt x="356303" y="154270"/>
                                          </a:cubicBezTo>
                                          <a:cubicBezTo>
                                            <a:pt x="358173" y="151465"/>
                                            <a:pt x="361359" y="149181"/>
                                            <a:pt x="361913" y="145856"/>
                                          </a:cubicBezTo>
                                          <a:cubicBezTo>
                                            <a:pt x="362896" y="139959"/>
                                            <a:pt x="354434" y="131104"/>
                                            <a:pt x="350693" y="129026"/>
                                          </a:cubicBezTo>
                                          <a:cubicBezTo>
                                            <a:pt x="339790" y="122968"/>
                                            <a:pt x="331238" y="123721"/>
                                            <a:pt x="319839" y="120612"/>
                                          </a:cubicBezTo>
                                          <a:cubicBezTo>
                                            <a:pt x="314134" y="119056"/>
                                            <a:pt x="308620" y="116872"/>
                                            <a:pt x="303010" y="115002"/>
                                          </a:cubicBezTo>
                                          <a:cubicBezTo>
                                            <a:pt x="300205" y="114067"/>
                                            <a:pt x="297055" y="113837"/>
                                            <a:pt x="294595" y="112197"/>
                                          </a:cubicBezTo>
                                          <a:cubicBezTo>
                                            <a:pt x="275306" y="99337"/>
                                            <a:pt x="284162" y="103109"/>
                                            <a:pt x="269351" y="98172"/>
                                          </a:cubicBezTo>
                                          <a:cubicBezTo>
                                            <a:pt x="266514" y="93917"/>
                                            <a:pt x="260936" y="87150"/>
                                            <a:pt x="260936" y="81343"/>
                                          </a:cubicBezTo>
                                          <a:cubicBezTo>
                                            <a:pt x="260936" y="73315"/>
                                            <a:pt x="263547" y="64708"/>
                                            <a:pt x="269351" y="58904"/>
                                          </a:cubicBezTo>
                                          <a:cubicBezTo>
                                            <a:pt x="271735" y="56520"/>
                                            <a:pt x="274961" y="55164"/>
                                            <a:pt x="277766" y="53294"/>
                                          </a:cubicBezTo>
                                          <a:cubicBezTo>
                                            <a:pt x="278701" y="50489"/>
                                            <a:pt x="280570" y="47836"/>
                                            <a:pt x="280570" y="44879"/>
                                          </a:cubicBezTo>
                                          <a:cubicBezTo>
                                            <a:pt x="280570" y="41024"/>
                                            <a:pt x="279904" y="36867"/>
                                            <a:pt x="277766" y="33659"/>
                                          </a:cubicBezTo>
                                          <a:cubicBezTo>
                                            <a:pt x="274660" y="29000"/>
                                            <a:pt x="265735" y="26845"/>
                                            <a:pt x="260936" y="25245"/>
                                          </a:cubicBezTo>
                                          <a:cubicBezTo>
                                            <a:pt x="253456" y="26180"/>
                                            <a:pt x="245913" y="26702"/>
                                            <a:pt x="238497" y="28050"/>
                                          </a:cubicBezTo>
                                          <a:cubicBezTo>
                                            <a:pt x="235588" y="28579"/>
                                            <a:pt x="233039" y="30854"/>
                                            <a:pt x="230082" y="30854"/>
                                          </a:cubicBezTo>
                                          <a:cubicBezTo>
                                            <a:pt x="220686" y="30854"/>
                                            <a:pt x="211383" y="28985"/>
                                            <a:pt x="202033" y="28050"/>
                                          </a:cubicBezTo>
                                          <a:cubicBezTo>
                                            <a:pt x="199228" y="26180"/>
                                            <a:pt x="195724" y="25072"/>
                                            <a:pt x="193618" y="22440"/>
                                          </a:cubicBezTo>
                                          <a:cubicBezTo>
                                            <a:pt x="191771" y="20131"/>
                                            <a:pt x="192904" y="16116"/>
                                            <a:pt x="190813" y="14025"/>
                                          </a:cubicBezTo>
                                          <a:cubicBezTo>
                                            <a:pt x="181512" y="4723"/>
                                            <a:pt x="182399" y="10225"/>
                                            <a:pt x="188008" y="0"/>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90" name="Group 189"/>
                                  <p:cNvGrpSpPr/>
                                  <p:nvPr/>
                                </p:nvGrpSpPr>
                                <p:grpSpPr>
                                  <a:xfrm>
                                    <a:off x="8005207" y="4905784"/>
                                    <a:ext cx="732081" cy="645129"/>
                                    <a:chOff x="8005207" y="4905784"/>
                                    <a:chExt cx="732081" cy="645129"/>
                                  </a:xfrm>
                                  <a:grpFill/>
                                </p:grpSpPr>
                                <p:sp>
                                  <p:nvSpPr>
                                    <p:cNvPr id="191" name="Freeform 190"/>
                                    <p:cNvSpPr/>
                                    <p:nvPr/>
                                  </p:nvSpPr>
                                  <p:spPr>
                                    <a:xfrm>
                                      <a:off x="8005207" y="4905784"/>
                                      <a:ext cx="732081" cy="606332"/>
                                    </a:xfrm>
                                    <a:custGeom>
                                      <a:avLst/>
                                      <a:gdLst>
                                        <a:gd name="connsiteX0" fmla="*/ 117806 w 732081"/>
                                        <a:gd name="connsiteY0" fmla="*/ 84147 h 606332"/>
                                        <a:gd name="connsiteX1" fmla="*/ 117806 w 732081"/>
                                        <a:gd name="connsiteY1" fmla="*/ 84147 h 606332"/>
                                        <a:gd name="connsiteX2" fmla="*/ 115002 w 732081"/>
                                        <a:gd name="connsiteY2" fmla="*/ 112196 h 606332"/>
                                        <a:gd name="connsiteX3" fmla="*/ 115002 w 732081"/>
                                        <a:gd name="connsiteY3" fmla="*/ 131831 h 606332"/>
                                        <a:gd name="connsiteX4" fmla="*/ 123416 w 732081"/>
                                        <a:gd name="connsiteY4" fmla="*/ 134636 h 606332"/>
                                        <a:gd name="connsiteX5" fmla="*/ 137441 w 732081"/>
                                        <a:gd name="connsiteY5" fmla="*/ 145855 h 606332"/>
                                        <a:gd name="connsiteX6" fmla="*/ 154270 w 732081"/>
                                        <a:gd name="connsiteY6" fmla="*/ 157075 h 606332"/>
                                        <a:gd name="connsiteX7" fmla="*/ 162685 w 732081"/>
                                        <a:gd name="connsiteY7" fmla="*/ 162685 h 606332"/>
                                        <a:gd name="connsiteX8" fmla="*/ 179514 w 732081"/>
                                        <a:gd name="connsiteY8" fmla="*/ 171099 h 606332"/>
                                        <a:gd name="connsiteX9" fmla="*/ 196344 w 732081"/>
                                        <a:gd name="connsiteY9" fmla="*/ 179514 h 606332"/>
                                        <a:gd name="connsiteX10" fmla="*/ 199149 w 732081"/>
                                        <a:gd name="connsiteY10" fmla="*/ 224393 h 606332"/>
                                        <a:gd name="connsiteX11" fmla="*/ 190734 w 732081"/>
                                        <a:gd name="connsiteY11" fmla="*/ 227198 h 606332"/>
                                        <a:gd name="connsiteX12" fmla="*/ 165490 w 732081"/>
                                        <a:gd name="connsiteY12" fmla="*/ 221588 h 606332"/>
                                        <a:gd name="connsiteX13" fmla="*/ 148660 w 732081"/>
                                        <a:gd name="connsiteY13" fmla="*/ 213173 h 606332"/>
                                        <a:gd name="connsiteX14" fmla="*/ 134636 w 732081"/>
                                        <a:gd name="connsiteY14" fmla="*/ 215978 h 606332"/>
                                        <a:gd name="connsiteX15" fmla="*/ 117806 w 732081"/>
                                        <a:gd name="connsiteY15" fmla="*/ 227198 h 606332"/>
                                        <a:gd name="connsiteX16" fmla="*/ 98172 w 732081"/>
                                        <a:gd name="connsiteY16" fmla="*/ 224393 h 606332"/>
                                        <a:gd name="connsiteX17" fmla="*/ 89757 w 732081"/>
                                        <a:gd name="connsiteY17" fmla="*/ 221588 h 606332"/>
                                        <a:gd name="connsiteX18" fmla="*/ 84148 w 732081"/>
                                        <a:gd name="connsiteY18" fmla="*/ 213173 h 606332"/>
                                        <a:gd name="connsiteX19" fmla="*/ 50489 w 732081"/>
                                        <a:gd name="connsiteY19" fmla="*/ 215978 h 606332"/>
                                        <a:gd name="connsiteX20" fmla="*/ 42074 w 732081"/>
                                        <a:gd name="connsiteY20" fmla="*/ 218783 h 606332"/>
                                        <a:gd name="connsiteX21" fmla="*/ 19635 w 732081"/>
                                        <a:gd name="connsiteY21" fmla="*/ 221588 h 606332"/>
                                        <a:gd name="connsiteX22" fmla="*/ 14025 w 732081"/>
                                        <a:gd name="connsiteY22" fmla="*/ 230003 h 606332"/>
                                        <a:gd name="connsiteX23" fmla="*/ 8415 w 732081"/>
                                        <a:gd name="connsiteY23" fmla="*/ 249637 h 606332"/>
                                        <a:gd name="connsiteX24" fmla="*/ 2805 w 732081"/>
                                        <a:gd name="connsiteY24" fmla="*/ 258052 h 606332"/>
                                        <a:gd name="connsiteX25" fmla="*/ 0 w 732081"/>
                                        <a:gd name="connsiteY25" fmla="*/ 266466 h 606332"/>
                                        <a:gd name="connsiteX26" fmla="*/ 8415 w 732081"/>
                                        <a:gd name="connsiteY26" fmla="*/ 274881 h 606332"/>
                                        <a:gd name="connsiteX27" fmla="*/ 16830 w 732081"/>
                                        <a:gd name="connsiteY27" fmla="*/ 291710 h 606332"/>
                                        <a:gd name="connsiteX28" fmla="*/ 33659 w 732081"/>
                                        <a:gd name="connsiteY28" fmla="*/ 300125 h 606332"/>
                                        <a:gd name="connsiteX29" fmla="*/ 50489 w 732081"/>
                                        <a:gd name="connsiteY29" fmla="*/ 291710 h 606332"/>
                                        <a:gd name="connsiteX30" fmla="*/ 67318 w 732081"/>
                                        <a:gd name="connsiteY30" fmla="*/ 288906 h 606332"/>
                                        <a:gd name="connsiteX31" fmla="*/ 92562 w 732081"/>
                                        <a:gd name="connsiteY31" fmla="*/ 297320 h 606332"/>
                                        <a:gd name="connsiteX32" fmla="*/ 81343 w 732081"/>
                                        <a:gd name="connsiteY32" fmla="*/ 319760 h 606332"/>
                                        <a:gd name="connsiteX33" fmla="*/ 78538 w 732081"/>
                                        <a:gd name="connsiteY33" fmla="*/ 328174 h 606332"/>
                                        <a:gd name="connsiteX34" fmla="*/ 81343 w 732081"/>
                                        <a:gd name="connsiteY34" fmla="*/ 347809 h 606332"/>
                                        <a:gd name="connsiteX35" fmla="*/ 89757 w 732081"/>
                                        <a:gd name="connsiteY35" fmla="*/ 364638 h 606332"/>
                                        <a:gd name="connsiteX36" fmla="*/ 98172 w 732081"/>
                                        <a:gd name="connsiteY36" fmla="*/ 370248 h 606332"/>
                                        <a:gd name="connsiteX37" fmla="*/ 103782 w 732081"/>
                                        <a:gd name="connsiteY37" fmla="*/ 378663 h 606332"/>
                                        <a:gd name="connsiteX38" fmla="*/ 112197 w 732081"/>
                                        <a:gd name="connsiteY38" fmla="*/ 381468 h 606332"/>
                                        <a:gd name="connsiteX39" fmla="*/ 131831 w 732081"/>
                                        <a:gd name="connsiteY39" fmla="*/ 384272 h 606332"/>
                                        <a:gd name="connsiteX40" fmla="*/ 148660 w 732081"/>
                                        <a:gd name="connsiteY40" fmla="*/ 389882 h 606332"/>
                                        <a:gd name="connsiteX41" fmla="*/ 151465 w 732081"/>
                                        <a:gd name="connsiteY41" fmla="*/ 398297 h 606332"/>
                                        <a:gd name="connsiteX42" fmla="*/ 168295 w 732081"/>
                                        <a:gd name="connsiteY42" fmla="*/ 403907 h 606332"/>
                                        <a:gd name="connsiteX43" fmla="*/ 165490 w 732081"/>
                                        <a:gd name="connsiteY43" fmla="*/ 415126 h 606332"/>
                                        <a:gd name="connsiteX44" fmla="*/ 157075 w 732081"/>
                                        <a:gd name="connsiteY44" fmla="*/ 423541 h 606332"/>
                                        <a:gd name="connsiteX45" fmla="*/ 154270 w 732081"/>
                                        <a:gd name="connsiteY45" fmla="*/ 434761 h 606332"/>
                                        <a:gd name="connsiteX46" fmla="*/ 148660 w 732081"/>
                                        <a:gd name="connsiteY46" fmla="*/ 445980 h 606332"/>
                                        <a:gd name="connsiteX47" fmla="*/ 204759 w 732081"/>
                                        <a:gd name="connsiteY47" fmla="*/ 460005 h 606332"/>
                                        <a:gd name="connsiteX48" fmla="*/ 213173 w 732081"/>
                                        <a:gd name="connsiteY48" fmla="*/ 465615 h 606332"/>
                                        <a:gd name="connsiteX49" fmla="*/ 232808 w 732081"/>
                                        <a:gd name="connsiteY49" fmla="*/ 479639 h 606332"/>
                                        <a:gd name="connsiteX50" fmla="*/ 246832 w 732081"/>
                                        <a:gd name="connsiteY50" fmla="*/ 490859 h 606332"/>
                                        <a:gd name="connsiteX51" fmla="*/ 260857 w 732081"/>
                                        <a:gd name="connsiteY51" fmla="*/ 488054 h 606332"/>
                                        <a:gd name="connsiteX52" fmla="*/ 266467 w 732081"/>
                                        <a:gd name="connsiteY52" fmla="*/ 504883 h 606332"/>
                                        <a:gd name="connsiteX53" fmla="*/ 272076 w 732081"/>
                                        <a:gd name="connsiteY53" fmla="*/ 513298 h 606332"/>
                                        <a:gd name="connsiteX54" fmla="*/ 280491 w 732081"/>
                                        <a:gd name="connsiteY54" fmla="*/ 516103 h 606332"/>
                                        <a:gd name="connsiteX55" fmla="*/ 283296 w 732081"/>
                                        <a:gd name="connsiteY55" fmla="*/ 532933 h 606332"/>
                                        <a:gd name="connsiteX56" fmla="*/ 288906 w 732081"/>
                                        <a:gd name="connsiteY56" fmla="*/ 549762 h 606332"/>
                                        <a:gd name="connsiteX57" fmla="*/ 294516 w 732081"/>
                                        <a:gd name="connsiteY57" fmla="*/ 575006 h 606332"/>
                                        <a:gd name="connsiteX58" fmla="*/ 297321 w 732081"/>
                                        <a:gd name="connsiteY58" fmla="*/ 583421 h 606332"/>
                                        <a:gd name="connsiteX59" fmla="*/ 305735 w 732081"/>
                                        <a:gd name="connsiteY59" fmla="*/ 591836 h 606332"/>
                                        <a:gd name="connsiteX60" fmla="*/ 314150 w 732081"/>
                                        <a:gd name="connsiteY60" fmla="*/ 594641 h 606332"/>
                                        <a:gd name="connsiteX61" fmla="*/ 328175 w 732081"/>
                                        <a:gd name="connsiteY61" fmla="*/ 605860 h 606332"/>
                                        <a:gd name="connsiteX62" fmla="*/ 336589 w 732081"/>
                                        <a:gd name="connsiteY62" fmla="*/ 589031 h 606332"/>
                                        <a:gd name="connsiteX63" fmla="*/ 347809 w 732081"/>
                                        <a:gd name="connsiteY63" fmla="*/ 572201 h 606332"/>
                                        <a:gd name="connsiteX64" fmla="*/ 364638 w 732081"/>
                                        <a:gd name="connsiteY64" fmla="*/ 555372 h 606332"/>
                                        <a:gd name="connsiteX65" fmla="*/ 373053 w 732081"/>
                                        <a:gd name="connsiteY65" fmla="*/ 538542 h 606332"/>
                                        <a:gd name="connsiteX66" fmla="*/ 378663 w 732081"/>
                                        <a:gd name="connsiteY66" fmla="*/ 530128 h 606332"/>
                                        <a:gd name="connsiteX67" fmla="*/ 381468 w 732081"/>
                                        <a:gd name="connsiteY67" fmla="*/ 518908 h 606332"/>
                                        <a:gd name="connsiteX68" fmla="*/ 387078 w 732081"/>
                                        <a:gd name="connsiteY68" fmla="*/ 479639 h 606332"/>
                                        <a:gd name="connsiteX69" fmla="*/ 389883 w 732081"/>
                                        <a:gd name="connsiteY69" fmla="*/ 471225 h 606332"/>
                                        <a:gd name="connsiteX70" fmla="*/ 401102 w 732081"/>
                                        <a:gd name="connsiteY70" fmla="*/ 454395 h 606332"/>
                                        <a:gd name="connsiteX71" fmla="*/ 409517 w 732081"/>
                                        <a:gd name="connsiteY71" fmla="*/ 451590 h 606332"/>
                                        <a:gd name="connsiteX72" fmla="*/ 437566 w 732081"/>
                                        <a:gd name="connsiteY72" fmla="*/ 431956 h 606332"/>
                                        <a:gd name="connsiteX73" fmla="*/ 445981 w 732081"/>
                                        <a:gd name="connsiteY73" fmla="*/ 426346 h 606332"/>
                                        <a:gd name="connsiteX74" fmla="*/ 454395 w 732081"/>
                                        <a:gd name="connsiteY74" fmla="*/ 420736 h 606332"/>
                                        <a:gd name="connsiteX75" fmla="*/ 462810 w 732081"/>
                                        <a:gd name="connsiteY75" fmla="*/ 417931 h 606332"/>
                                        <a:gd name="connsiteX76" fmla="*/ 468420 w 732081"/>
                                        <a:gd name="connsiteY76" fmla="*/ 409517 h 606332"/>
                                        <a:gd name="connsiteX77" fmla="*/ 476835 w 732081"/>
                                        <a:gd name="connsiteY77" fmla="*/ 392687 h 606332"/>
                                        <a:gd name="connsiteX78" fmla="*/ 493664 w 732081"/>
                                        <a:gd name="connsiteY78" fmla="*/ 403907 h 606332"/>
                                        <a:gd name="connsiteX79" fmla="*/ 499274 w 732081"/>
                                        <a:gd name="connsiteY79" fmla="*/ 412322 h 606332"/>
                                        <a:gd name="connsiteX80" fmla="*/ 516103 w 732081"/>
                                        <a:gd name="connsiteY80" fmla="*/ 415126 h 606332"/>
                                        <a:gd name="connsiteX81" fmla="*/ 513299 w 732081"/>
                                        <a:gd name="connsiteY81" fmla="*/ 429151 h 606332"/>
                                        <a:gd name="connsiteX82" fmla="*/ 513299 w 732081"/>
                                        <a:gd name="connsiteY82" fmla="*/ 445980 h 606332"/>
                                        <a:gd name="connsiteX83" fmla="*/ 521713 w 732081"/>
                                        <a:gd name="connsiteY83" fmla="*/ 454395 h 606332"/>
                                        <a:gd name="connsiteX84" fmla="*/ 530128 w 732081"/>
                                        <a:gd name="connsiteY84" fmla="*/ 460005 h 606332"/>
                                        <a:gd name="connsiteX85" fmla="*/ 544153 w 732081"/>
                                        <a:gd name="connsiteY85" fmla="*/ 474029 h 606332"/>
                                        <a:gd name="connsiteX86" fmla="*/ 532933 w 732081"/>
                                        <a:gd name="connsiteY86" fmla="*/ 488054 h 606332"/>
                                        <a:gd name="connsiteX87" fmla="*/ 521713 w 732081"/>
                                        <a:gd name="connsiteY87" fmla="*/ 504883 h 606332"/>
                                        <a:gd name="connsiteX88" fmla="*/ 521713 w 732081"/>
                                        <a:gd name="connsiteY88" fmla="*/ 524518 h 606332"/>
                                        <a:gd name="connsiteX89" fmla="*/ 538543 w 732081"/>
                                        <a:gd name="connsiteY89" fmla="*/ 530128 h 606332"/>
                                        <a:gd name="connsiteX90" fmla="*/ 555372 w 732081"/>
                                        <a:gd name="connsiteY90" fmla="*/ 541347 h 606332"/>
                                        <a:gd name="connsiteX91" fmla="*/ 563787 w 732081"/>
                                        <a:gd name="connsiteY91" fmla="*/ 546957 h 606332"/>
                                        <a:gd name="connsiteX92" fmla="*/ 583421 w 732081"/>
                                        <a:gd name="connsiteY92" fmla="*/ 549762 h 606332"/>
                                        <a:gd name="connsiteX93" fmla="*/ 617080 w 732081"/>
                                        <a:gd name="connsiteY93" fmla="*/ 566591 h 606332"/>
                                        <a:gd name="connsiteX94" fmla="*/ 625495 w 732081"/>
                                        <a:gd name="connsiteY94" fmla="*/ 569396 h 606332"/>
                                        <a:gd name="connsiteX95" fmla="*/ 633910 w 732081"/>
                                        <a:gd name="connsiteY95" fmla="*/ 572201 h 606332"/>
                                        <a:gd name="connsiteX96" fmla="*/ 642324 w 732081"/>
                                        <a:gd name="connsiteY96" fmla="*/ 569396 h 606332"/>
                                        <a:gd name="connsiteX97" fmla="*/ 633910 w 732081"/>
                                        <a:gd name="connsiteY97" fmla="*/ 544152 h 606332"/>
                                        <a:gd name="connsiteX98" fmla="*/ 631105 w 732081"/>
                                        <a:gd name="connsiteY98" fmla="*/ 530128 h 606332"/>
                                        <a:gd name="connsiteX99" fmla="*/ 625495 w 732081"/>
                                        <a:gd name="connsiteY99" fmla="*/ 513298 h 606332"/>
                                        <a:gd name="connsiteX100" fmla="*/ 622690 w 732081"/>
                                        <a:gd name="connsiteY100" fmla="*/ 454395 h 606332"/>
                                        <a:gd name="connsiteX101" fmla="*/ 619885 w 732081"/>
                                        <a:gd name="connsiteY101" fmla="*/ 445980 h 606332"/>
                                        <a:gd name="connsiteX102" fmla="*/ 631105 w 732081"/>
                                        <a:gd name="connsiteY102" fmla="*/ 431956 h 606332"/>
                                        <a:gd name="connsiteX103" fmla="*/ 642324 w 732081"/>
                                        <a:gd name="connsiteY103" fmla="*/ 434761 h 606332"/>
                                        <a:gd name="connsiteX104" fmla="*/ 650739 w 732081"/>
                                        <a:gd name="connsiteY104" fmla="*/ 451590 h 606332"/>
                                        <a:gd name="connsiteX105" fmla="*/ 653544 w 732081"/>
                                        <a:gd name="connsiteY105" fmla="*/ 443176 h 606332"/>
                                        <a:gd name="connsiteX106" fmla="*/ 653544 w 732081"/>
                                        <a:gd name="connsiteY106" fmla="*/ 384272 h 606332"/>
                                        <a:gd name="connsiteX107" fmla="*/ 659154 w 732081"/>
                                        <a:gd name="connsiteY107" fmla="*/ 375858 h 606332"/>
                                        <a:gd name="connsiteX108" fmla="*/ 647934 w 732081"/>
                                        <a:gd name="connsiteY108" fmla="*/ 364638 h 606332"/>
                                        <a:gd name="connsiteX109" fmla="*/ 645129 w 732081"/>
                                        <a:gd name="connsiteY109" fmla="*/ 356223 h 606332"/>
                                        <a:gd name="connsiteX110" fmla="*/ 642324 w 732081"/>
                                        <a:gd name="connsiteY110" fmla="*/ 339394 h 606332"/>
                                        <a:gd name="connsiteX111" fmla="*/ 636714 w 732081"/>
                                        <a:gd name="connsiteY111" fmla="*/ 314150 h 606332"/>
                                        <a:gd name="connsiteX112" fmla="*/ 628300 w 732081"/>
                                        <a:gd name="connsiteY112" fmla="*/ 266466 h 606332"/>
                                        <a:gd name="connsiteX113" fmla="*/ 631105 w 732081"/>
                                        <a:gd name="connsiteY113" fmla="*/ 215978 h 606332"/>
                                        <a:gd name="connsiteX114" fmla="*/ 642324 w 732081"/>
                                        <a:gd name="connsiteY114" fmla="*/ 201953 h 606332"/>
                                        <a:gd name="connsiteX115" fmla="*/ 659154 w 732081"/>
                                        <a:gd name="connsiteY115" fmla="*/ 185124 h 606332"/>
                                        <a:gd name="connsiteX116" fmla="*/ 675983 w 732081"/>
                                        <a:gd name="connsiteY116" fmla="*/ 176709 h 606332"/>
                                        <a:gd name="connsiteX117" fmla="*/ 698422 w 732081"/>
                                        <a:gd name="connsiteY117" fmla="*/ 171099 h 606332"/>
                                        <a:gd name="connsiteX118" fmla="*/ 706837 w 732081"/>
                                        <a:gd name="connsiteY118" fmla="*/ 168295 h 606332"/>
                                        <a:gd name="connsiteX119" fmla="*/ 723667 w 732081"/>
                                        <a:gd name="connsiteY119" fmla="*/ 159880 h 606332"/>
                                        <a:gd name="connsiteX120" fmla="*/ 732081 w 732081"/>
                                        <a:gd name="connsiteY120" fmla="*/ 162685 h 606332"/>
                                        <a:gd name="connsiteX121" fmla="*/ 726472 w 732081"/>
                                        <a:gd name="connsiteY121" fmla="*/ 154270 h 606332"/>
                                        <a:gd name="connsiteX122" fmla="*/ 718057 w 732081"/>
                                        <a:gd name="connsiteY122" fmla="*/ 148660 h 606332"/>
                                        <a:gd name="connsiteX123" fmla="*/ 687203 w 732081"/>
                                        <a:gd name="connsiteY123" fmla="*/ 140245 h 606332"/>
                                        <a:gd name="connsiteX124" fmla="*/ 670373 w 732081"/>
                                        <a:gd name="connsiteY124" fmla="*/ 134636 h 606332"/>
                                        <a:gd name="connsiteX125" fmla="*/ 656349 w 732081"/>
                                        <a:gd name="connsiteY125" fmla="*/ 137441 h 606332"/>
                                        <a:gd name="connsiteX126" fmla="*/ 647934 w 732081"/>
                                        <a:gd name="connsiteY126" fmla="*/ 143050 h 606332"/>
                                        <a:gd name="connsiteX127" fmla="*/ 639519 w 732081"/>
                                        <a:gd name="connsiteY127" fmla="*/ 145855 h 606332"/>
                                        <a:gd name="connsiteX128" fmla="*/ 597446 w 732081"/>
                                        <a:gd name="connsiteY128" fmla="*/ 143050 h 606332"/>
                                        <a:gd name="connsiteX129" fmla="*/ 591836 w 732081"/>
                                        <a:gd name="connsiteY129" fmla="*/ 134636 h 606332"/>
                                        <a:gd name="connsiteX130" fmla="*/ 575006 w 732081"/>
                                        <a:gd name="connsiteY130" fmla="*/ 123416 h 606332"/>
                                        <a:gd name="connsiteX131" fmla="*/ 566592 w 732081"/>
                                        <a:gd name="connsiteY131" fmla="*/ 117806 h 606332"/>
                                        <a:gd name="connsiteX132" fmla="*/ 541348 w 732081"/>
                                        <a:gd name="connsiteY132" fmla="*/ 109391 h 606332"/>
                                        <a:gd name="connsiteX133" fmla="*/ 532933 w 732081"/>
                                        <a:gd name="connsiteY133" fmla="*/ 106587 h 606332"/>
                                        <a:gd name="connsiteX134" fmla="*/ 524518 w 732081"/>
                                        <a:gd name="connsiteY134" fmla="*/ 103782 h 606332"/>
                                        <a:gd name="connsiteX135" fmla="*/ 516103 w 732081"/>
                                        <a:gd name="connsiteY135" fmla="*/ 86952 h 606332"/>
                                        <a:gd name="connsiteX136" fmla="*/ 510494 w 732081"/>
                                        <a:gd name="connsiteY136" fmla="*/ 70123 h 606332"/>
                                        <a:gd name="connsiteX137" fmla="*/ 507689 w 732081"/>
                                        <a:gd name="connsiteY137" fmla="*/ 61708 h 606332"/>
                                        <a:gd name="connsiteX138" fmla="*/ 499274 w 732081"/>
                                        <a:gd name="connsiteY138" fmla="*/ 56098 h 606332"/>
                                        <a:gd name="connsiteX139" fmla="*/ 476835 w 732081"/>
                                        <a:gd name="connsiteY139" fmla="*/ 36464 h 606332"/>
                                        <a:gd name="connsiteX140" fmla="*/ 460005 w 732081"/>
                                        <a:gd name="connsiteY140" fmla="*/ 30854 h 606332"/>
                                        <a:gd name="connsiteX141" fmla="*/ 440371 w 732081"/>
                                        <a:gd name="connsiteY141" fmla="*/ 19634 h 606332"/>
                                        <a:gd name="connsiteX142" fmla="*/ 431956 w 732081"/>
                                        <a:gd name="connsiteY142" fmla="*/ 16829 h 606332"/>
                                        <a:gd name="connsiteX143" fmla="*/ 423541 w 732081"/>
                                        <a:gd name="connsiteY143" fmla="*/ 11220 h 606332"/>
                                        <a:gd name="connsiteX144" fmla="*/ 415127 w 732081"/>
                                        <a:gd name="connsiteY144" fmla="*/ 8415 h 606332"/>
                                        <a:gd name="connsiteX145" fmla="*/ 398297 w 732081"/>
                                        <a:gd name="connsiteY145" fmla="*/ 0 h 606332"/>
                                        <a:gd name="connsiteX146" fmla="*/ 392687 w 732081"/>
                                        <a:gd name="connsiteY146" fmla="*/ 33659 h 606332"/>
                                        <a:gd name="connsiteX147" fmla="*/ 389883 w 732081"/>
                                        <a:gd name="connsiteY147" fmla="*/ 42074 h 606332"/>
                                        <a:gd name="connsiteX148" fmla="*/ 381468 w 732081"/>
                                        <a:gd name="connsiteY148" fmla="*/ 47683 h 606332"/>
                                        <a:gd name="connsiteX149" fmla="*/ 375858 w 732081"/>
                                        <a:gd name="connsiteY149" fmla="*/ 56098 h 606332"/>
                                        <a:gd name="connsiteX150" fmla="*/ 370248 w 732081"/>
                                        <a:gd name="connsiteY150" fmla="*/ 72928 h 606332"/>
                                        <a:gd name="connsiteX151" fmla="*/ 364638 w 732081"/>
                                        <a:gd name="connsiteY151" fmla="*/ 81342 h 606332"/>
                                        <a:gd name="connsiteX152" fmla="*/ 361833 w 732081"/>
                                        <a:gd name="connsiteY152" fmla="*/ 103782 h 606332"/>
                                        <a:gd name="connsiteX153" fmla="*/ 359029 w 732081"/>
                                        <a:gd name="connsiteY153" fmla="*/ 112196 h 606332"/>
                                        <a:gd name="connsiteX154" fmla="*/ 350614 w 732081"/>
                                        <a:gd name="connsiteY154" fmla="*/ 117806 h 606332"/>
                                        <a:gd name="connsiteX155" fmla="*/ 339394 w 732081"/>
                                        <a:gd name="connsiteY155" fmla="*/ 134636 h 606332"/>
                                        <a:gd name="connsiteX156" fmla="*/ 328175 w 732081"/>
                                        <a:gd name="connsiteY156" fmla="*/ 148660 h 606332"/>
                                        <a:gd name="connsiteX157" fmla="*/ 311345 w 732081"/>
                                        <a:gd name="connsiteY157" fmla="*/ 154270 h 606332"/>
                                        <a:gd name="connsiteX158" fmla="*/ 300126 w 732081"/>
                                        <a:gd name="connsiteY158" fmla="*/ 151465 h 606332"/>
                                        <a:gd name="connsiteX159" fmla="*/ 291711 w 732081"/>
                                        <a:gd name="connsiteY159" fmla="*/ 148660 h 606332"/>
                                        <a:gd name="connsiteX160" fmla="*/ 274881 w 732081"/>
                                        <a:gd name="connsiteY160" fmla="*/ 145855 h 606332"/>
                                        <a:gd name="connsiteX161" fmla="*/ 266467 w 732081"/>
                                        <a:gd name="connsiteY161" fmla="*/ 143050 h 606332"/>
                                        <a:gd name="connsiteX162" fmla="*/ 255247 w 732081"/>
                                        <a:gd name="connsiteY162" fmla="*/ 126221 h 606332"/>
                                        <a:gd name="connsiteX163" fmla="*/ 249637 w 732081"/>
                                        <a:gd name="connsiteY163" fmla="*/ 117806 h 606332"/>
                                        <a:gd name="connsiteX164" fmla="*/ 241222 w 732081"/>
                                        <a:gd name="connsiteY164" fmla="*/ 112196 h 606332"/>
                                        <a:gd name="connsiteX165" fmla="*/ 227198 w 732081"/>
                                        <a:gd name="connsiteY165" fmla="*/ 115001 h 606332"/>
                                        <a:gd name="connsiteX166" fmla="*/ 218783 w 732081"/>
                                        <a:gd name="connsiteY166" fmla="*/ 117806 h 606332"/>
                                        <a:gd name="connsiteX167" fmla="*/ 196344 w 732081"/>
                                        <a:gd name="connsiteY167" fmla="*/ 112196 h 606332"/>
                                        <a:gd name="connsiteX168" fmla="*/ 179514 w 732081"/>
                                        <a:gd name="connsiteY168" fmla="*/ 100977 h 606332"/>
                                        <a:gd name="connsiteX169" fmla="*/ 176710 w 732081"/>
                                        <a:gd name="connsiteY169" fmla="*/ 92562 h 606332"/>
                                        <a:gd name="connsiteX170" fmla="*/ 117806 w 732081"/>
                                        <a:gd name="connsiteY170" fmla="*/ 84147 h 60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732081" h="606332">
                                          <a:moveTo>
                                            <a:pt x="117806" y="84147"/>
                                          </a:moveTo>
                                          <a:lnTo>
                                            <a:pt x="117806" y="84147"/>
                                          </a:lnTo>
                                          <a:cubicBezTo>
                                            <a:pt x="116871" y="93497"/>
                                            <a:pt x="116431" y="102909"/>
                                            <a:pt x="115002" y="112196"/>
                                          </a:cubicBezTo>
                                          <a:cubicBezTo>
                                            <a:pt x="113754" y="120310"/>
                                            <a:pt x="107860" y="122903"/>
                                            <a:pt x="115002" y="131831"/>
                                          </a:cubicBezTo>
                                          <a:cubicBezTo>
                                            <a:pt x="116849" y="134140"/>
                                            <a:pt x="120611" y="133701"/>
                                            <a:pt x="123416" y="134636"/>
                                          </a:cubicBezTo>
                                          <a:cubicBezTo>
                                            <a:pt x="133782" y="150184"/>
                                            <a:pt x="123095" y="137885"/>
                                            <a:pt x="137441" y="145855"/>
                                          </a:cubicBezTo>
                                          <a:cubicBezTo>
                                            <a:pt x="143335" y="149129"/>
                                            <a:pt x="148660" y="153335"/>
                                            <a:pt x="154270" y="157075"/>
                                          </a:cubicBezTo>
                                          <a:cubicBezTo>
                                            <a:pt x="157075" y="158945"/>
                                            <a:pt x="159487" y="161619"/>
                                            <a:pt x="162685" y="162685"/>
                                          </a:cubicBezTo>
                                          <a:cubicBezTo>
                                            <a:pt x="183837" y="169736"/>
                                            <a:pt x="157764" y="160225"/>
                                            <a:pt x="179514" y="171099"/>
                                          </a:cubicBezTo>
                                          <a:cubicBezTo>
                                            <a:pt x="202736" y="182709"/>
                                            <a:pt x="172232" y="163440"/>
                                            <a:pt x="196344" y="179514"/>
                                          </a:cubicBezTo>
                                          <a:cubicBezTo>
                                            <a:pt x="202233" y="197180"/>
                                            <a:pt x="206821" y="203296"/>
                                            <a:pt x="199149" y="224393"/>
                                          </a:cubicBezTo>
                                          <a:cubicBezTo>
                                            <a:pt x="198139" y="227172"/>
                                            <a:pt x="193539" y="226263"/>
                                            <a:pt x="190734" y="227198"/>
                                          </a:cubicBezTo>
                                          <a:cubicBezTo>
                                            <a:pt x="184270" y="226121"/>
                                            <a:pt x="172395" y="225040"/>
                                            <a:pt x="165490" y="221588"/>
                                          </a:cubicBezTo>
                                          <a:cubicBezTo>
                                            <a:pt x="143740" y="210713"/>
                                            <a:pt x="169811" y="220223"/>
                                            <a:pt x="148660" y="213173"/>
                                          </a:cubicBezTo>
                                          <a:cubicBezTo>
                                            <a:pt x="143985" y="214108"/>
                                            <a:pt x="138976" y="214005"/>
                                            <a:pt x="134636" y="215978"/>
                                          </a:cubicBezTo>
                                          <a:cubicBezTo>
                                            <a:pt x="128498" y="218768"/>
                                            <a:pt x="117806" y="227198"/>
                                            <a:pt x="117806" y="227198"/>
                                          </a:cubicBezTo>
                                          <a:cubicBezTo>
                                            <a:pt x="111261" y="226263"/>
                                            <a:pt x="104655" y="225690"/>
                                            <a:pt x="98172" y="224393"/>
                                          </a:cubicBezTo>
                                          <a:cubicBezTo>
                                            <a:pt x="95273" y="223813"/>
                                            <a:pt x="92066" y="223435"/>
                                            <a:pt x="89757" y="221588"/>
                                          </a:cubicBezTo>
                                          <a:cubicBezTo>
                                            <a:pt x="87125" y="219482"/>
                                            <a:pt x="86018" y="215978"/>
                                            <a:pt x="84148" y="213173"/>
                                          </a:cubicBezTo>
                                          <a:cubicBezTo>
                                            <a:pt x="72928" y="214108"/>
                                            <a:pt x="61649" y="214490"/>
                                            <a:pt x="50489" y="215978"/>
                                          </a:cubicBezTo>
                                          <a:cubicBezTo>
                                            <a:pt x="47558" y="216369"/>
                                            <a:pt x="44983" y="218254"/>
                                            <a:pt x="42074" y="218783"/>
                                          </a:cubicBezTo>
                                          <a:cubicBezTo>
                                            <a:pt x="34658" y="220131"/>
                                            <a:pt x="27115" y="220653"/>
                                            <a:pt x="19635" y="221588"/>
                                          </a:cubicBezTo>
                                          <a:cubicBezTo>
                                            <a:pt x="17765" y="224393"/>
                                            <a:pt x="15533" y="226988"/>
                                            <a:pt x="14025" y="230003"/>
                                          </a:cubicBezTo>
                                          <a:cubicBezTo>
                                            <a:pt x="8566" y="240920"/>
                                            <a:pt x="13808" y="237054"/>
                                            <a:pt x="8415" y="249637"/>
                                          </a:cubicBezTo>
                                          <a:cubicBezTo>
                                            <a:pt x="7087" y="252736"/>
                                            <a:pt x="4313" y="255037"/>
                                            <a:pt x="2805" y="258052"/>
                                          </a:cubicBezTo>
                                          <a:cubicBezTo>
                                            <a:pt x="1483" y="260696"/>
                                            <a:pt x="935" y="263661"/>
                                            <a:pt x="0" y="266466"/>
                                          </a:cubicBezTo>
                                          <a:cubicBezTo>
                                            <a:pt x="2805" y="269271"/>
                                            <a:pt x="6215" y="271580"/>
                                            <a:pt x="8415" y="274881"/>
                                          </a:cubicBezTo>
                                          <a:cubicBezTo>
                                            <a:pt x="17540" y="288569"/>
                                            <a:pt x="3590" y="278471"/>
                                            <a:pt x="16830" y="291710"/>
                                          </a:cubicBezTo>
                                          <a:cubicBezTo>
                                            <a:pt x="22268" y="297147"/>
                                            <a:pt x="26815" y="297843"/>
                                            <a:pt x="33659" y="300125"/>
                                          </a:cubicBezTo>
                                          <a:cubicBezTo>
                                            <a:pt x="54814" y="293073"/>
                                            <a:pt x="33192" y="293580"/>
                                            <a:pt x="50489" y="291710"/>
                                          </a:cubicBezTo>
                                          <a:lnTo>
                                            <a:pt x="67318" y="288906"/>
                                          </a:lnTo>
                                          <a:cubicBezTo>
                                            <a:pt x="75733" y="291711"/>
                                            <a:pt x="86669" y="290691"/>
                                            <a:pt x="92562" y="297320"/>
                                          </a:cubicBezTo>
                                          <a:cubicBezTo>
                                            <a:pt x="102561" y="308569"/>
                                            <a:pt x="86572" y="316274"/>
                                            <a:pt x="81343" y="319760"/>
                                          </a:cubicBezTo>
                                          <a:cubicBezTo>
                                            <a:pt x="80408" y="322565"/>
                                            <a:pt x="78538" y="325218"/>
                                            <a:pt x="78538" y="328174"/>
                                          </a:cubicBezTo>
                                          <a:cubicBezTo>
                                            <a:pt x="78538" y="334785"/>
                                            <a:pt x="80046" y="341326"/>
                                            <a:pt x="81343" y="347809"/>
                                          </a:cubicBezTo>
                                          <a:cubicBezTo>
                                            <a:pt x="82483" y="353510"/>
                                            <a:pt x="85622" y="360503"/>
                                            <a:pt x="89757" y="364638"/>
                                          </a:cubicBezTo>
                                          <a:cubicBezTo>
                                            <a:pt x="92141" y="367022"/>
                                            <a:pt x="95367" y="368378"/>
                                            <a:pt x="98172" y="370248"/>
                                          </a:cubicBezTo>
                                          <a:cubicBezTo>
                                            <a:pt x="100042" y="373053"/>
                                            <a:pt x="101150" y="376557"/>
                                            <a:pt x="103782" y="378663"/>
                                          </a:cubicBezTo>
                                          <a:cubicBezTo>
                                            <a:pt x="106091" y="380510"/>
                                            <a:pt x="109298" y="380888"/>
                                            <a:pt x="112197" y="381468"/>
                                          </a:cubicBezTo>
                                          <a:cubicBezTo>
                                            <a:pt x="118680" y="382764"/>
                                            <a:pt x="125286" y="383337"/>
                                            <a:pt x="131831" y="384272"/>
                                          </a:cubicBezTo>
                                          <a:cubicBezTo>
                                            <a:pt x="137441" y="386142"/>
                                            <a:pt x="146790" y="384272"/>
                                            <a:pt x="148660" y="389882"/>
                                          </a:cubicBezTo>
                                          <a:cubicBezTo>
                                            <a:pt x="149595" y="392687"/>
                                            <a:pt x="149059" y="396578"/>
                                            <a:pt x="151465" y="398297"/>
                                          </a:cubicBezTo>
                                          <a:cubicBezTo>
                                            <a:pt x="156277" y="401734"/>
                                            <a:pt x="168295" y="403907"/>
                                            <a:pt x="168295" y="403907"/>
                                          </a:cubicBezTo>
                                          <a:cubicBezTo>
                                            <a:pt x="167360" y="407647"/>
                                            <a:pt x="167403" y="411779"/>
                                            <a:pt x="165490" y="415126"/>
                                          </a:cubicBezTo>
                                          <a:cubicBezTo>
                                            <a:pt x="163522" y="418570"/>
                                            <a:pt x="159275" y="420240"/>
                                            <a:pt x="157075" y="423541"/>
                                          </a:cubicBezTo>
                                          <a:cubicBezTo>
                                            <a:pt x="153974" y="428192"/>
                                            <a:pt x="154270" y="430470"/>
                                            <a:pt x="154270" y="434761"/>
                                          </a:cubicBezTo>
                                          <a:lnTo>
                                            <a:pt x="148660" y="445980"/>
                                          </a:lnTo>
                                          <a:lnTo>
                                            <a:pt x="204759" y="460005"/>
                                          </a:lnTo>
                                          <a:lnTo>
                                            <a:pt x="213173" y="465615"/>
                                          </a:lnTo>
                                          <a:cubicBezTo>
                                            <a:pt x="219718" y="470290"/>
                                            <a:pt x="226796" y="474296"/>
                                            <a:pt x="232808" y="479639"/>
                                          </a:cubicBezTo>
                                          <a:cubicBezTo>
                                            <a:pt x="248034" y="493173"/>
                                            <a:pt x="228225" y="484656"/>
                                            <a:pt x="246832" y="490859"/>
                                          </a:cubicBezTo>
                                          <a:cubicBezTo>
                                            <a:pt x="251507" y="489924"/>
                                            <a:pt x="256977" y="485283"/>
                                            <a:pt x="260857" y="488054"/>
                                          </a:cubicBezTo>
                                          <a:cubicBezTo>
                                            <a:pt x="265669" y="491491"/>
                                            <a:pt x="263187" y="499963"/>
                                            <a:pt x="266467" y="504883"/>
                                          </a:cubicBezTo>
                                          <a:cubicBezTo>
                                            <a:pt x="268337" y="507688"/>
                                            <a:pt x="269444" y="511192"/>
                                            <a:pt x="272076" y="513298"/>
                                          </a:cubicBezTo>
                                          <a:cubicBezTo>
                                            <a:pt x="274385" y="515145"/>
                                            <a:pt x="277686" y="515168"/>
                                            <a:pt x="280491" y="516103"/>
                                          </a:cubicBezTo>
                                          <a:cubicBezTo>
                                            <a:pt x="281426" y="521713"/>
                                            <a:pt x="281917" y="527415"/>
                                            <a:pt x="283296" y="532933"/>
                                          </a:cubicBezTo>
                                          <a:cubicBezTo>
                                            <a:pt x="284730" y="538670"/>
                                            <a:pt x="287746" y="543964"/>
                                            <a:pt x="288906" y="549762"/>
                                          </a:cubicBezTo>
                                          <a:cubicBezTo>
                                            <a:pt x="290835" y="559405"/>
                                            <a:pt x="291874" y="565761"/>
                                            <a:pt x="294516" y="575006"/>
                                          </a:cubicBezTo>
                                          <a:cubicBezTo>
                                            <a:pt x="295328" y="577849"/>
                                            <a:pt x="295681" y="580961"/>
                                            <a:pt x="297321" y="583421"/>
                                          </a:cubicBezTo>
                                          <a:cubicBezTo>
                                            <a:pt x="299521" y="586722"/>
                                            <a:pt x="302435" y="589636"/>
                                            <a:pt x="305735" y="591836"/>
                                          </a:cubicBezTo>
                                          <a:cubicBezTo>
                                            <a:pt x="308195" y="593476"/>
                                            <a:pt x="311345" y="593706"/>
                                            <a:pt x="314150" y="594641"/>
                                          </a:cubicBezTo>
                                          <a:cubicBezTo>
                                            <a:pt x="316290" y="597850"/>
                                            <a:pt x="321045" y="608712"/>
                                            <a:pt x="328175" y="605860"/>
                                          </a:cubicBezTo>
                                          <a:cubicBezTo>
                                            <a:pt x="333509" y="603726"/>
                                            <a:pt x="334397" y="592977"/>
                                            <a:pt x="336589" y="589031"/>
                                          </a:cubicBezTo>
                                          <a:cubicBezTo>
                                            <a:pt x="339863" y="583137"/>
                                            <a:pt x="343041" y="576969"/>
                                            <a:pt x="347809" y="572201"/>
                                          </a:cubicBezTo>
                                          <a:cubicBezTo>
                                            <a:pt x="353419" y="566591"/>
                                            <a:pt x="360237" y="561973"/>
                                            <a:pt x="364638" y="555372"/>
                                          </a:cubicBezTo>
                                          <a:cubicBezTo>
                                            <a:pt x="380719" y="531251"/>
                                            <a:pt x="361437" y="561773"/>
                                            <a:pt x="373053" y="538542"/>
                                          </a:cubicBezTo>
                                          <a:cubicBezTo>
                                            <a:pt x="374561" y="535527"/>
                                            <a:pt x="376793" y="532933"/>
                                            <a:pt x="378663" y="530128"/>
                                          </a:cubicBezTo>
                                          <a:cubicBezTo>
                                            <a:pt x="379598" y="526388"/>
                                            <a:pt x="380923" y="522724"/>
                                            <a:pt x="381468" y="518908"/>
                                          </a:cubicBezTo>
                                          <a:cubicBezTo>
                                            <a:pt x="385619" y="489854"/>
                                            <a:pt x="381599" y="498813"/>
                                            <a:pt x="387078" y="479639"/>
                                          </a:cubicBezTo>
                                          <a:cubicBezTo>
                                            <a:pt x="387890" y="476796"/>
                                            <a:pt x="388447" y="473809"/>
                                            <a:pt x="389883" y="471225"/>
                                          </a:cubicBezTo>
                                          <a:cubicBezTo>
                                            <a:pt x="393157" y="465331"/>
                                            <a:pt x="394706" y="456527"/>
                                            <a:pt x="401102" y="454395"/>
                                          </a:cubicBezTo>
                                          <a:lnTo>
                                            <a:pt x="409517" y="451590"/>
                                          </a:lnTo>
                                          <a:cubicBezTo>
                                            <a:pt x="426129" y="439133"/>
                                            <a:pt x="416851" y="445767"/>
                                            <a:pt x="437566" y="431956"/>
                                          </a:cubicBezTo>
                                          <a:lnTo>
                                            <a:pt x="445981" y="426346"/>
                                          </a:lnTo>
                                          <a:cubicBezTo>
                                            <a:pt x="448786" y="424476"/>
                                            <a:pt x="451197" y="421802"/>
                                            <a:pt x="454395" y="420736"/>
                                          </a:cubicBezTo>
                                          <a:lnTo>
                                            <a:pt x="462810" y="417931"/>
                                          </a:lnTo>
                                          <a:cubicBezTo>
                                            <a:pt x="464680" y="415126"/>
                                            <a:pt x="466912" y="412532"/>
                                            <a:pt x="468420" y="409517"/>
                                          </a:cubicBezTo>
                                          <a:cubicBezTo>
                                            <a:pt x="480036" y="386286"/>
                                            <a:pt x="460754" y="416808"/>
                                            <a:pt x="476835" y="392687"/>
                                          </a:cubicBezTo>
                                          <a:cubicBezTo>
                                            <a:pt x="487205" y="396144"/>
                                            <a:pt x="485583" y="394210"/>
                                            <a:pt x="493664" y="403907"/>
                                          </a:cubicBezTo>
                                          <a:cubicBezTo>
                                            <a:pt x="495822" y="406497"/>
                                            <a:pt x="496259" y="410814"/>
                                            <a:pt x="499274" y="412322"/>
                                          </a:cubicBezTo>
                                          <a:cubicBezTo>
                                            <a:pt x="504361" y="414865"/>
                                            <a:pt x="510493" y="414191"/>
                                            <a:pt x="516103" y="415126"/>
                                          </a:cubicBezTo>
                                          <a:cubicBezTo>
                                            <a:pt x="515168" y="419801"/>
                                            <a:pt x="513299" y="424383"/>
                                            <a:pt x="513299" y="429151"/>
                                          </a:cubicBezTo>
                                          <a:cubicBezTo>
                                            <a:pt x="513299" y="451589"/>
                                            <a:pt x="520776" y="423544"/>
                                            <a:pt x="513299" y="445980"/>
                                          </a:cubicBezTo>
                                          <a:cubicBezTo>
                                            <a:pt x="516104" y="448785"/>
                                            <a:pt x="518666" y="451856"/>
                                            <a:pt x="521713" y="454395"/>
                                          </a:cubicBezTo>
                                          <a:cubicBezTo>
                                            <a:pt x="524303" y="456553"/>
                                            <a:pt x="527744" y="457621"/>
                                            <a:pt x="530128" y="460005"/>
                                          </a:cubicBezTo>
                                          <a:cubicBezTo>
                                            <a:pt x="548824" y="478701"/>
                                            <a:pt x="521718" y="459075"/>
                                            <a:pt x="544153" y="474029"/>
                                          </a:cubicBezTo>
                                          <a:cubicBezTo>
                                            <a:pt x="537133" y="502108"/>
                                            <a:pt x="547688" y="473300"/>
                                            <a:pt x="532933" y="488054"/>
                                          </a:cubicBezTo>
                                          <a:cubicBezTo>
                                            <a:pt x="528165" y="492821"/>
                                            <a:pt x="521713" y="504883"/>
                                            <a:pt x="521713" y="504883"/>
                                          </a:cubicBezTo>
                                          <a:cubicBezTo>
                                            <a:pt x="519890" y="510352"/>
                                            <a:pt x="515321" y="519039"/>
                                            <a:pt x="521713" y="524518"/>
                                          </a:cubicBezTo>
                                          <a:cubicBezTo>
                                            <a:pt x="526203" y="528366"/>
                                            <a:pt x="533623" y="526848"/>
                                            <a:pt x="538543" y="530128"/>
                                          </a:cubicBezTo>
                                          <a:lnTo>
                                            <a:pt x="555372" y="541347"/>
                                          </a:lnTo>
                                          <a:cubicBezTo>
                                            <a:pt x="558177" y="543217"/>
                                            <a:pt x="560450" y="546480"/>
                                            <a:pt x="563787" y="546957"/>
                                          </a:cubicBezTo>
                                          <a:lnTo>
                                            <a:pt x="583421" y="549762"/>
                                          </a:lnTo>
                                          <a:cubicBezTo>
                                            <a:pt x="605172" y="564263"/>
                                            <a:pt x="593854" y="558849"/>
                                            <a:pt x="617080" y="566591"/>
                                          </a:cubicBezTo>
                                          <a:lnTo>
                                            <a:pt x="625495" y="569396"/>
                                          </a:lnTo>
                                          <a:lnTo>
                                            <a:pt x="633910" y="572201"/>
                                          </a:lnTo>
                                          <a:cubicBezTo>
                                            <a:pt x="636715" y="571266"/>
                                            <a:pt x="641512" y="572239"/>
                                            <a:pt x="642324" y="569396"/>
                                          </a:cubicBezTo>
                                          <a:cubicBezTo>
                                            <a:pt x="645346" y="558816"/>
                                            <a:pt x="638890" y="551624"/>
                                            <a:pt x="633910" y="544152"/>
                                          </a:cubicBezTo>
                                          <a:cubicBezTo>
                                            <a:pt x="632975" y="539477"/>
                                            <a:pt x="632359" y="534727"/>
                                            <a:pt x="631105" y="530128"/>
                                          </a:cubicBezTo>
                                          <a:cubicBezTo>
                                            <a:pt x="629549" y="524423"/>
                                            <a:pt x="625495" y="513298"/>
                                            <a:pt x="625495" y="513298"/>
                                          </a:cubicBezTo>
                                          <a:cubicBezTo>
                                            <a:pt x="624560" y="493664"/>
                                            <a:pt x="624322" y="473984"/>
                                            <a:pt x="622690" y="454395"/>
                                          </a:cubicBezTo>
                                          <a:cubicBezTo>
                                            <a:pt x="622444" y="451448"/>
                                            <a:pt x="619885" y="448937"/>
                                            <a:pt x="619885" y="445980"/>
                                          </a:cubicBezTo>
                                          <a:cubicBezTo>
                                            <a:pt x="619885" y="436949"/>
                                            <a:pt x="624644" y="436263"/>
                                            <a:pt x="631105" y="431956"/>
                                          </a:cubicBezTo>
                                          <a:cubicBezTo>
                                            <a:pt x="634845" y="432891"/>
                                            <a:pt x="639117" y="432623"/>
                                            <a:pt x="642324" y="434761"/>
                                          </a:cubicBezTo>
                                          <a:cubicBezTo>
                                            <a:pt x="646984" y="437868"/>
                                            <a:pt x="649139" y="446790"/>
                                            <a:pt x="650739" y="451590"/>
                                          </a:cubicBezTo>
                                          <a:cubicBezTo>
                                            <a:pt x="651674" y="448785"/>
                                            <a:pt x="653544" y="446132"/>
                                            <a:pt x="653544" y="443176"/>
                                          </a:cubicBezTo>
                                          <a:cubicBezTo>
                                            <a:pt x="653544" y="420315"/>
                                            <a:pt x="647233" y="405309"/>
                                            <a:pt x="653544" y="384272"/>
                                          </a:cubicBezTo>
                                          <a:cubicBezTo>
                                            <a:pt x="654513" y="381043"/>
                                            <a:pt x="657284" y="378663"/>
                                            <a:pt x="659154" y="375858"/>
                                          </a:cubicBezTo>
                                          <a:cubicBezTo>
                                            <a:pt x="651674" y="353418"/>
                                            <a:pt x="662894" y="379598"/>
                                            <a:pt x="647934" y="364638"/>
                                          </a:cubicBezTo>
                                          <a:cubicBezTo>
                                            <a:pt x="645843" y="362547"/>
                                            <a:pt x="645941" y="359066"/>
                                            <a:pt x="645129" y="356223"/>
                                          </a:cubicBezTo>
                                          <a:cubicBezTo>
                                            <a:pt x="641870" y="344819"/>
                                            <a:pt x="642324" y="348069"/>
                                            <a:pt x="642324" y="339394"/>
                                          </a:cubicBezTo>
                                          <a:lnTo>
                                            <a:pt x="636714" y="314150"/>
                                          </a:lnTo>
                                          <a:cubicBezTo>
                                            <a:pt x="633900" y="301485"/>
                                            <a:pt x="628300" y="280023"/>
                                            <a:pt x="628300" y="266466"/>
                                          </a:cubicBezTo>
                                          <a:cubicBezTo>
                                            <a:pt x="628300" y="249611"/>
                                            <a:pt x="629579" y="232764"/>
                                            <a:pt x="631105" y="215978"/>
                                          </a:cubicBezTo>
                                          <a:cubicBezTo>
                                            <a:pt x="632316" y="202660"/>
                                            <a:pt x="632025" y="205386"/>
                                            <a:pt x="642324" y="201953"/>
                                          </a:cubicBezTo>
                                          <a:cubicBezTo>
                                            <a:pt x="647934" y="196343"/>
                                            <a:pt x="651628" y="187633"/>
                                            <a:pt x="659154" y="185124"/>
                                          </a:cubicBezTo>
                                          <a:cubicBezTo>
                                            <a:pt x="680305" y="178073"/>
                                            <a:pt x="654231" y="187585"/>
                                            <a:pt x="675983" y="176709"/>
                                          </a:cubicBezTo>
                                          <a:cubicBezTo>
                                            <a:pt x="682394" y="173504"/>
                                            <a:pt x="692022" y="172699"/>
                                            <a:pt x="698422" y="171099"/>
                                          </a:cubicBezTo>
                                          <a:cubicBezTo>
                                            <a:pt x="701290" y="170382"/>
                                            <a:pt x="704032" y="169230"/>
                                            <a:pt x="706837" y="168295"/>
                                          </a:cubicBezTo>
                                          <a:cubicBezTo>
                                            <a:pt x="711092" y="165459"/>
                                            <a:pt x="717860" y="159880"/>
                                            <a:pt x="723667" y="159880"/>
                                          </a:cubicBezTo>
                                          <a:cubicBezTo>
                                            <a:pt x="726623" y="159880"/>
                                            <a:pt x="729276" y="161750"/>
                                            <a:pt x="732081" y="162685"/>
                                          </a:cubicBezTo>
                                          <a:cubicBezTo>
                                            <a:pt x="730211" y="159880"/>
                                            <a:pt x="728856" y="156654"/>
                                            <a:pt x="726472" y="154270"/>
                                          </a:cubicBezTo>
                                          <a:cubicBezTo>
                                            <a:pt x="724088" y="151886"/>
                                            <a:pt x="721138" y="150029"/>
                                            <a:pt x="718057" y="148660"/>
                                          </a:cubicBezTo>
                                          <a:cubicBezTo>
                                            <a:pt x="700112" y="140684"/>
                                            <a:pt x="704279" y="144902"/>
                                            <a:pt x="687203" y="140245"/>
                                          </a:cubicBezTo>
                                          <a:cubicBezTo>
                                            <a:pt x="681498" y="138689"/>
                                            <a:pt x="670373" y="134636"/>
                                            <a:pt x="670373" y="134636"/>
                                          </a:cubicBezTo>
                                          <a:cubicBezTo>
                                            <a:pt x="665698" y="135571"/>
                                            <a:pt x="660813" y="135767"/>
                                            <a:pt x="656349" y="137441"/>
                                          </a:cubicBezTo>
                                          <a:cubicBezTo>
                                            <a:pt x="653193" y="138625"/>
                                            <a:pt x="650949" y="141543"/>
                                            <a:pt x="647934" y="143050"/>
                                          </a:cubicBezTo>
                                          <a:cubicBezTo>
                                            <a:pt x="645289" y="144372"/>
                                            <a:pt x="642324" y="144920"/>
                                            <a:pt x="639519" y="145855"/>
                                          </a:cubicBezTo>
                                          <a:cubicBezTo>
                                            <a:pt x="625495" y="144920"/>
                                            <a:pt x="611128" y="146269"/>
                                            <a:pt x="597446" y="143050"/>
                                          </a:cubicBezTo>
                                          <a:cubicBezTo>
                                            <a:pt x="594165" y="142278"/>
                                            <a:pt x="594373" y="136856"/>
                                            <a:pt x="591836" y="134636"/>
                                          </a:cubicBezTo>
                                          <a:cubicBezTo>
                                            <a:pt x="586762" y="130196"/>
                                            <a:pt x="580616" y="127156"/>
                                            <a:pt x="575006" y="123416"/>
                                          </a:cubicBezTo>
                                          <a:cubicBezTo>
                                            <a:pt x="572201" y="121546"/>
                                            <a:pt x="569790" y="118872"/>
                                            <a:pt x="566592" y="117806"/>
                                          </a:cubicBezTo>
                                          <a:lnTo>
                                            <a:pt x="541348" y="109391"/>
                                          </a:lnTo>
                                          <a:lnTo>
                                            <a:pt x="532933" y="106587"/>
                                          </a:lnTo>
                                          <a:lnTo>
                                            <a:pt x="524518" y="103782"/>
                                          </a:lnTo>
                                          <a:cubicBezTo>
                                            <a:pt x="514286" y="73087"/>
                                            <a:pt x="530605" y="119584"/>
                                            <a:pt x="516103" y="86952"/>
                                          </a:cubicBezTo>
                                          <a:cubicBezTo>
                                            <a:pt x="513702" y="81549"/>
                                            <a:pt x="512364" y="75733"/>
                                            <a:pt x="510494" y="70123"/>
                                          </a:cubicBezTo>
                                          <a:cubicBezTo>
                                            <a:pt x="509559" y="67318"/>
                                            <a:pt x="510149" y="63348"/>
                                            <a:pt x="507689" y="61708"/>
                                          </a:cubicBezTo>
                                          <a:lnTo>
                                            <a:pt x="499274" y="56098"/>
                                          </a:lnTo>
                                          <a:cubicBezTo>
                                            <a:pt x="492729" y="46281"/>
                                            <a:pt x="490860" y="41139"/>
                                            <a:pt x="476835" y="36464"/>
                                          </a:cubicBezTo>
                                          <a:lnTo>
                                            <a:pt x="460005" y="30854"/>
                                          </a:lnTo>
                                          <a:cubicBezTo>
                                            <a:pt x="451554" y="25219"/>
                                            <a:pt x="450337" y="23905"/>
                                            <a:pt x="440371" y="19634"/>
                                          </a:cubicBezTo>
                                          <a:cubicBezTo>
                                            <a:pt x="437653" y="18469"/>
                                            <a:pt x="434601" y="18151"/>
                                            <a:pt x="431956" y="16829"/>
                                          </a:cubicBezTo>
                                          <a:cubicBezTo>
                                            <a:pt x="428941" y="15322"/>
                                            <a:pt x="426556" y="12727"/>
                                            <a:pt x="423541" y="11220"/>
                                          </a:cubicBezTo>
                                          <a:cubicBezTo>
                                            <a:pt x="420897" y="9898"/>
                                            <a:pt x="417771" y="9737"/>
                                            <a:pt x="415127" y="8415"/>
                                          </a:cubicBezTo>
                                          <a:cubicBezTo>
                                            <a:pt x="393381" y="-2459"/>
                                            <a:pt x="419445" y="7049"/>
                                            <a:pt x="398297" y="0"/>
                                          </a:cubicBezTo>
                                          <a:cubicBezTo>
                                            <a:pt x="391722" y="19726"/>
                                            <a:pt x="398948" y="-3912"/>
                                            <a:pt x="392687" y="33659"/>
                                          </a:cubicBezTo>
                                          <a:cubicBezTo>
                                            <a:pt x="392201" y="36575"/>
                                            <a:pt x="391730" y="39765"/>
                                            <a:pt x="389883" y="42074"/>
                                          </a:cubicBezTo>
                                          <a:cubicBezTo>
                                            <a:pt x="387777" y="44706"/>
                                            <a:pt x="384273" y="45813"/>
                                            <a:pt x="381468" y="47683"/>
                                          </a:cubicBezTo>
                                          <a:cubicBezTo>
                                            <a:pt x="379598" y="50488"/>
                                            <a:pt x="377227" y="53017"/>
                                            <a:pt x="375858" y="56098"/>
                                          </a:cubicBezTo>
                                          <a:cubicBezTo>
                                            <a:pt x="373456" y="61502"/>
                                            <a:pt x="373528" y="68008"/>
                                            <a:pt x="370248" y="72928"/>
                                          </a:cubicBezTo>
                                          <a:lnTo>
                                            <a:pt x="364638" y="81342"/>
                                          </a:lnTo>
                                          <a:cubicBezTo>
                                            <a:pt x="363703" y="88822"/>
                                            <a:pt x="363181" y="96365"/>
                                            <a:pt x="361833" y="103782"/>
                                          </a:cubicBezTo>
                                          <a:cubicBezTo>
                                            <a:pt x="361304" y="106691"/>
                                            <a:pt x="360876" y="109887"/>
                                            <a:pt x="359029" y="112196"/>
                                          </a:cubicBezTo>
                                          <a:cubicBezTo>
                                            <a:pt x="356923" y="114828"/>
                                            <a:pt x="353419" y="115936"/>
                                            <a:pt x="350614" y="117806"/>
                                          </a:cubicBezTo>
                                          <a:cubicBezTo>
                                            <a:pt x="343945" y="137813"/>
                                            <a:pt x="353401" y="113627"/>
                                            <a:pt x="339394" y="134636"/>
                                          </a:cubicBezTo>
                                          <a:cubicBezTo>
                                            <a:pt x="332031" y="145680"/>
                                            <a:pt x="343031" y="142057"/>
                                            <a:pt x="328175" y="148660"/>
                                          </a:cubicBezTo>
                                          <a:cubicBezTo>
                                            <a:pt x="322771" y="151062"/>
                                            <a:pt x="311345" y="154270"/>
                                            <a:pt x="311345" y="154270"/>
                                          </a:cubicBezTo>
                                          <a:cubicBezTo>
                                            <a:pt x="307605" y="153335"/>
                                            <a:pt x="303832" y="152524"/>
                                            <a:pt x="300126" y="151465"/>
                                          </a:cubicBezTo>
                                          <a:cubicBezTo>
                                            <a:pt x="297283" y="150653"/>
                                            <a:pt x="294597" y="149301"/>
                                            <a:pt x="291711" y="148660"/>
                                          </a:cubicBezTo>
                                          <a:cubicBezTo>
                                            <a:pt x="286159" y="147426"/>
                                            <a:pt x="280491" y="146790"/>
                                            <a:pt x="274881" y="145855"/>
                                          </a:cubicBezTo>
                                          <a:cubicBezTo>
                                            <a:pt x="272076" y="144920"/>
                                            <a:pt x="268557" y="145140"/>
                                            <a:pt x="266467" y="143050"/>
                                          </a:cubicBezTo>
                                          <a:cubicBezTo>
                                            <a:pt x="261700" y="138283"/>
                                            <a:pt x="258987" y="131831"/>
                                            <a:pt x="255247" y="126221"/>
                                          </a:cubicBezTo>
                                          <a:cubicBezTo>
                                            <a:pt x="253377" y="123416"/>
                                            <a:pt x="252442" y="119676"/>
                                            <a:pt x="249637" y="117806"/>
                                          </a:cubicBezTo>
                                          <a:lnTo>
                                            <a:pt x="241222" y="112196"/>
                                          </a:lnTo>
                                          <a:cubicBezTo>
                                            <a:pt x="236547" y="113131"/>
                                            <a:pt x="231823" y="113845"/>
                                            <a:pt x="227198" y="115001"/>
                                          </a:cubicBezTo>
                                          <a:cubicBezTo>
                                            <a:pt x="224330" y="115718"/>
                                            <a:pt x="221740" y="117806"/>
                                            <a:pt x="218783" y="117806"/>
                                          </a:cubicBezTo>
                                          <a:cubicBezTo>
                                            <a:pt x="216296" y="117806"/>
                                            <a:pt x="200328" y="114409"/>
                                            <a:pt x="196344" y="112196"/>
                                          </a:cubicBezTo>
                                          <a:cubicBezTo>
                                            <a:pt x="190450" y="108922"/>
                                            <a:pt x="179514" y="100977"/>
                                            <a:pt x="179514" y="100977"/>
                                          </a:cubicBezTo>
                                          <a:cubicBezTo>
                                            <a:pt x="178579" y="98172"/>
                                            <a:pt x="179412" y="93763"/>
                                            <a:pt x="176710" y="92562"/>
                                          </a:cubicBezTo>
                                          <a:cubicBezTo>
                                            <a:pt x="168312" y="88829"/>
                                            <a:pt x="127623" y="85549"/>
                                            <a:pt x="117806" y="84147"/>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2" name="Freeform 191"/>
                                    <p:cNvSpPr/>
                                    <p:nvPr/>
                                  </p:nvSpPr>
                                  <p:spPr>
                                    <a:xfrm>
                                      <a:off x="8052891" y="5429928"/>
                                      <a:ext cx="253043" cy="120985"/>
                                    </a:xfrm>
                                    <a:custGeom>
                                      <a:avLst/>
                                      <a:gdLst>
                                        <a:gd name="connsiteX0" fmla="*/ 0 w 253043"/>
                                        <a:gd name="connsiteY0" fmla="*/ 17203 h 120985"/>
                                        <a:gd name="connsiteX1" fmla="*/ 0 w 253043"/>
                                        <a:gd name="connsiteY1" fmla="*/ 17203 h 120985"/>
                                        <a:gd name="connsiteX2" fmla="*/ 22439 w 253043"/>
                                        <a:gd name="connsiteY2" fmla="*/ 5984 h 120985"/>
                                        <a:gd name="connsiteX3" fmla="*/ 64513 w 253043"/>
                                        <a:gd name="connsiteY3" fmla="*/ 11593 h 120985"/>
                                        <a:gd name="connsiteX4" fmla="*/ 72927 w 253043"/>
                                        <a:gd name="connsiteY4" fmla="*/ 17203 h 120985"/>
                                        <a:gd name="connsiteX5" fmla="*/ 89757 w 253043"/>
                                        <a:gd name="connsiteY5" fmla="*/ 22813 h 120985"/>
                                        <a:gd name="connsiteX6" fmla="*/ 115001 w 253043"/>
                                        <a:gd name="connsiteY6" fmla="*/ 17203 h 120985"/>
                                        <a:gd name="connsiteX7" fmla="*/ 129026 w 253043"/>
                                        <a:gd name="connsiteY7" fmla="*/ 5984 h 120985"/>
                                        <a:gd name="connsiteX8" fmla="*/ 140245 w 253043"/>
                                        <a:gd name="connsiteY8" fmla="*/ 8789 h 120985"/>
                                        <a:gd name="connsiteX9" fmla="*/ 148660 w 253043"/>
                                        <a:gd name="connsiteY9" fmla="*/ 14398 h 120985"/>
                                        <a:gd name="connsiteX10" fmla="*/ 151465 w 253043"/>
                                        <a:gd name="connsiteY10" fmla="*/ 22813 h 120985"/>
                                        <a:gd name="connsiteX11" fmla="*/ 176709 w 253043"/>
                                        <a:gd name="connsiteY11" fmla="*/ 34033 h 120985"/>
                                        <a:gd name="connsiteX12" fmla="*/ 185124 w 253043"/>
                                        <a:gd name="connsiteY12" fmla="*/ 39643 h 120985"/>
                                        <a:gd name="connsiteX13" fmla="*/ 190734 w 253043"/>
                                        <a:gd name="connsiteY13" fmla="*/ 48057 h 120985"/>
                                        <a:gd name="connsiteX14" fmla="*/ 207563 w 253043"/>
                                        <a:gd name="connsiteY14" fmla="*/ 53667 h 120985"/>
                                        <a:gd name="connsiteX15" fmla="*/ 215978 w 253043"/>
                                        <a:gd name="connsiteY15" fmla="*/ 78911 h 120985"/>
                                        <a:gd name="connsiteX16" fmla="*/ 218783 w 253043"/>
                                        <a:gd name="connsiteY16" fmla="*/ 87326 h 120985"/>
                                        <a:gd name="connsiteX17" fmla="*/ 227197 w 253043"/>
                                        <a:gd name="connsiteY17" fmla="*/ 92936 h 120985"/>
                                        <a:gd name="connsiteX18" fmla="*/ 232807 w 253043"/>
                                        <a:gd name="connsiteY18" fmla="*/ 101351 h 120985"/>
                                        <a:gd name="connsiteX19" fmla="*/ 249637 w 253043"/>
                                        <a:gd name="connsiteY19" fmla="*/ 106960 h 120985"/>
                                        <a:gd name="connsiteX20" fmla="*/ 252442 w 253043"/>
                                        <a:gd name="connsiteY20" fmla="*/ 115375 h 120985"/>
                                        <a:gd name="connsiteX21" fmla="*/ 235612 w 253043"/>
                                        <a:gd name="connsiteY21" fmla="*/ 120985 h 120985"/>
                                        <a:gd name="connsiteX22" fmla="*/ 227197 w 253043"/>
                                        <a:gd name="connsiteY22" fmla="*/ 118180 h 120985"/>
                                        <a:gd name="connsiteX23" fmla="*/ 213173 w 253043"/>
                                        <a:gd name="connsiteY23" fmla="*/ 115375 h 120985"/>
                                        <a:gd name="connsiteX24" fmla="*/ 201953 w 253043"/>
                                        <a:gd name="connsiteY24" fmla="*/ 112570 h 120985"/>
                                        <a:gd name="connsiteX25" fmla="*/ 154270 w 253043"/>
                                        <a:gd name="connsiteY25" fmla="*/ 104155 h 120985"/>
                                        <a:gd name="connsiteX26" fmla="*/ 126221 w 253043"/>
                                        <a:gd name="connsiteY26" fmla="*/ 101351 h 120985"/>
                                        <a:gd name="connsiteX27" fmla="*/ 115001 w 253043"/>
                                        <a:gd name="connsiteY27" fmla="*/ 87326 h 120985"/>
                                        <a:gd name="connsiteX28" fmla="*/ 112196 w 253043"/>
                                        <a:gd name="connsiteY28" fmla="*/ 78911 h 120985"/>
                                        <a:gd name="connsiteX29" fmla="*/ 75732 w 253043"/>
                                        <a:gd name="connsiteY29" fmla="*/ 67692 h 120985"/>
                                        <a:gd name="connsiteX30" fmla="*/ 67318 w 253043"/>
                                        <a:gd name="connsiteY30" fmla="*/ 64887 h 120985"/>
                                        <a:gd name="connsiteX31" fmla="*/ 58903 w 253043"/>
                                        <a:gd name="connsiteY31" fmla="*/ 59277 h 120985"/>
                                        <a:gd name="connsiteX32" fmla="*/ 42073 w 253043"/>
                                        <a:gd name="connsiteY32" fmla="*/ 53667 h 120985"/>
                                        <a:gd name="connsiteX33" fmla="*/ 33659 w 253043"/>
                                        <a:gd name="connsiteY33" fmla="*/ 36838 h 120985"/>
                                        <a:gd name="connsiteX34" fmla="*/ 25244 w 253043"/>
                                        <a:gd name="connsiteY34" fmla="*/ 31228 h 120985"/>
                                        <a:gd name="connsiteX35" fmla="*/ 0 w 253043"/>
                                        <a:gd name="connsiteY35" fmla="*/ 17203 h 12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3043" h="120985">
                                          <a:moveTo>
                                            <a:pt x="0" y="17203"/>
                                          </a:moveTo>
                                          <a:lnTo>
                                            <a:pt x="0" y="17203"/>
                                          </a:lnTo>
                                          <a:cubicBezTo>
                                            <a:pt x="7480" y="13463"/>
                                            <a:pt x="14169" y="7224"/>
                                            <a:pt x="22439" y="5984"/>
                                          </a:cubicBezTo>
                                          <a:cubicBezTo>
                                            <a:pt x="41369" y="3145"/>
                                            <a:pt x="50059" y="6777"/>
                                            <a:pt x="64513" y="11593"/>
                                          </a:cubicBezTo>
                                          <a:cubicBezTo>
                                            <a:pt x="67318" y="13463"/>
                                            <a:pt x="69847" y="15834"/>
                                            <a:pt x="72927" y="17203"/>
                                          </a:cubicBezTo>
                                          <a:cubicBezTo>
                                            <a:pt x="78331" y="19605"/>
                                            <a:pt x="89757" y="22813"/>
                                            <a:pt x="89757" y="22813"/>
                                          </a:cubicBezTo>
                                          <a:cubicBezTo>
                                            <a:pt x="89930" y="22784"/>
                                            <a:pt x="111366" y="20110"/>
                                            <a:pt x="115001" y="17203"/>
                                          </a:cubicBezTo>
                                          <a:cubicBezTo>
                                            <a:pt x="133127" y="2704"/>
                                            <a:pt x="107874" y="13035"/>
                                            <a:pt x="129026" y="5984"/>
                                          </a:cubicBezTo>
                                          <a:cubicBezTo>
                                            <a:pt x="143930" y="-3953"/>
                                            <a:pt x="132839" y="-467"/>
                                            <a:pt x="140245" y="8789"/>
                                          </a:cubicBezTo>
                                          <a:cubicBezTo>
                                            <a:pt x="142351" y="11421"/>
                                            <a:pt x="145855" y="12528"/>
                                            <a:pt x="148660" y="14398"/>
                                          </a:cubicBezTo>
                                          <a:cubicBezTo>
                                            <a:pt x="149595" y="17203"/>
                                            <a:pt x="149618" y="20504"/>
                                            <a:pt x="151465" y="22813"/>
                                          </a:cubicBezTo>
                                          <a:cubicBezTo>
                                            <a:pt x="157989" y="30968"/>
                                            <a:pt x="168628" y="28646"/>
                                            <a:pt x="176709" y="34033"/>
                                          </a:cubicBezTo>
                                          <a:lnTo>
                                            <a:pt x="185124" y="39643"/>
                                          </a:lnTo>
                                          <a:cubicBezTo>
                                            <a:pt x="186994" y="42448"/>
                                            <a:pt x="187875" y="46270"/>
                                            <a:pt x="190734" y="48057"/>
                                          </a:cubicBezTo>
                                          <a:cubicBezTo>
                                            <a:pt x="195748" y="51191"/>
                                            <a:pt x="207563" y="53667"/>
                                            <a:pt x="207563" y="53667"/>
                                          </a:cubicBezTo>
                                          <a:lnTo>
                                            <a:pt x="215978" y="78911"/>
                                          </a:lnTo>
                                          <a:cubicBezTo>
                                            <a:pt x="216913" y="81716"/>
                                            <a:pt x="216323" y="85686"/>
                                            <a:pt x="218783" y="87326"/>
                                          </a:cubicBezTo>
                                          <a:lnTo>
                                            <a:pt x="227197" y="92936"/>
                                          </a:lnTo>
                                          <a:cubicBezTo>
                                            <a:pt x="229067" y="95741"/>
                                            <a:pt x="229948" y="99564"/>
                                            <a:pt x="232807" y="101351"/>
                                          </a:cubicBezTo>
                                          <a:cubicBezTo>
                                            <a:pt x="237822" y="104485"/>
                                            <a:pt x="249637" y="106960"/>
                                            <a:pt x="249637" y="106960"/>
                                          </a:cubicBezTo>
                                          <a:cubicBezTo>
                                            <a:pt x="250572" y="109765"/>
                                            <a:pt x="254533" y="113284"/>
                                            <a:pt x="252442" y="115375"/>
                                          </a:cubicBezTo>
                                          <a:cubicBezTo>
                                            <a:pt x="248261" y="119556"/>
                                            <a:pt x="235612" y="120985"/>
                                            <a:pt x="235612" y="120985"/>
                                          </a:cubicBezTo>
                                          <a:cubicBezTo>
                                            <a:pt x="232807" y="120050"/>
                                            <a:pt x="230065" y="118897"/>
                                            <a:pt x="227197" y="118180"/>
                                          </a:cubicBezTo>
                                          <a:cubicBezTo>
                                            <a:pt x="222572" y="117024"/>
                                            <a:pt x="217827" y="116409"/>
                                            <a:pt x="213173" y="115375"/>
                                          </a:cubicBezTo>
                                          <a:cubicBezTo>
                                            <a:pt x="209410" y="114539"/>
                                            <a:pt x="205693" y="113505"/>
                                            <a:pt x="201953" y="112570"/>
                                          </a:cubicBezTo>
                                          <a:cubicBezTo>
                                            <a:pt x="182396" y="99532"/>
                                            <a:pt x="197770" y="107779"/>
                                            <a:pt x="154270" y="104155"/>
                                          </a:cubicBezTo>
                                          <a:cubicBezTo>
                                            <a:pt x="144906" y="103375"/>
                                            <a:pt x="135571" y="102286"/>
                                            <a:pt x="126221" y="101351"/>
                                          </a:cubicBezTo>
                                          <a:cubicBezTo>
                                            <a:pt x="119171" y="80200"/>
                                            <a:pt x="129501" y="105451"/>
                                            <a:pt x="115001" y="87326"/>
                                          </a:cubicBezTo>
                                          <a:cubicBezTo>
                                            <a:pt x="113154" y="85017"/>
                                            <a:pt x="113836" y="81371"/>
                                            <a:pt x="112196" y="78911"/>
                                          </a:cubicBezTo>
                                          <a:cubicBezTo>
                                            <a:pt x="102516" y="64391"/>
                                            <a:pt x="94986" y="69617"/>
                                            <a:pt x="75732" y="67692"/>
                                          </a:cubicBezTo>
                                          <a:cubicBezTo>
                                            <a:pt x="72927" y="66757"/>
                                            <a:pt x="69962" y="66209"/>
                                            <a:pt x="67318" y="64887"/>
                                          </a:cubicBezTo>
                                          <a:cubicBezTo>
                                            <a:pt x="64303" y="63379"/>
                                            <a:pt x="61984" y="60646"/>
                                            <a:pt x="58903" y="59277"/>
                                          </a:cubicBezTo>
                                          <a:cubicBezTo>
                                            <a:pt x="53499" y="56875"/>
                                            <a:pt x="42073" y="53667"/>
                                            <a:pt x="42073" y="53667"/>
                                          </a:cubicBezTo>
                                          <a:cubicBezTo>
                                            <a:pt x="39792" y="46821"/>
                                            <a:pt x="39098" y="42277"/>
                                            <a:pt x="33659" y="36838"/>
                                          </a:cubicBezTo>
                                          <a:cubicBezTo>
                                            <a:pt x="31275" y="34454"/>
                                            <a:pt x="28049" y="33098"/>
                                            <a:pt x="25244" y="31228"/>
                                          </a:cubicBezTo>
                                          <a:cubicBezTo>
                                            <a:pt x="17041" y="18923"/>
                                            <a:pt x="4207" y="19540"/>
                                            <a:pt x="0" y="17203"/>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188" name="Freeform 187"/>
                                <p:cNvSpPr/>
                                <p:nvPr/>
                              </p:nvSpPr>
                              <p:spPr>
                                <a:xfrm>
                                  <a:off x="4998346" y="2967593"/>
                                  <a:ext cx="1004157" cy="846424"/>
                                </a:xfrm>
                                <a:custGeom>
                                  <a:avLst/>
                                  <a:gdLst>
                                    <a:gd name="connsiteX0" fmla="*/ 8415 w 1004157"/>
                                    <a:gd name="connsiteY0" fmla="*/ 434760 h 846424"/>
                                    <a:gd name="connsiteX1" fmla="*/ 8415 w 1004157"/>
                                    <a:gd name="connsiteY1" fmla="*/ 434760 h 846424"/>
                                    <a:gd name="connsiteX2" fmla="*/ 11220 w 1004157"/>
                                    <a:gd name="connsiteY2" fmla="*/ 474029 h 846424"/>
                                    <a:gd name="connsiteX3" fmla="*/ 16829 w 1004157"/>
                                    <a:gd name="connsiteY3" fmla="*/ 490859 h 846424"/>
                                    <a:gd name="connsiteX4" fmla="*/ 25244 w 1004157"/>
                                    <a:gd name="connsiteY4" fmla="*/ 499273 h 846424"/>
                                    <a:gd name="connsiteX5" fmla="*/ 28049 w 1004157"/>
                                    <a:gd name="connsiteY5" fmla="*/ 507688 h 846424"/>
                                    <a:gd name="connsiteX6" fmla="*/ 39269 w 1004157"/>
                                    <a:gd name="connsiteY6" fmla="*/ 524517 h 846424"/>
                                    <a:gd name="connsiteX7" fmla="*/ 42074 w 1004157"/>
                                    <a:gd name="connsiteY7" fmla="*/ 532932 h 846424"/>
                                    <a:gd name="connsiteX8" fmla="*/ 53293 w 1004157"/>
                                    <a:gd name="connsiteY8" fmla="*/ 549762 h 846424"/>
                                    <a:gd name="connsiteX9" fmla="*/ 58903 w 1004157"/>
                                    <a:gd name="connsiteY9" fmla="*/ 583420 h 846424"/>
                                    <a:gd name="connsiteX10" fmla="*/ 58903 w 1004157"/>
                                    <a:gd name="connsiteY10" fmla="*/ 642324 h 846424"/>
                                    <a:gd name="connsiteX11" fmla="*/ 56098 w 1004157"/>
                                    <a:gd name="connsiteY11" fmla="*/ 650738 h 846424"/>
                                    <a:gd name="connsiteX12" fmla="*/ 39269 w 1004157"/>
                                    <a:gd name="connsiteY12" fmla="*/ 661958 h 846424"/>
                                    <a:gd name="connsiteX13" fmla="*/ 28049 w 1004157"/>
                                    <a:gd name="connsiteY13" fmla="*/ 675982 h 846424"/>
                                    <a:gd name="connsiteX14" fmla="*/ 22439 w 1004157"/>
                                    <a:gd name="connsiteY14" fmla="*/ 684397 h 846424"/>
                                    <a:gd name="connsiteX15" fmla="*/ 14025 w 1004157"/>
                                    <a:gd name="connsiteY15" fmla="*/ 692812 h 846424"/>
                                    <a:gd name="connsiteX16" fmla="*/ 0 w 1004157"/>
                                    <a:gd name="connsiteY16" fmla="*/ 709641 h 846424"/>
                                    <a:gd name="connsiteX17" fmla="*/ 2805 w 1004157"/>
                                    <a:gd name="connsiteY17" fmla="*/ 740495 h 846424"/>
                                    <a:gd name="connsiteX18" fmla="*/ 11220 w 1004157"/>
                                    <a:gd name="connsiteY18" fmla="*/ 746105 h 846424"/>
                                    <a:gd name="connsiteX19" fmla="*/ 28049 w 1004157"/>
                                    <a:gd name="connsiteY19" fmla="*/ 751715 h 846424"/>
                                    <a:gd name="connsiteX20" fmla="*/ 33659 w 1004157"/>
                                    <a:gd name="connsiteY20" fmla="*/ 760130 h 846424"/>
                                    <a:gd name="connsiteX21" fmla="*/ 36464 w 1004157"/>
                                    <a:gd name="connsiteY21" fmla="*/ 841472 h 846424"/>
                                    <a:gd name="connsiteX22" fmla="*/ 78537 w 1004157"/>
                                    <a:gd name="connsiteY22" fmla="*/ 838667 h 846424"/>
                                    <a:gd name="connsiteX23" fmla="*/ 100977 w 1004157"/>
                                    <a:gd name="connsiteY23" fmla="*/ 805008 h 846424"/>
                                    <a:gd name="connsiteX24" fmla="*/ 106587 w 1004157"/>
                                    <a:gd name="connsiteY24" fmla="*/ 796594 h 846424"/>
                                    <a:gd name="connsiteX25" fmla="*/ 115001 w 1004157"/>
                                    <a:gd name="connsiteY25" fmla="*/ 790984 h 846424"/>
                                    <a:gd name="connsiteX26" fmla="*/ 120611 w 1004157"/>
                                    <a:gd name="connsiteY26" fmla="*/ 782569 h 846424"/>
                                    <a:gd name="connsiteX27" fmla="*/ 129026 w 1004157"/>
                                    <a:gd name="connsiteY27" fmla="*/ 779764 h 846424"/>
                                    <a:gd name="connsiteX28" fmla="*/ 246832 w 1004157"/>
                                    <a:gd name="connsiteY28" fmla="*/ 776959 h 846424"/>
                                    <a:gd name="connsiteX29" fmla="*/ 325369 w 1004157"/>
                                    <a:gd name="connsiteY29" fmla="*/ 779764 h 846424"/>
                                    <a:gd name="connsiteX30" fmla="*/ 342199 w 1004157"/>
                                    <a:gd name="connsiteY30" fmla="*/ 785374 h 846424"/>
                                    <a:gd name="connsiteX31" fmla="*/ 356223 w 1004157"/>
                                    <a:gd name="connsiteY31" fmla="*/ 788179 h 846424"/>
                                    <a:gd name="connsiteX32" fmla="*/ 426346 w 1004157"/>
                                    <a:gd name="connsiteY32" fmla="*/ 793789 h 846424"/>
                                    <a:gd name="connsiteX33" fmla="*/ 429151 w 1004157"/>
                                    <a:gd name="connsiteY33" fmla="*/ 802203 h 846424"/>
                                    <a:gd name="connsiteX34" fmla="*/ 437566 w 1004157"/>
                                    <a:gd name="connsiteY34" fmla="*/ 807813 h 846424"/>
                                    <a:gd name="connsiteX35" fmla="*/ 482444 w 1004157"/>
                                    <a:gd name="connsiteY35" fmla="*/ 813423 h 846424"/>
                                    <a:gd name="connsiteX36" fmla="*/ 490859 w 1004157"/>
                                    <a:gd name="connsiteY36" fmla="*/ 819033 h 846424"/>
                                    <a:gd name="connsiteX37" fmla="*/ 496469 w 1004157"/>
                                    <a:gd name="connsiteY37" fmla="*/ 827447 h 846424"/>
                                    <a:gd name="connsiteX38" fmla="*/ 504883 w 1004157"/>
                                    <a:gd name="connsiteY38" fmla="*/ 830252 h 846424"/>
                                    <a:gd name="connsiteX39" fmla="*/ 513298 w 1004157"/>
                                    <a:gd name="connsiteY39" fmla="*/ 827447 h 846424"/>
                                    <a:gd name="connsiteX40" fmla="*/ 521713 w 1004157"/>
                                    <a:gd name="connsiteY40" fmla="*/ 821838 h 846424"/>
                                    <a:gd name="connsiteX41" fmla="*/ 538542 w 1004157"/>
                                    <a:gd name="connsiteY41" fmla="*/ 816228 h 846424"/>
                                    <a:gd name="connsiteX42" fmla="*/ 541347 w 1004157"/>
                                    <a:gd name="connsiteY42" fmla="*/ 805008 h 846424"/>
                                    <a:gd name="connsiteX43" fmla="*/ 575006 w 1004157"/>
                                    <a:gd name="connsiteY43" fmla="*/ 810618 h 846424"/>
                                    <a:gd name="connsiteX44" fmla="*/ 619885 w 1004157"/>
                                    <a:gd name="connsiteY44" fmla="*/ 816228 h 846424"/>
                                    <a:gd name="connsiteX45" fmla="*/ 622690 w 1004157"/>
                                    <a:gd name="connsiteY45" fmla="*/ 807813 h 846424"/>
                                    <a:gd name="connsiteX46" fmla="*/ 636714 w 1004157"/>
                                    <a:gd name="connsiteY46" fmla="*/ 805008 h 846424"/>
                                    <a:gd name="connsiteX47" fmla="*/ 670373 w 1004157"/>
                                    <a:gd name="connsiteY47" fmla="*/ 807813 h 846424"/>
                                    <a:gd name="connsiteX48" fmla="*/ 673178 w 1004157"/>
                                    <a:gd name="connsiteY48" fmla="*/ 816228 h 846424"/>
                                    <a:gd name="connsiteX49" fmla="*/ 684398 w 1004157"/>
                                    <a:gd name="connsiteY49" fmla="*/ 833057 h 846424"/>
                                    <a:gd name="connsiteX50" fmla="*/ 701227 w 1004157"/>
                                    <a:gd name="connsiteY50" fmla="*/ 830252 h 846424"/>
                                    <a:gd name="connsiteX51" fmla="*/ 740496 w 1004157"/>
                                    <a:gd name="connsiteY51" fmla="*/ 810618 h 846424"/>
                                    <a:gd name="connsiteX52" fmla="*/ 785374 w 1004157"/>
                                    <a:gd name="connsiteY52" fmla="*/ 813423 h 846424"/>
                                    <a:gd name="connsiteX53" fmla="*/ 802204 w 1004157"/>
                                    <a:gd name="connsiteY53" fmla="*/ 819033 h 846424"/>
                                    <a:gd name="connsiteX54" fmla="*/ 807814 w 1004157"/>
                                    <a:gd name="connsiteY54" fmla="*/ 827447 h 846424"/>
                                    <a:gd name="connsiteX55" fmla="*/ 824643 w 1004157"/>
                                    <a:gd name="connsiteY55" fmla="*/ 833057 h 846424"/>
                                    <a:gd name="connsiteX56" fmla="*/ 833058 w 1004157"/>
                                    <a:gd name="connsiteY56" fmla="*/ 838667 h 846424"/>
                                    <a:gd name="connsiteX57" fmla="*/ 830253 w 1004157"/>
                                    <a:gd name="connsiteY57" fmla="*/ 813423 h 846424"/>
                                    <a:gd name="connsiteX58" fmla="*/ 827448 w 1004157"/>
                                    <a:gd name="connsiteY58" fmla="*/ 805008 h 846424"/>
                                    <a:gd name="connsiteX59" fmla="*/ 830253 w 1004157"/>
                                    <a:gd name="connsiteY59" fmla="*/ 740495 h 846424"/>
                                    <a:gd name="connsiteX60" fmla="*/ 833058 w 1004157"/>
                                    <a:gd name="connsiteY60" fmla="*/ 729276 h 846424"/>
                                    <a:gd name="connsiteX61" fmla="*/ 841472 w 1004157"/>
                                    <a:gd name="connsiteY61" fmla="*/ 698422 h 846424"/>
                                    <a:gd name="connsiteX62" fmla="*/ 844277 w 1004157"/>
                                    <a:gd name="connsiteY62" fmla="*/ 690007 h 846424"/>
                                    <a:gd name="connsiteX63" fmla="*/ 861107 w 1004157"/>
                                    <a:gd name="connsiteY63" fmla="*/ 681592 h 846424"/>
                                    <a:gd name="connsiteX64" fmla="*/ 886351 w 1004157"/>
                                    <a:gd name="connsiteY64" fmla="*/ 675982 h 846424"/>
                                    <a:gd name="connsiteX65" fmla="*/ 894766 w 1004157"/>
                                    <a:gd name="connsiteY65" fmla="*/ 667568 h 846424"/>
                                    <a:gd name="connsiteX66" fmla="*/ 903180 w 1004157"/>
                                    <a:gd name="connsiteY66" fmla="*/ 661958 h 846424"/>
                                    <a:gd name="connsiteX67" fmla="*/ 934034 w 1004157"/>
                                    <a:gd name="connsiteY67" fmla="*/ 664763 h 846424"/>
                                    <a:gd name="connsiteX68" fmla="*/ 942449 w 1004157"/>
                                    <a:gd name="connsiteY68" fmla="*/ 667568 h 846424"/>
                                    <a:gd name="connsiteX69" fmla="*/ 931229 w 1004157"/>
                                    <a:gd name="connsiteY69" fmla="*/ 653543 h 846424"/>
                                    <a:gd name="connsiteX70" fmla="*/ 920010 w 1004157"/>
                                    <a:gd name="connsiteY70" fmla="*/ 633909 h 846424"/>
                                    <a:gd name="connsiteX71" fmla="*/ 917205 w 1004157"/>
                                    <a:gd name="connsiteY71" fmla="*/ 622689 h 846424"/>
                                    <a:gd name="connsiteX72" fmla="*/ 914400 w 1004157"/>
                                    <a:gd name="connsiteY72" fmla="*/ 594640 h 846424"/>
                                    <a:gd name="connsiteX73" fmla="*/ 905985 w 1004157"/>
                                    <a:gd name="connsiteY73" fmla="*/ 589030 h 846424"/>
                                    <a:gd name="connsiteX74" fmla="*/ 900375 w 1004157"/>
                                    <a:gd name="connsiteY74" fmla="*/ 572201 h 846424"/>
                                    <a:gd name="connsiteX75" fmla="*/ 897571 w 1004157"/>
                                    <a:gd name="connsiteY75" fmla="*/ 544152 h 846424"/>
                                    <a:gd name="connsiteX76" fmla="*/ 883546 w 1004157"/>
                                    <a:gd name="connsiteY76" fmla="*/ 532932 h 846424"/>
                                    <a:gd name="connsiteX77" fmla="*/ 866717 w 1004157"/>
                                    <a:gd name="connsiteY77" fmla="*/ 524517 h 846424"/>
                                    <a:gd name="connsiteX78" fmla="*/ 861107 w 1004157"/>
                                    <a:gd name="connsiteY78" fmla="*/ 516103 h 846424"/>
                                    <a:gd name="connsiteX79" fmla="*/ 861107 w 1004157"/>
                                    <a:gd name="connsiteY79" fmla="*/ 479639 h 846424"/>
                                    <a:gd name="connsiteX80" fmla="*/ 886351 w 1004157"/>
                                    <a:gd name="connsiteY80" fmla="*/ 465614 h 846424"/>
                                    <a:gd name="connsiteX81" fmla="*/ 925620 w 1004157"/>
                                    <a:gd name="connsiteY81" fmla="*/ 471224 h 846424"/>
                                    <a:gd name="connsiteX82" fmla="*/ 934034 w 1004157"/>
                                    <a:gd name="connsiteY82" fmla="*/ 476834 h 846424"/>
                                    <a:gd name="connsiteX83" fmla="*/ 953669 w 1004157"/>
                                    <a:gd name="connsiteY83" fmla="*/ 474029 h 846424"/>
                                    <a:gd name="connsiteX84" fmla="*/ 964888 w 1004157"/>
                                    <a:gd name="connsiteY84" fmla="*/ 457200 h 846424"/>
                                    <a:gd name="connsiteX85" fmla="*/ 973303 w 1004157"/>
                                    <a:gd name="connsiteY85" fmla="*/ 451590 h 846424"/>
                                    <a:gd name="connsiteX86" fmla="*/ 976108 w 1004157"/>
                                    <a:gd name="connsiteY86" fmla="*/ 443175 h 846424"/>
                                    <a:gd name="connsiteX87" fmla="*/ 984523 w 1004157"/>
                                    <a:gd name="connsiteY87" fmla="*/ 437565 h 846424"/>
                                    <a:gd name="connsiteX88" fmla="*/ 1004157 w 1004157"/>
                                    <a:gd name="connsiteY88" fmla="*/ 431955 h 846424"/>
                                    <a:gd name="connsiteX89" fmla="*/ 1001352 w 1004157"/>
                                    <a:gd name="connsiteY89" fmla="*/ 398297 h 846424"/>
                                    <a:gd name="connsiteX90" fmla="*/ 995742 w 1004157"/>
                                    <a:gd name="connsiteY90" fmla="*/ 389882 h 846424"/>
                                    <a:gd name="connsiteX91" fmla="*/ 978913 w 1004157"/>
                                    <a:gd name="connsiteY91" fmla="*/ 387077 h 846424"/>
                                    <a:gd name="connsiteX92" fmla="*/ 970498 w 1004157"/>
                                    <a:gd name="connsiteY92" fmla="*/ 384272 h 846424"/>
                                    <a:gd name="connsiteX93" fmla="*/ 964888 w 1004157"/>
                                    <a:gd name="connsiteY93" fmla="*/ 367443 h 846424"/>
                                    <a:gd name="connsiteX94" fmla="*/ 948059 w 1004157"/>
                                    <a:gd name="connsiteY94" fmla="*/ 361833 h 846424"/>
                                    <a:gd name="connsiteX95" fmla="*/ 939644 w 1004157"/>
                                    <a:gd name="connsiteY95" fmla="*/ 359028 h 846424"/>
                                    <a:gd name="connsiteX96" fmla="*/ 917205 w 1004157"/>
                                    <a:gd name="connsiteY96" fmla="*/ 361833 h 846424"/>
                                    <a:gd name="connsiteX97" fmla="*/ 900375 w 1004157"/>
                                    <a:gd name="connsiteY97" fmla="*/ 367443 h 846424"/>
                                    <a:gd name="connsiteX98" fmla="*/ 891961 w 1004157"/>
                                    <a:gd name="connsiteY98" fmla="*/ 364638 h 846424"/>
                                    <a:gd name="connsiteX99" fmla="*/ 889156 w 1004157"/>
                                    <a:gd name="connsiteY99" fmla="*/ 356223 h 846424"/>
                                    <a:gd name="connsiteX100" fmla="*/ 883546 w 1004157"/>
                                    <a:gd name="connsiteY100" fmla="*/ 333784 h 846424"/>
                                    <a:gd name="connsiteX101" fmla="*/ 866717 w 1004157"/>
                                    <a:gd name="connsiteY101" fmla="*/ 319759 h 846424"/>
                                    <a:gd name="connsiteX102" fmla="*/ 852692 w 1004157"/>
                                    <a:gd name="connsiteY102" fmla="*/ 302930 h 846424"/>
                                    <a:gd name="connsiteX103" fmla="*/ 844277 w 1004157"/>
                                    <a:gd name="connsiteY103" fmla="*/ 297320 h 846424"/>
                                    <a:gd name="connsiteX104" fmla="*/ 835863 w 1004157"/>
                                    <a:gd name="connsiteY104" fmla="*/ 288905 h 846424"/>
                                    <a:gd name="connsiteX105" fmla="*/ 827448 w 1004157"/>
                                    <a:gd name="connsiteY105" fmla="*/ 283295 h 846424"/>
                                    <a:gd name="connsiteX106" fmla="*/ 805009 w 1004157"/>
                                    <a:gd name="connsiteY106" fmla="*/ 258051 h 846424"/>
                                    <a:gd name="connsiteX107" fmla="*/ 802204 w 1004157"/>
                                    <a:gd name="connsiteY107" fmla="*/ 249636 h 846424"/>
                                    <a:gd name="connsiteX108" fmla="*/ 790984 w 1004157"/>
                                    <a:gd name="connsiteY108" fmla="*/ 218782 h 846424"/>
                                    <a:gd name="connsiteX109" fmla="*/ 782569 w 1004157"/>
                                    <a:gd name="connsiteY109" fmla="*/ 215978 h 846424"/>
                                    <a:gd name="connsiteX110" fmla="*/ 771350 w 1004157"/>
                                    <a:gd name="connsiteY110" fmla="*/ 199148 h 846424"/>
                                    <a:gd name="connsiteX111" fmla="*/ 776960 w 1004157"/>
                                    <a:gd name="connsiteY111" fmla="*/ 165489 h 846424"/>
                                    <a:gd name="connsiteX112" fmla="*/ 782569 w 1004157"/>
                                    <a:gd name="connsiteY112" fmla="*/ 157074 h 846424"/>
                                    <a:gd name="connsiteX113" fmla="*/ 779764 w 1004157"/>
                                    <a:gd name="connsiteY113" fmla="*/ 129025 h 846424"/>
                                    <a:gd name="connsiteX114" fmla="*/ 771350 w 1004157"/>
                                    <a:gd name="connsiteY114" fmla="*/ 126220 h 846424"/>
                                    <a:gd name="connsiteX115" fmla="*/ 762935 w 1004157"/>
                                    <a:gd name="connsiteY115" fmla="*/ 117806 h 846424"/>
                                    <a:gd name="connsiteX116" fmla="*/ 754520 w 1004157"/>
                                    <a:gd name="connsiteY116" fmla="*/ 112196 h 846424"/>
                                    <a:gd name="connsiteX117" fmla="*/ 751715 w 1004157"/>
                                    <a:gd name="connsiteY117" fmla="*/ 103781 h 846424"/>
                                    <a:gd name="connsiteX118" fmla="*/ 743301 w 1004157"/>
                                    <a:gd name="connsiteY118" fmla="*/ 98171 h 846424"/>
                                    <a:gd name="connsiteX119" fmla="*/ 751715 w 1004157"/>
                                    <a:gd name="connsiteY119" fmla="*/ 78537 h 846424"/>
                                    <a:gd name="connsiteX120" fmla="*/ 748910 w 1004157"/>
                                    <a:gd name="connsiteY120" fmla="*/ 67317 h 846424"/>
                                    <a:gd name="connsiteX121" fmla="*/ 740496 w 1004157"/>
                                    <a:gd name="connsiteY121" fmla="*/ 64513 h 846424"/>
                                    <a:gd name="connsiteX122" fmla="*/ 723666 w 1004157"/>
                                    <a:gd name="connsiteY122" fmla="*/ 56098 h 846424"/>
                                    <a:gd name="connsiteX123" fmla="*/ 718056 w 1004157"/>
                                    <a:gd name="connsiteY123" fmla="*/ 47683 h 846424"/>
                                    <a:gd name="connsiteX124" fmla="*/ 706837 w 1004157"/>
                                    <a:gd name="connsiteY124" fmla="*/ 42073 h 846424"/>
                                    <a:gd name="connsiteX125" fmla="*/ 698422 w 1004157"/>
                                    <a:gd name="connsiteY125" fmla="*/ 36463 h 846424"/>
                                    <a:gd name="connsiteX126" fmla="*/ 695617 w 1004157"/>
                                    <a:gd name="connsiteY126" fmla="*/ 28049 h 846424"/>
                                    <a:gd name="connsiteX127" fmla="*/ 687202 w 1004157"/>
                                    <a:gd name="connsiteY127" fmla="*/ 25244 h 846424"/>
                                    <a:gd name="connsiteX128" fmla="*/ 656348 w 1004157"/>
                                    <a:gd name="connsiteY128" fmla="*/ 28049 h 846424"/>
                                    <a:gd name="connsiteX129" fmla="*/ 647934 w 1004157"/>
                                    <a:gd name="connsiteY129" fmla="*/ 33659 h 846424"/>
                                    <a:gd name="connsiteX130" fmla="*/ 639519 w 1004157"/>
                                    <a:gd name="connsiteY130" fmla="*/ 36463 h 846424"/>
                                    <a:gd name="connsiteX131" fmla="*/ 611470 w 1004157"/>
                                    <a:gd name="connsiteY131" fmla="*/ 42073 h 846424"/>
                                    <a:gd name="connsiteX132" fmla="*/ 589031 w 1004157"/>
                                    <a:gd name="connsiteY132" fmla="*/ 39268 h 846424"/>
                                    <a:gd name="connsiteX133" fmla="*/ 583421 w 1004157"/>
                                    <a:gd name="connsiteY133" fmla="*/ 22439 h 846424"/>
                                    <a:gd name="connsiteX134" fmla="*/ 575006 w 1004157"/>
                                    <a:gd name="connsiteY134" fmla="*/ 16829 h 846424"/>
                                    <a:gd name="connsiteX135" fmla="*/ 569396 w 1004157"/>
                                    <a:gd name="connsiteY135" fmla="*/ 8414 h 846424"/>
                                    <a:gd name="connsiteX136" fmla="*/ 544152 w 1004157"/>
                                    <a:gd name="connsiteY136" fmla="*/ 11219 h 846424"/>
                                    <a:gd name="connsiteX137" fmla="*/ 532933 w 1004157"/>
                                    <a:gd name="connsiteY137" fmla="*/ 16829 h 846424"/>
                                    <a:gd name="connsiteX138" fmla="*/ 524518 w 1004157"/>
                                    <a:gd name="connsiteY138" fmla="*/ 28049 h 846424"/>
                                    <a:gd name="connsiteX139" fmla="*/ 499274 w 1004157"/>
                                    <a:gd name="connsiteY139" fmla="*/ 5609 h 846424"/>
                                    <a:gd name="connsiteX140" fmla="*/ 490859 w 1004157"/>
                                    <a:gd name="connsiteY140" fmla="*/ 2805 h 846424"/>
                                    <a:gd name="connsiteX141" fmla="*/ 479639 w 1004157"/>
                                    <a:gd name="connsiteY141" fmla="*/ 5609 h 846424"/>
                                    <a:gd name="connsiteX142" fmla="*/ 471225 w 1004157"/>
                                    <a:gd name="connsiteY142" fmla="*/ 8414 h 846424"/>
                                    <a:gd name="connsiteX143" fmla="*/ 462810 w 1004157"/>
                                    <a:gd name="connsiteY143" fmla="*/ 2805 h 846424"/>
                                    <a:gd name="connsiteX144" fmla="*/ 454395 w 1004157"/>
                                    <a:gd name="connsiteY144" fmla="*/ 0 h 846424"/>
                                    <a:gd name="connsiteX145" fmla="*/ 445980 w 1004157"/>
                                    <a:gd name="connsiteY145" fmla="*/ 2805 h 846424"/>
                                    <a:gd name="connsiteX146" fmla="*/ 437566 w 1004157"/>
                                    <a:gd name="connsiteY146" fmla="*/ 19634 h 846424"/>
                                    <a:gd name="connsiteX147" fmla="*/ 431956 w 1004157"/>
                                    <a:gd name="connsiteY147" fmla="*/ 28049 h 846424"/>
                                    <a:gd name="connsiteX148" fmla="*/ 415126 w 1004157"/>
                                    <a:gd name="connsiteY148" fmla="*/ 39268 h 846424"/>
                                    <a:gd name="connsiteX149" fmla="*/ 409517 w 1004157"/>
                                    <a:gd name="connsiteY149" fmla="*/ 47683 h 846424"/>
                                    <a:gd name="connsiteX150" fmla="*/ 392687 w 1004157"/>
                                    <a:gd name="connsiteY150" fmla="*/ 58903 h 846424"/>
                                    <a:gd name="connsiteX151" fmla="*/ 378663 w 1004157"/>
                                    <a:gd name="connsiteY151" fmla="*/ 56098 h 846424"/>
                                    <a:gd name="connsiteX152" fmla="*/ 367443 w 1004157"/>
                                    <a:gd name="connsiteY152" fmla="*/ 53293 h 846424"/>
                                    <a:gd name="connsiteX153" fmla="*/ 342199 w 1004157"/>
                                    <a:gd name="connsiteY153" fmla="*/ 56098 h 846424"/>
                                    <a:gd name="connsiteX154" fmla="*/ 333784 w 1004157"/>
                                    <a:gd name="connsiteY154" fmla="*/ 58903 h 846424"/>
                                    <a:gd name="connsiteX155" fmla="*/ 319760 w 1004157"/>
                                    <a:gd name="connsiteY155" fmla="*/ 84147 h 846424"/>
                                    <a:gd name="connsiteX156" fmla="*/ 302930 w 1004157"/>
                                    <a:gd name="connsiteY156" fmla="*/ 89757 h 846424"/>
                                    <a:gd name="connsiteX157" fmla="*/ 297320 w 1004157"/>
                                    <a:gd name="connsiteY157" fmla="*/ 145855 h 846424"/>
                                    <a:gd name="connsiteX158" fmla="*/ 302930 w 1004157"/>
                                    <a:gd name="connsiteY158" fmla="*/ 154270 h 846424"/>
                                    <a:gd name="connsiteX159" fmla="*/ 325369 w 1004157"/>
                                    <a:gd name="connsiteY159" fmla="*/ 159879 h 846424"/>
                                    <a:gd name="connsiteX160" fmla="*/ 333784 w 1004157"/>
                                    <a:gd name="connsiteY160" fmla="*/ 165489 h 846424"/>
                                    <a:gd name="connsiteX161" fmla="*/ 330979 w 1004157"/>
                                    <a:gd name="connsiteY161" fmla="*/ 179514 h 846424"/>
                                    <a:gd name="connsiteX162" fmla="*/ 322564 w 1004157"/>
                                    <a:gd name="connsiteY162" fmla="*/ 196343 h 846424"/>
                                    <a:gd name="connsiteX163" fmla="*/ 319760 w 1004157"/>
                                    <a:gd name="connsiteY163" fmla="*/ 204758 h 846424"/>
                                    <a:gd name="connsiteX164" fmla="*/ 297320 w 1004157"/>
                                    <a:gd name="connsiteY164" fmla="*/ 204758 h 846424"/>
                                    <a:gd name="connsiteX165" fmla="*/ 283296 w 1004157"/>
                                    <a:gd name="connsiteY165" fmla="*/ 221587 h 846424"/>
                                    <a:gd name="connsiteX166" fmla="*/ 272076 w 1004157"/>
                                    <a:gd name="connsiteY166" fmla="*/ 232807 h 846424"/>
                                    <a:gd name="connsiteX167" fmla="*/ 266466 w 1004157"/>
                                    <a:gd name="connsiteY167" fmla="*/ 241222 h 846424"/>
                                    <a:gd name="connsiteX168" fmla="*/ 255247 w 1004157"/>
                                    <a:gd name="connsiteY168" fmla="*/ 246832 h 846424"/>
                                    <a:gd name="connsiteX169" fmla="*/ 246832 w 1004157"/>
                                    <a:gd name="connsiteY169" fmla="*/ 252441 h 846424"/>
                                    <a:gd name="connsiteX170" fmla="*/ 241222 w 1004157"/>
                                    <a:gd name="connsiteY170" fmla="*/ 308540 h 846424"/>
                                    <a:gd name="connsiteX171" fmla="*/ 235612 w 1004157"/>
                                    <a:gd name="connsiteY171" fmla="*/ 316954 h 846424"/>
                                    <a:gd name="connsiteX172" fmla="*/ 232807 w 1004157"/>
                                    <a:gd name="connsiteY172" fmla="*/ 333784 h 846424"/>
                                    <a:gd name="connsiteX173" fmla="*/ 241222 w 1004157"/>
                                    <a:gd name="connsiteY173" fmla="*/ 339394 h 846424"/>
                                    <a:gd name="connsiteX174" fmla="*/ 258052 w 1004157"/>
                                    <a:gd name="connsiteY174" fmla="*/ 350613 h 846424"/>
                                    <a:gd name="connsiteX175" fmla="*/ 260856 w 1004157"/>
                                    <a:gd name="connsiteY175" fmla="*/ 359028 h 846424"/>
                                    <a:gd name="connsiteX176" fmla="*/ 249637 w 1004157"/>
                                    <a:gd name="connsiteY176" fmla="*/ 378662 h 846424"/>
                                    <a:gd name="connsiteX177" fmla="*/ 241222 w 1004157"/>
                                    <a:gd name="connsiteY177" fmla="*/ 381467 h 846424"/>
                                    <a:gd name="connsiteX178" fmla="*/ 224393 w 1004157"/>
                                    <a:gd name="connsiteY178" fmla="*/ 392687 h 846424"/>
                                    <a:gd name="connsiteX179" fmla="*/ 215978 w 1004157"/>
                                    <a:gd name="connsiteY179" fmla="*/ 389882 h 846424"/>
                                    <a:gd name="connsiteX180" fmla="*/ 213173 w 1004157"/>
                                    <a:gd name="connsiteY180" fmla="*/ 381467 h 846424"/>
                                    <a:gd name="connsiteX181" fmla="*/ 207563 w 1004157"/>
                                    <a:gd name="connsiteY181" fmla="*/ 373052 h 846424"/>
                                    <a:gd name="connsiteX182" fmla="*/ 190734 w 1004157"/>
                                    <a:gd name="connsiteY182" fmla="*/ 381467 h 846424"/>
                                    <a:gd name="connsiteX183" fmla="*/ 176709 w 1004157"/>
                                    <a:gd name="connsiteY183" fmla="*/ 387077 h 846424"/>
                                    <a:gd name="connsiteX184" fmla="*/ 162685 w 1004157"/>
                                    <a:gd name="connsiteY184" fmla="*/ 387077 h 846424"/>
                                    <a:gd name="connsiteX185" fmla="*/ 148660 w 1004157"/>
                                    <a:gd name="connsiteY185" fmla="*/ 406711 h 846424"/>
                                    <a:gd name="connsiteX186" fmla="*/ 131831 w 1004157"/>
                                    <a:gd name="connsiteY186" fmla="*/ 415126 h 846424"/>
                                    <a:gd name="connsiteX187" fmla="*/ 123416 w 1004157"/>
                                    <a:gd name="connsiteY187" fmla="*/ 420736 h 846424"/>
                                    <a:gd name="connsiteX188" fmla="*/ 117806 w 1004157"/>
                                    <a:gd name="connsiteY188" fmla="*/ 431955 h 846424"/>
                                    <a:gd name="connsiteX189" fmla="*/ 100977 w 1004157"/>
                                    <a:gd name="connsiteY189" fmla="*/ 437565 h 846424"/>
                                    <a:gd name="connsiteX190" fmla="*/ 86952 w 1004157"/>
                                    <a:gd name="connsiteY190" fmla="*/ 434760 h 846424"/>
                                    <a:gd name="connsiteX191" fmla="*/ 75733 w 1004157"/>
                                    <a:gd name="connsiteY191" fmla="*/ 429151 h 846424"/>
                                    <a:gd name="connsiteX192" fmla="*/ 67318 w 1004157"/>
                                    <a:gd name="connsiteY192" fmla="*/ 426346 h 846424"/>
                                    <a:gd name="connsiteX193" fmla="*/ 50488 w 1004157"/>
                                    <a:gd name="connsiteY193" fmla="*/ 431955 h 846424"/>
                                    <a:gd name="connsiteX194" fmla="*/ 42074 w 1004157"/>
                                    <a:gd name="connsiteY194" fmla="*/ 434760 h 846424"/>
                                    <a:gd name="connsiteX195" fmla="*/ 30854 w 1004157"/>
                                    <a:gd name="connsiteY195" fmla="*/ 437565 h 846424"/>
                                    <a:gd name="connsiteX196" fmla="*/ 8415 w 1004157"/>
                                    <a:gd name="connsiteY196" fmla="*/ 434760 h 84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004157" h="846424">
                                      <a:moveTo>
                                        <a:pt x="8415" y="434760"/>
                                      </a:moveTo>
                                      <a:lnTo>
                                        <a:pt x="8415" y="434760"/>
                                      </a:lnTo>
                                      <a:cubicBezTo>
                                        <a:pt x="9350" y="447850"/>
                                        <a:pt x="9274" y="461051"/>
                                        <a:pt x="11220" y="474029"/>
                                      </a:cubicBezTo>
                                      <a:cubicBezTo>
                                        <a:pt x="12097" y="479877"/>
                                        <a:pt x="12647" y="486678"/>
                                        <a:pt x="16829" y="490859"/>
                                      </a:cubicBezTo>
                                      <a:lnTo>
                                        <a:pt x="25244" y="499273"/>
                                      </a:lnTo>
                                      <a:cubicBezTo>
                                        <a:pt x="26179" y="502078"/>
                                        <a:pt x="26613" y="505103"/>
                                        <a:pt x="28049" y="507688"/>
                                      </a:cubicBezTo>
                                      <a:cubicBezTo>
                                        <a:pt x="31323" y="513582"/>
                                        <a:pt x="39269" y="524517"/>
                                        <a:pt x="39269" y="524517"/>
                                      </a:cubicBezTo>
                                      <a:cubicBezTo>
                                        <a:pt x="40204" y="527322"/>
                                        <a:pt x="40638" y="530347"/>
                                        <a:pt x="42074" y="532932"/>
                                      </a:cubicBezTo>
                                      <a:cubicBezTo>
                                        <a:pt x="45348" y="538826"/>
                                        <a:pt x="53293" y="549762"/>
                                        <a:pt x="53293" y="549762"/>
                                      </a:cubicBezTo>
                                      <a:lnTo>
                                        <a:pt x="58903" y="583420"/>
                                      </a:lnTo>
                                      <a:cubicBezTo>
                                        <a:pt x="61114" y="616579"/>
                                        <a:pt x="64412" y="617533"/>
                                        <a:pt x="58903" y="642324"/>
                                      </a:cubicBezTo>
                                      <a:cubicBezTo>
                                        <a:pt x="58262" y="645210"/>
                                        <a:pt x="58188" y="648648"/>
                                        <a:pt x="56098" y="650738"/>
                                      </a:cubicBezTo>
                                      <a:cubicBezTo>
                                        <a:pt x="51331" y="655505"/>
                                        <a:pt x="39269" y="661958"/>
                                        <a:pt x="39269" y="661958"/>
                                      </a:cubicBezTo>
                                      <a:cubicBezTo>
                                        <a:pt x="33808" y="678341"/>
                                        <a:pt x="40737" y="663295"/>
                                        <a:pt x="28049" y="675982"/>
                                      </a:cubicBezTo>
                                      <a:cubicBezTo>
                                        <a:pt x="25665" y="678366"/>
                                        <a:pt x="24597" y="681807"/>
                                        <a:pt x="22439" y="684397"/>
                                      </a:cubicBezTo>
                                      <a:cubicBezTo>
                                        <a:pt x="19900" y="687444"/>
                                        <a:pt x="16564" y="689765"/>
                                        <a:pt x="14025" y="692812"/>
                                      </a:cubicBezTo>
                                      <a:cubicBezTo>
                                        <a:pt x="-5485" y="716226"/>
                                        <a:pt x="24566" y="685078"/>
                                        <a:pt x="0" y="709641"/>
                                      </a:cubicBezTo>
                                      <a:cubicBezTo>
                                        <a:pt x="935" y="719926"/>
                                        <a:pt x="-232" y="730625"/>
                                        <a:pt x="2805" y="740495"/>
                                      </a:cubicBezTo>
                                      <a:cubicBezTo>
                                        <a:pt x="3796" y="743717"/>
                                        <a:pt x="8139" y="744736"/>
                                        <a:pt x="11220" y="746105"/>
                                      </a:cubicBezTo>
                                      <a:cubicBezTo>
                                        <a:pt x="16623" y="748507"/>
                                        <a:pt x="28049" y="751715"/>
                                        <a:pt x="28049" y="751715"/>
                                      </a:cubicBezTo>
                                      <a:cubicBezTo>
                                        <a:pt x="29919" y="754520"/>
                                        <a:pt x="33344" y="756774"/>
                                        <a:pt x="33659" y="760130"/>
                                      </a:cubicBezTo>
                                      <a:cubicBezTo>
                                        <a:pt x="36191" y="787142"/>
                                        <a:pt x="23004" y="817916"/>
                                        <a:pt x="36464" y="841472"/>
                                      </a:cubicBezTo>
                                      <a:cubicBezTo>
                                        <a:pt x="43437" y="853676"/>
                                        <a:pt x="64513" y="839602"/>
                                        <a:pt x="78537" y="838667"/>
                                      </a:cubicBezTo>
                                      <a:lnTo>
                                        <a:pt x="100977" y="805008"/>
                                      </a:lnTo>
                                      <a:cubicBezTo>
                                        <a:pt x="102847" y="802203"/>
                                        <a:pt x="103782" y="798464"/>
                                        <a:pt x="106587" y="796594"/>
                                      </a:cubicBezTo>
                                      <a:lnTo>
                                        <a:pt x="115001" y="790984"/>
                                      </a:lnTo>
                                      <a:cubicBezTo>
                                        <a:pt x="116871" y="788179"/>
                                        <a:pt x="117979" y="784675"/>
                                        <a:pt x="120611" y="782569"/>
                                      </a:cubicBezTo>
                                      <a:cubicBezTo>
                                        <a:pt x="122920" y="780722"/>
                                        <a:pt x="126072" y="779895"/>
                                        <a:pt x="129026" y="779764"/>
                                      </a:cubicBezTo>
                                      <a:cubicBezTo>
                                        <a:pt x="168267" y="778020"/>
                                        <a:pt x="207563" y="777894"/>
                                        <a:pt x="246832" y="776959"/>
                                      </a:cubicBezTo>
                                      <a:cubicBezTo>
                                        <a:pt x="273011" y="777894"/>
                                        <a:pt x="299275" y="777461"/>
                                        <a:pt x="325369" y="779764"/>
                                      </a:cubicBezTo>
                                      <a:cubicBezTo>
                                        <a:pt x="331260" y="780284"/>
                                        <a:pt x="336400" y="784214"/>
                                        <a:pt x="342199" y="785374"/>
                                      </a:cubicBezTo>
                                      <a:cubicBezTo>
                                        <a:pt x="346874" y="786309"/>
                                        <a:pt x="351498" y="787549"/>
                                        <a:pt x="356223" y="788179"/>
                                      </a:cubicBezTo>
                                      <a:cubicBezTo>
                                        <a:pt x="377240" y="790981"/>
                                        <a:pt x="406337" y="792455"/>
                                        <a:pt x="426346" y="793789"/>
                                      </a:cubicBezTo>
                                      <a:cubicBezTo>
                                        <a:pt x="427281" y="796594"/>
                                        <a:pt x="427304" y="799894"/>
                                        <a:pt x="429151" y="802203"/>
                                      </a:cubicBezTo>
                                      <a:cubicBezTo>
                                        <a:pt x="431257" y="804835"/>
                                        <a:pt x="434551" y="806305"/>
                                        <a:pt x="437566" y="807813"/>
                                      </a:cubicBezTo>
                                      <a:cubicBezTo>
                                        <a:pt x="449675" y="813868"/>
                                        <a:pt x="475482" y="812887"/>
                                        <a:pt x="482444" y="813423"/>
                                      </a:cubicBezTo>
                                      <a:cubicBezTo>
                                        <a:pt x="485249" y="815293"/>
                                        <a:pt x="488475" y="816649"/>
                                        <a:pt x="490859" y="819033"/>
                                      </a:cubicBezTo>
                                      <a:cubicBezTo>
                                        <a:pt x="493243" y="821417"/>
                                        <a:pt x="493837" y="825341"/>
                                        <a:pt x="496469" y="827447"/>
                                      </a:cubicBezTo>
                                      <a:cubicBezTo>
                                        <a:pt x="498778" y="829294"/>
                                        <a:pt x="502078" y="829317"/>
                                        <a:pt x="504883" y="830252"/>
                                      </a:cubicBezTo>
                                      <a:cubicBezTo>
                                        <a:pt x="507688" y="829317"/>
                                        <a:pt x="510653" y="828769"/>
                                        <a:pt x="513298" y="827447"/>
                                      </a:cubicBezTo>
                                      <a:cubicBezTo>
                                        <a:pt x="516313" y="825940"/>
                                        <a:pt x="518633" y="823207"/>
                                        <a:pt x="521713" y="821838"/>
                                      </a:cubicBezTo>
                                      <a:cubicBezTo>
                                        <a:pt x="527117" y="819437"/>
                                        <a:pt x="538542" y="816228"/>
                                        <a:pt x="538542" y="816228"/>
                                      </a:cubicBezTo>
                                      <a:cubicBezTo>
                                        <a:pt x="541643" y="806926"/>
                                        <a:pt x="541347" y="810770"/>
                                        <a:pt x="541347" y="805008"/>
                                      </a:cubicBezTo>
                                      <a:lnTo>
                                        <a:pt x="575006" y="810618"/>
                                      </a:lnTo>
                                      <a:cubicBezTo>
                                        <a:pt x="591959" y="816976"/>
                                        <a:pt x="601356" y="824463"/>
                                        <a:pt x="619885" y="816228"/>
                                      </a:cubicBezTo>
                                      <a:cubicBezTo>
                                        <a:pt x="622587" y="815027"/>
                                        <a:pt x="620230" y="809453"/>
                                        <a:pt x="622690" y="807813"/>
                                      </a:cubicBezTo>
                                      <a:cubicBezTo>
                                        <a:pt x="626657" y="805168"/>
                                        <a:pt x="632039" y="805943"/>
                                        <a:pt x="636714" y="805008"/>
                                      </a:cubicBezTo>
                                      <a:cubicBezTo>
                                        <a:pt x="647934" y="805943"/>
                                        <a:pt x="659612" y="804502"/>
                                        <a:pt x="670373" y="807813"/>
                                      </a:cubicBezTo>
                                      <a:cubicBezTo>
                                        <a:pt x="673199" y="808683"/>
                                        <a:pt x="671742" y="813643"/>
                                        <a:pt x="673178" y="816228"/>
                                      </a:cubicBezTo>
                                      <a:cubicBezTo>
                                        <a:pt x="676452" y="822122"/>
                                        <a:pt x="684398" y="833057"/>
                                        <a:pt x="684398" y="833057"/>
                                      </a:cubicBezTo>
                                      <a:cubicBezTo>
                                        <a:pt x="690008" y="832122"/>
                                        <a:pt x="688138" y="825110"/>
                                        <a:pt x="701227" y="830252"/>
                                      </a:cubicBezTo>
                                      <a:lnTo>
                                        <a:pt x="740496" y="810618"/>
                                      </a:lnTo>
                                      <a:cubicBezTo>
                                        <a:pt x="755455" y="811553"/>
                                        <a:pt x="770523" y="811398"/>
                                        <a:pt x="785374" y="813423"/>
                                      </a:cubicBezTo>
                                      <a:cubicBezTo>
                                        <a:pt x="791233" y="814222"/>
                                        <a:pt x="802204" y="819033"/>
                                        <a:pt x="802204" y="819033"/>
                                      </a:cubicBezTo>
                                      <a:cubicBezTo>
                                        <a:pt x="804074" y="821838"/>
                                        <a:pt x="804955" y="825660"/>
                                        <a:pt x="807814" y="827447"/>
                                      </a:cubicBezTo>
                                      <a:cubicBezTo>
                                        <a:pt x="812828" y="830581"/>
                                        <a:pt x="819723" y="829777"/>
                                        <a:pt x="824643" y="833057"/>
                                      </a:cubicBezTo>
                                      <a:lnTo>
                                        <a:pt x="833058" y="838667"/>
                                      </a:lnTo>
                                      <a:cubicBezTo>
                                        <a:pt x="837733" y="824642"/>
                                        <a:pt x="836798" y="833057"/>
                                        <a:pt x="830253" y="813423"/>
                                      </a:cubicBezTo>
                                      <a:lnTo>
                                        <a:pt x="827448" y="805008"/>
                                      </a:lnTo>
                                      <a:cubicBezTo>
                                        <a:pt x="828383" y="783504"/>
                                        <a:pt x="828663" y="761961"/>
                                        <a:pt x="830253" y="740495"/>
                                      </a:cubicBezTo>
                                      <a:cubicBezTo>
                                        <a:pt x="830538" y="736651"/>
                                        <a:pt x="832222" y="733039"/>
                                        <a:pt x="833058" y="729276"/>
                                      </a:cubicBezTo>
                                      <a:cubicBezTo>
                                        <a:pt x="838345" y="705487"/>
                                        <a:pt x="832716" y="724692"/>
                                        <a:pt x="841472" y="698422"/>
                                      </a:cubicBezTo>
                                      <a:cubicBezTo>
                                        <a:pt x="842407" y="695617"/>
                                        <a:pt x="836330" y="690007"/>
                                        <a:pt x="844277" y="690007"/>
                                      </a:cubicBezTo>
                                      <a:lnTo>
                                        <a:pt x="861107" y="681592"/>
                                      </a:lnTo>
                                      <a:cubicBezTo>
                                        <a:pt x="869522" y="679722"/>
                                        <a:pt x="878394" y="679297"/>
                                        <a:pt x="886351" y="675982"/>
                                      </a:cubicBezTo>
                                      <a:cubicBezTo>
                                        <a:pt x="890013" y="674456"/>
                                        <a:pt x="891719" y="670107"/>
                                        <a:pt x="894766" y="667568"/>
                                      </a:cubicBezTo>
                                      <a:cubicBezTo>
                                        <a:pt x="897356" y="665410"/>
                                        <a:pt x="900375" y="663828"/>
                                        <a:pt x="903180" y="661958"/>
                                      </a:cubicBezTo>
                                      <a:cubicBezTo>
                                        <a:pt x="913465" y="662893"/>
                                        <a:pt x="923811" y="663302"/>
                                        <a:pt x="934034" y="664763"/>
                                      </a:cubicBezTo>
                                      <a:cubicBezTo>
                                        <a:pt x="936961" y="665181"/>
                                        <a:pt x="940358" y="669659"/>
                                        <a:pt x="942449" y="667568"/>
                                      </a:cubicBezTo>
                                      <a:cubicBezTo>
                                        <a:pt x="947868" y="662149"/>
                                        <a:pt x="931511" y="653731"/>
                                        <a:pt x="931229" y="653543"/>
                                      </a:cubicBezTo>
                                      <a:cubicBezTo>
                                        <a:pt x="926582" y="646571"/>
                                        <a:pt x="923059" y="642039"/>
                                        <a:pt x="920010" y="633909"/>
                                      </a:cubicBezTo>
                                      <a:cubicBezTo>
                                        <a:pt x="918656" y="630299"/>
                                        <a:pt x="918140" y="626429"/>
                                        <a:pt x="917205" y="622689"/>
                                      </a:cubicBezTo>
                                      <a:cubicBezTo>
                                        <a:pt x="916270" y="613339"/>
                                        <a:pt x="917371" y="603554"/>
                                        <a:pt x="914400" y="594640"/>
                                      </a:cubicBezTo>
                                      <a:cubicBezTo>
                                        <a:pt x="913334" y="591442"/>
                                        <a:pt x="907772" y="591889"/>
                                        <a:pt x="905985" y="589030"/>
                                      </a:cubicBezTo>
                                      <a:cubicBezTo>
                                        <a:pt x="902851" y="584016"/>
                                        <a:pt x="900375" y="572201"/>
                                        <a:pt x="900375" y="572201"/>
                                      </a:cubicBezTo>
                                      <a:cubicBezTo>
                                        <a:pt x="899440" y="562851"/>
                                        <a:pt x="899684" y="553308"/>
                                        <a:pt x="897571" y="544152"/>
                                      </a:cubicBezTo>
                                      <a:cubicBezTo>
                                        <a:pt x="895104" y="533462"/>
                                        <a:pt x="890964" y="536641"/>
                                        <a:pt x="883546" y="532932"/>
                                      </a:cubicBezTo>
                                      <a:cubicBezTo>
                                        <a:pt x="861794" y="522056"/>
                                        <a:pt x="887868" y="531568"/>
                                        <a:pt x="866717" y="524517"/>
                                      </a:cubicBezTo>
                                      <a:cubicBezTo>
                                        <a:pt x="864847" y="521712"/>
                                        <a:pt x="862291" y="519259"/>
                                        <a:pt x="861107" y="516103"/>
                                      </a:cubicBezTo>
                                      <a:cubicBezTo>
                                        <a:pt x="857624" y="506816"/>
                                        <a:pt x="856445" y="487631"/>
                                        <a:pt x="861107" y="479639"/>
                                      </a:cubicBezTo>
                                      <a:cubicBezTo>
                                        <a:pt x="865763" y="471656"/>
                                        <a:pt x="877957" y="468412"/>
                                        <a:pt x="886351" y="465614"/>
                                      </a:cubicBezTo>
                                      <a:cubicBezTo>
                                        <a:pt x="894231" y="466330"/>
                                        <a:pt x="914828" y="465828"/>
                                        <a:pt x="925620" y="471224"/>
                                      </a:cubicBezTo>
                                      <a:cubicBezTo>
                                        <a:pt x="928635" y="472732"/>
                                        <a:pt x="931229" y="474964"/>
                                        <a:pt x="934034" y="476834"/>
                                      </a:cubicBezTo>
                                      <a:cubicBezTo>
                                        <a:pt x="940579" y="475899"/>
                                        <a:pt x="948091" y="477578"/>
                                        <a:pt x="953669" y="474029"/>
                                      </a:cubicBezTo>
                                      <a:cubicBezTo>
                                        <a:pt x="959357" y="470409"/>
                                        <a:pt x="959278" y="460940"/>
                                        <a:pt x="964888" y="457200"/>
                                      </a:cubicBezTo>
                                      <a:lnTo>
                                        <a:pt x="973303" y="451590"/>
                                      </a:lnTo>
                                      <a:cubicBezTo>
                                        <a:pt x="974238" y="448785"/>
                                        <a:pt x="974261" y="445484"/>
                                        <a:pt x="976108" y="443175"/>
                                      </a:cubicBezTo>
                                      <a:cubicBezTo>
                                        <a:pt x="978214" y="440543"/>
                                        <a:pt x="981508" y="439073"/>
                                        <a:pt x="984523" y="437565"/>
                                      </a:cubicBezTo>
                                      <a:cubicBezTo>
                                        <a:pt x="988548" y="435552"/>
                                        <a:pt x="1000561" y="432854"/>
                                        <a:pt x="1004157" y="431955"/>
                                      </a:cubicBezTo>
                                      <a:cubicBezTo>
                                        <a:pt x="1003222" y="420736"/>
                                        <a:pt x="1003560" y="409337"/>
                                        <a:pt x="1001352" y="398297"/>
                                      </a:cubicBezTo>
                                      <a:cubicBezTo>
                                        <a:pt x="1000691" y="394991"/>
                                        <a:pt x="998757" y="391390"/>
                                        <a:pt x="995742" y="389882"/>
                                      </a:cubicBezTo>
                                      <a:cubicBezTo>
                                        <a:pt x="990655" y="387339"/>
                                        <a:pt x="984465" y="388311"/>
                                        <a:pt x="978913" y="387077"/>
                                      </a:cubicBezTo>
                                      <a:cubicBezTo>
                                        <a:pt x="976027" y="386436"/>
                                        <a:pt x="973303" y="385207"/>
                                        <a:pt x="970498" y="384272"/>
                                      </a:cubicBezTo>
                                      <a:cubicBezTo>
                                        <a:pt x="968628" y="378662"/>
                                        <a:pt x="970498" y="369313"/>
                                        <a:pt x="964888" y="367443"/>
                                      </a:cubicBezTo>
                                      <a:lnTo>
                                        <a:pt x="948059" y="361833"/>
                                      </a:lnTo>
                                      <a:lnTo>
                                        <a:pt x="939644" y="359028"/>
                                      </a:lnTo>
                                      <a:cubicBezTo>
                                        <a:pt x="932164" y="359963"/>
                                        <a:pt x="924576" y="360254"/>
                                        <a:pt x="917205" y="361833"/>
                                      </a:cubicBezTo>
                                      <a:cubicBezTo>
                                        <a:pt x="911423" y="363072"/>
                                        <a:pt x="900375" y="367443"/>
                                        <a:pt x="900375" y="367443"/>
                                      </a:cubicBezTo>
                                      <a:cubicBezTo>
                                        <a:pt x="897570" y="366508"/>
                                        <a:pt x="894051" y="366729"/>
                                        <a:pt x="891961" y="364638"/>
                                      </a:cubicBezTo>
                                      <a:cubicBezTo>
                                        <a:pt x="889870" y="362547"/>
                                        <a:pt x="889873" y="359091"/>
                                        <a:pt x="889156" y="356223"/>
                                      </a:cubicBezTo>
                                      <a:cubicBezTo>
                                        <a:pt x="888589" y="353957"/>
                                        <a:pt x="886111" y="337632"/>
                                        <a:pt x="883546" y="333784"/>
                                      </a:cubicBezTo>
                                      <a:cubicBezTo>
                                        <a:pt x="877400" y="324566"/>
                                        <a:pt x="874478" y="326227"/>
                                        <a:pt x="866717" y="319759"/>
                                      </a:cubicBezTo>
                                      <a:cubicBezTo>
                                        <a:pt x="839133" y="296771"/>
                                        <a:pt x="874766" y="325003"/>
                                        <a:pt x="852692" y="302930"/>
                                      </a:cubicBezTo>
                                      <a:cubicBezTo>
                                        <a:pt x="850308" y="300546"/>
                                        <a:pt x="846867" y="299478"/>
                                        <a:pt x="844277" y="297320"/>
                                      </a:cubicBezTo>
                                      <a:cubicBezTo>
                                        <a:pt x="841230" y="294781"/>
                                        <a:pt x="838910" y="291444"/>
                                        <a:pt x="835863" y="288905"/>
                                      </a:cubicBezTo>
                                      <a:cubicBezTo>
                                        <a:pt x="833273" y="286747"/>
                                        <a:pt x="829968" y="285535"/>
                                        <a:pt x="827448" y="283295"/>
                                      </a:cubicBezTo>
                                      <a:cubicBezTo>
                                        <a:pt x="820752" y="277343"/>
                                        <a:pt x="809699" y="267433"/>
                                        <a:pt x="805009" y="258051"/>
                                      </a:cubicBezTo>
                                      <a:cubicBezTo>
                                        <a:pt x="803687" y="255406"/>
                                        <a:pt x="803139" y="252441"/>
                                        <a:pt x="802204" y="249636"/>
                                      </a:cubicBezTo>
                                      <a:cubicBezTo>
                                        <a:pt x="800094" y="232760"/>
                                        <a:pt x="804104" y="227528"/>
                                        <a:pt x="790984" y="218782"/>
                                      </a:cubicBezTo>
                                      <a:cubicBezTo>
                                        <a:pt x="788524" y="217142"/>
                                        <a:pt x="785374" y="216913"/>
                                        <a:pt x="782569" y="215978"/>
                                      </a:cubicBezTo>
                                      <a:cubicBezTo>
                                        <a:pt x="778829" y="210368"/>
                                        <a:pt x="770605" y="205849"/>
                                        <a:pt x="771350" y="199148"/>
                                      </a:cubicBezTo>
                                      <a:cubicBezTo>
                                        <a:pt x="772239" y="191145"/>
                                        <a:pt x="772261" y="174889"/>
                                        <a:pt x="776960" y="165489"/>
                                      </a:cubicBezTo>
                                      <a:cubicBezTo>
                                        <a:pt x="778467" y="162474"/>
                                        <a:pt x="780699" y="159879"/>
                                        <a:pt x="782569" y="157074"/>
                                      </a:cubicBezTo>
                                      <a:cubicBezTo>
                                        <a:pt x="781634" y="147724"/>
                                        <a:pt x="782975" y="137856"/>
                                        <a:pt x="779764" y="129025"/>
                                      </a:cubicBezTo>
                                      <a:cubicBezTo>
                                        <a:pt x="778754" y="126247"/>
                                        <a:pt x="773810" y="127860"/>
                                        <a:pt x="771350" y="126220"/>
                                      </a:cubicBezTo>
                                      <a:cubicBezTo>
                                        <a:pt x="768050" y="124020"/>
                                        <a:pt x="765982" y="120345"/>
                                        <a:pt x="762935" y="117806"/>
                                      </a:cubicBezTo>
                                      <a:cubicBezTo>
                                        <a:pt x="760345" y="115648"/>
                                        <a:pt x="757325" y="114066"/>
                                        <a:pt x="754520" y="112196"/>
                                      </a:cubicBezTo>
                                      <a:cubicBezTo>
                                        <a:pt x="753585" y="109391"/>
                                        <a:pt x="753562" y="106090"/>
                                        <a:pt x="751715" y="103781"/>
                                      </a:cubicBezTo>
                                      <a:cubicBezTo>
                                        <a:pt x="749609" y="101149"/>
                                        <a:pt x="744367" y="101369"/>
                                        <a:pt x="743301" y="98171"/>
                                      </a:cubicBezTo>
                                      <a:cubicBezTo>
                                        <a:pt x="741289" y="92135"/>
                                        <a:pt x="748895" y="82767"/>
                                        <a:pt x="751715" y="78537"/>
                                      </a:cubicBezTo>
                                      <a:cubicBezTo>
                                        <a:pt x="750780" y="74797"/>
                                        <a:pt x="751318" y="70327"/>
                                        <a:pt x="748910" y="67317"/>
                                      </a:cubicBezTo>
                                      <a:cubicBezTo>
                                        <a:pt x="747063" y="65008"/>
                                        <a:pt x="743140" y="65835"/>
                                        <a:pt x="740496" y="64513"/>
                                      </a:cubicBezTo>
                                      <a:cubicBezTo>
                                        <a:pt x="718742" y="53637"/>
                                        <a:pt x="744821" y="63150"/>
                                        <a:pt x="723666" y="56098"/>
                                      </a:cubicBezTo>
                                      <a:cubicBezTo>
                                        <a:pt x="721796" y="53293"/>
                                        <a:pt x="720646" y="49841"/>
                                        <a:pt x="718056" y="47683"/>
                                      </a:cubicBezTo>
                                      <a:cubicBezTo>
                                        <a:pt x="714844" y="45006"/>
                                        <a:pt x="710467" y="44148"/>
                                        <a:pt x="706837" y="42073"/>
                                      </a:cubicBezTo>
                                      <a:cubicBezTo>
                                        <a:pt x="703910" y="40400"/>
                                        <a:pt x="701227" y="38333"/>
                                        <a:pt x="698422" y="36463"/>
                                      </a:cubicBezTo>
                                      <a:cubicBezTo>
                                        <a:pt x="697487" y="33658"/>
                                        <a:pt x="697708" y="30139"/>
                                        <a:pt x="695617" y="28049"/>
                                      </a:cubicBezTo>
                                      <a:cubicBezTo>
                                        <a:pt x="693526" y="25958"/>
                                        <a:pt x="690159" y="25244"/>
                                        <a:pt x="687202" y="25244"/>
                                      </a:cubicBezTo>
                                      <a:cubicBezTo>
                                        <a:pt x="676875" y="25244"/>
                                        <a:pt x="666633" y="27114"/>
                                        <a:pt x="656348" y="28049"/>
                                      </a:cubicBezTo>
                                      <a:cubicBezTo>
                                        <a:pt x="653543" y="29919"/>
                                        <a:pt x="650949" y="32152"/>
                                        <a:pt x="647934" y="33659"/>
                                      </a:cubicBezTo>
                                      <a:cubicBezTo>
                                        <a:pt x="645289" y="34981"/>
                                        <a:pt x="642362" y="35651"/>
                                        <a:pt x="639519" y="36463"/>
                                      </a:cubicBezTo>
                                      <a:cubicBezTo>
                                        <a:pt x="627798" y="39811"/>
                                        <a:pt x="624701" y="39868"/>
                                        <a:pt x="611470" y="42073"/>
                                      </a:cubicBezTo>
                                      <a:cubicBezTo>
                                        <a:pt x="603990" y="41138"/>
                                        <a:pt x="595206" y="43591"/>
                                        <a:pt x="589031" y="39268"/>
                                      </a:cubicBezTo>
                                      <a:cubicBezTo>
                                        <a:pt x="584187" y="35877"/>
                                        <a:pt x="588341" y="25719"/>
                                        <a:pt x="583421" y="22439"/>
                                      </a:cubicBezTo>
                                      <a:lnTo>
                                        <a:pt x="575006" y="16829"/>
                                      </a:lnTo>
                                      <a:cubicBezTo>
                                        <a:pt x="573136" y="14024"/>
                                        <a:pt x="572713" y="9017"/>
                                        <a:pt x="569396" y="8414"/>
                                      </a:cubicBezTo>
                                      <a:cubicBezTo>
                                        <a:pt x="561066" y="6899"/>
                                        <a:pt x="552366" y="9166"/>
                                        <a:pt x="544152" y="11219"/>
                                      </a:cubicBezTo>
                                      <a:cubicBezTo>
                                        <a:pt x="519639" y="17347"/>
                                        <a:pt x="543356" y="16829"/>
                                        <a:pt x="532933" y="16829"/>
                                      </a:cubicBezTo>
                                      <a:lnTo>
                                        <a:pt x="524518" y="28049"/>
                                      </a:lnTo>
                                      <a:cubicBezTo>
                                        <a:pt x="517091" y="20622"/>
                                        <a:pt x="509281" y="10612"/>
                                        <a:pt x="499274" y="5609"/>
                                      </a:cubicBezTo>
                                      <a:cubicBezTo>
                                        <a:pt x="496629" y="4287"/>
                                        <a:pt x="493664" y="3740"/>
                                        <a:pt x="490859" y="2805"/>
                                      </a:cubicBezTo>
                                      <a:cubicBezTo>
                                        <a:pt x="487119" y="3740"/>
                                        <a:pt x="483346" y="4550"/>
                                        <a:pt x="479639" y="5609"/>
                                      </a:cubicBezTo>
                                      <a:cubicBezTo>
                                        <a:pt x="476796" y="6421"/>
                                        <a:pt x="474141" y="8900"/>
                                        <a:pt x="471225" y="8414"/>
                                      </a:cubicBezTo>
                                      <a:cubicBezTo>
                                        <a:pt x="467900" y="7860"/>
                                        <a:pt x="465825" y="4312"/>
                                        <a:pt x="462810" y="2805"/>
                                      </a:cubicBezTo>
                                      <a:cubicBezTo>
                                        <a:pt x="460165" y="1483"/>
                                        <a:pt x="457200" y="935"/>
                                        <a:pt x="454395" y="0"/>
                                      </a:cubicBezTo>
                                      <a:cubicBezTo>
                                        <a:pt x="451590" y="935"/>
                                        <a:pt x="448289" y="958"/>
                                        <a:pt x="445980" y="2805"/>
                                      </a:cubicBezTo>
                                      <a:cubicBezTo>
                                        <a:pt x="439283" y="8163"/>
                                        <a:pt x="440953" y="12860"/>
                                        <a:pt x="437566" y="19634"/>
                                      </a:cubicBezTo>
                                      <a:cubicBezTo>
                                        <a:pt x="436058" y="22649"/>
                                        <a:pt x="434493" y="25829"/>
                                        <a:pt x="431956" y="28049"/>
                                      </a:cubicBezTo>
                                      <a:cubicBezTo>
                                        <a:pt x="426882" y="32489"/>
                                        <a:pt x="415126" y="39268"/>
                                        <a:pt x="415126" y="39268"/>
                                      </a:cubicBezTo>
                                      <a:cubicBezTo>
                                        <a:pt x="413256" y="42073"/>
                                        <a:pt x="412054" y="45463"/>
                                        <a:pt x="409517" y="47683"/>
                                      </a:cubicBezTo>
                                      <a:cubicBezTo>
                                        <a:pt x="404443" y="52123"/>
                                        <a:pt x="392687" y="58903"/>
                                        <a:pt x="392687" y="58903"/>
                                      </a:cubicBezTo>
                                      <a:cubicBezTo>
                                        <a:pt x="388012" y="57968"/>
                                        <a:pt x="383317" y="57132"/>
                                        <a:pt x="378663" y="56098"/>
                                      </a:cubicBezTo>
                                      <a:cubicBezTo>
                                        <a:pt x="374900" y="55262"/>
                                        <a:pt x="371298" y="53293"/>
                                        <a:pt x="367443" y="53293"/>
                                      </a:cubicBezTo>
                                      <a:cubicBezTo>
                                        <a:pt x="358977" y="53293"/>
                                        <a:pt x="350614" y="55163"/>
                                        <a:pt x="342199" y="56098"/>
                                      </a:cubicBezTo>
                                      <a:cubicBezTo>
                                        <a:pt x="339394" y="57033"/>
                                        <a:pt x="335503" y="56497"/>
                                        <a:pt x="333784" y="58903"/>
                                      </a:cubicBezTo>
                                      <a:cubicBezTo>
                                        <a:pt x="323798" y="72883"/>
                                        <a:pt x="334449" y="75986"/>
                                        <a:pt x="319760" y="84147"/>
                                      </a:cubicBezTo>
                                      <a:cubicBezTo>
                                        <a:pt x="314591" y="87019"/>
                                        <a:pt x="302930" y="89757"/>
                                        <a:pt x="302930" y="89757"/>
                                      </a:cubicBezTo>
                                      <a:cubicBezTo>
                                        <a:pt x="295979" y="110607"/>
                                        <a:pt x="295507" y="109593"/>
                                        <a:pt x="297320" y="145855"/>
                                      </a:cubicBezTo>
                                      <a:cubicBezTo>
                                        <a:pt x="297488" y="149222"/>
                                        <a:pt x="300297" y="152164"/>
                                        <a:pt x="302930" y="154270"/>
                                      </a:cubicBezTo>
                                      <a:cubicBezTo>
                                        <a:pt x="305803" y="156568"/>
                                        <a:pt x="324675" y="159740"/>
                                        <a:pt x="325369" y="159879"/>
                                      </a:cubicBezTo>
                                      <a:cubicBezTo>
                                        <a:pt x="328174" y="161749"/>
                                        <a:pt x="332858" y="162248"/>
                                        <a:pt x="333784" y="165489"/>
                                      </a:cubicBezTo>
                                      <a:cubicBezTo>
                                        <a:pt x="335094" y="170073"/>
                                        <a:pt x="332135" y="174889"/>
                                        <a:pt x="330979" y="179514"/>
                                      </a:cubicBezTo>
                                      <a:cubicBezTo>
                                        <a:pt x="328657" y="188803"/>
                                        <a:pt x="328048" y="188117"/>
                                        <a:pt x="322564" y="196343"/>
                                      </a:cubicBezTo>
                                      <a:cubicBezTo>
                                        <a:pt x="321629" y="199148"/>
                                        <a:pt x="322069" y="202911"/>
                                        <a:pt x="319760" y="204758"/>
                                      </a:cubicBezTo>
                                      <a:cubicBezTo>
                                        <a:pt x="312637" y="210457"/>
                                        <a:pt x="304443" y="206539"/>
                                        <a:pt x="297320" y="204758"/>
                                      </a:cubicBezTo>
                                      <a:cubicBezTo>
                                        <a:pt x="290888" y="224053"/>
                                        <a:pt x="300277" y="201210"/>
                                        <a:pt x="283296" y="221587"/>
                                      </a:cubicBezTo>
                                      <a:cubicBezTo>
                                        <a:pt x="271788" y="235396"/>
                                        <a:pt x="291064" y="226478"/>
                                        <a:pt x="272076" y="232807"/>
                                      </a:cubicBezTo>
                                      <a:cubicBezTo>
                                        <a:pt x="270206" y="235612"/>
                                        <a:pt x="269056" y="239064"/>
                                        <a:pt x="266466" y="241222"/>
                                      </a:cubicBezTo>
                                      <a:cubicBezTo>
                                        <a:pt x="263254" y="243899"/>
                                        <a:pt x="258877" y="244758"/>
                                        <a:pt x="255247" y="246832"/>
                                      </a:cubicBezTo>
                                      <a:cubicBezTo>
                                        <a:pt x="252320" y="248504"/>
                                        <a:pt x="249637" y="250571"/>
                                        <a:pt x="246832" y="252441"/>
                                      </a:cubicBezTo>
                                      <a:cubicBezTo>
                                        <a:pt x="246668" y="255223"/>
                                        <a:pt x="248539" y="293906"/>
                                        <a:pt x="241222" y="308540"/>
                                      </a:cubicBezTo>
                                      <a:cubicBezTo>
                                        <a:pt x="239714" y="311555"/>
                                        <a:pt x="237482" y="314149"/>
                                        <a:pt x="235612" y="316954"/>
                                      </a:cubicBezTo>
                                      <a:cubicBezTo>
                                        <a:pt x="234677" y="322564"/>
                                        <a:pt x="231428" y="328266"/>
                                        <a:pt x="232807" y="333784"/>
                                      </a:cubicBezTo>
                                      <a:cubicBezTo>
                                        <a:pt x="233625" y="337055"/>
                                        <a:pt x="238632" y="337236"/>
                                        <a:pt x="241222" y="339394"/>
                                      </a:cubicBezTo>
                                      <a:cubicBezTo>
                                        <a:pt x="255229" y="351066"/>
                                        <a:pt x="243264" y="345684"/>
                                        <a:pt x="258052" y="350613"/>
                                      </a:cubicBezTo>
                                      <a:cubicBezTo>
                                        <a:pt x="258987" y="353418"/>
                                        <a:pt x="260856" y="356071"/>
                                        <a:pt x="260856" y="359028"/>
                                      </a:cubicBezTo>
                                      <a:cubicBezTo>
                                        <a:pt x="260856" y="371707"/>
                                        <a:pt x="259568" y="373696"/>
                                        <a:pt x="249637" y="378662"/>
                                      </a:cubicBezTo>
                                      <a:cubicBezTo>
                                        <a:pt x="246992" y="379984"/>
                                        <a:pt x="243807" y="380031"/>
                                        <a:pt x="241222" y="381467"/>
                                      </a:cubicBezTo>
                                      <a:cubicBezTo>
                                        <a:pt x="235328" y="384741"/>
                                        <a:pt x="224393" y="392687"/>
                                        <a:pt x="224393" y="392687"/>
                                      </a:cubicBezTo>
                                      <a:cubicBezTo>
                                        <a:pt x="221588" y="391752"/>
                                        <a:pt x="218069" y="391973"/>
                                        <a:pt x="215978" y="389882"/>
                                      </a:cubicBezTo>
                                      <a:cubicBezTo>
                                        <a:pt x="213887" y="387791"/>
                                        <a:pt x="214495" y="384112"/>
                                        <a:pt x="213173" y="381467"/>
                                      </a:cubicBezTo>
                                      <a:cubicBezTo>
                                        <a:pt x="211665" y="378452"/>
                                        <a:pt x="209433" y="375857"/>
                                        <a:pt x="207563" y="373052"/>
                                      </a:cubicBezTo>
                                      <a:cubicBezTo>
                                        <a:pt x="183445" y="389131"/>
                                        <a:pt x="213960" y="369853"/>
                                        <a:pt x="190734" y="381467"/>
                                      </a:cubicBezTo>
                                      <a:cubicBezTo>
                                        <a:pt x="177440" y="388114"/>
                                        <a:pt x="187533" y="387077"/>
                                        <a:pt x="176709" y="387077"/>
                                      </a:cubicBezTo>
                                      <a:lnTo>
                                        <a:pt x="162685" y="387077"/>
                                      </a:lnTo>
                                      <a:cubicBezTo>
                                        <a:pt x="158010" y="393622"/>
                                        <a:pt x="154004" y="400700"/>
                                        <a:pt x="148660" y="406711"/>
                                      </a:cubicBezTo>
                                      <a:cubicBezTo>
                                        <a:pt x="142229" y="413946"/>
                                        <a:pt x="139546" y="411268"/>
                                        <a:pt x="131831" y="415126"/>
                                      </a:cubicBezTo>
                                      <a:cubicBezTo>
                                        <a:pt x="128816" y="416634"/>
                                        <a:pt x="126221" y="418866"/>
                                        <a:pt x="123416" y="420736"/>
                                      </a:cubicBezTo>
                                      <a:cubicBezTo>
                                        <a:pt x="121546" y="424476"/>
                                        <a:pt x="121151" y="429446"/>
                                        <a:pt x="117806" y="431955"/>
                                      </a:cubicBezTo>
                                      <a:cubicBezTo>
                                        <a:pt x="113075" y="435503"/>
                                        <a:pt x="100977" y="437565"/>
                                        <a:pt x="100977" y="437565"/>
                                      </a:cubicBezTo>
                                      <a:cubicBezTo>
                                        <a:pt x="96302" y="436630"/>
                                        <a:pt x="91475" y="436268"/>
                                        <a:pt x="86952" y="434760"/>
                                      </a:cubicBezTo>
                                      <a:cubicBezTo>
                                        <a:pt x="82986" y="433438"/>
                                        <a:pt x="79576" y="430798"/>
                                        <a:pt x="75733" y="429151"/>
                                      </a:cubicBezTo>
                                      <a:cubicBezTo>
                                        <a:pt x="73015" y="427986"/>
                                        <a:pt x="70123" y="427281"/>
                                        <a:pt x="67318" y="426346"/>
                                      </a:cubicBezTo>
                                      <a:lnTo>
                                        <a:pt x="50488" y="431955"/>
                                      </a:lnTo>
                                      <a:cubicBezTo>
                                        <a:pt x="47683" y="432890"/>
                                        <a:pt x="44942" y="434043"/>
                                        <a:pt x="42074" y="434760"/>
                                      </a:cubicBezTo>
                                      <a:lnTo>
                                        <a:pt x="30854" y="437565"/>
                                      </a:lnTo>
                                      <a:cubicBezTo>
                                        <a:pt x="20456" y="447963"/>
                                        <a:pt x="12155" y="435227"/>
                                        <a:pt x="8415" y="43476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6" name="Freeform 185"/>
                              <p:cNvSpPr/>
                              <p:nvPr/>
                            </p:nvSpPr>
                            <p:spPr>
                              <a:xfrm>
                                <a:off x="4737003" y="2939313"/>
                                <a:ext cx="597932" cy="468650"/>
                              </a:xfrm>
                              <a:custGeom>
                                <a:avLst/>
                                <a:gdLst>
                                  <a:gd name="connsiteX0" fmla="*/ 177196 w 597932"/>
                                  <a:gd name="connsiteY0" fmla="*/ 359259 h 468650"/>
                                  <a:gd name="connsiteX1" fmla="*/ 177196 w 597932"/>
                                  <a:gd name="connsiteY1" fmla="*/ 359259 h 468650"/>
                                  <a:gd name="connsiteX2" fmla="*/ 185610 w 597932"/>
                                  <a:gd name="connsiteY2" fmla="*/ 381698 h 468650"/>
                                  <a:gd name="connsiteX3" fmla="*/ 194025 w 597932"/>
                                  <a:gd name="connsiteY3" fmla="*/ 387308 h 468650"/>
                                  <a:gd name="connsiteX4" fmla="*/ 230489 w 597932"/>
                                  <a:gd name="connsiteY4" fmla="*/ 390113 h 468650"/>
                                  <a:gd name="connsiteX5" fmla="*/ 247318 w 597932"/>
                                  <a:gd name="connsiteY5" fmla="*/ 401332 h 468650"/>
                                  <a:gd name="connsiteX6" fmla="*/ 255733 w 597932"/>
                                  <a:gd name="connsiteY6" fmla="*/ 406942 h 468650"/>
                                  <a:gd name="connsiteX7" fmla="*/ 266953 w 597932"/>
                                  <a:gd name="connsiteY7" fmla="*/ 423772 h 468650"/>
                                  <a:gd name="connsiteX8" fmla="*/ 275368 w 597932"/>
                                  <a:gd name="connsiteY8" fmla="*/ 451821 h 468650"/>
                                  <a:gd name="connsiteX9" fmla="*/ 278172 w 597932"/>
                                  <a:gd name="connsiteY9" fmla="*/ 468650 h 468650"/>
                                  <a:gd name="connsiteX10" fmla="*/ 309026 w 597932"/>
                                  <a:gd name="connsiteY10" fmla="*/ 465845 h 468650"/>
                                  <a:gd name="connsiteX11" fmla="*/ 317441 w 597932"/>
                                  <a:gd name="connsiteY11" fmla="*/ 463040 h 468650"/>
                                  <a:gd name="connsiteX12" fmla="*/ 348295 w 597932"/>
                                  <a:gd name="connsiteY12" fmla="*/ 465845 h 468650"/>
                                  <a:gd name="connsiteX13" fmla="*/ 373539 w 597932"/>
                                  <a:gd name="connsiteY13" fmla="*/ 468650 h 468650"/>
                                  <a:gd name="connsiteX14" fmla="*/ 387564 w 597932"/>
                                  <a:gd name="connsiteY14" fmla="*/ 451821 h 468650"/>
                                  <a:gd name="connsiteX15" fmla="*/ 398784 w 597932"/>
                                  <a:gd name="connsiteY15" fmla="*/ 449016 h 468650"/>
                                  <a:gd name="connsiteX16" fmla="*/ 407198 w 597932"/>
                                  <a:gd name="connsiteY16" fmla="*/ 443406 h 468650"/>
                                  <a:gd name="connsiteX17" fmla="*/ 412808 w 597932"/>
                                  <a:gd name="connsiteY17" fmla="*/ 434991 h 468650"/>
                                  <a:gd name="connsiteX18" fmla="*/ 438052 w 597932"/>
                                  <a:gd name="connsiteY18" fmla="*/ 420967 h 468650"/>
                                  <a:gd name="connsiteX19" fmla="*/ 446467 w 597932"/>
                                  <a:gd name="connsiteY19" fmla="*/ 412552 h 468650"/>
                                  <a:gd name="connsiteX20" fmla="*/ 463296 w 597932"/>
                                  <a:gd name="connsiteY20" fmla="*/ 406942 h 468650"/>
                                  <a:gd name="connsiteX21" fmla="*/ 468906 w 597932"/>
                                  <a:gd name="connsiteY21" fmla="*/ 404137 h 468650"/>
                                  <a:gd name="connsiteX22" fmla="*/ 494150 w 597932"/>
                                  <a:gd name="connsiteY22" fmla="*/ 423772 h 468650"/>
                                  <a:gd name="connsiteX23" fmla="*/ 527809 w 597932"/>
                                  <a:gd name="connsiteY23" fmla="*/ 398527 h 468650"/>
                                  <a:gd name="connsiteX24" fmla="*/ 525004 w 597932"/>
                                  <a:gd name="connsiteY24" fmla="*/ 384503 h 468650"/>
                                  <a:gd name="connsiteX25" fmla="*/ 496955 w 597932"/>
                                  <a:gd name="connsiteY25" fmla="*/ 367674 h 468650"/>
                                  <a:gd name="connsiteX26" fmla="*/ 502565 w 597932"/>
                                  <a:gd name="connsiteY26" fmla="*/ 342429 h 468650"/>
                                  <a:gd name="connsiteX27" fmla="*/ 508175 w 597932"/>
                                  <a:gd name="connsiteY27" fmla="*/ 325600 h 468650"/>
                                  <a:gd name="connsiteX28" fmla="*/ 508175 w 597932"/>
                                  <a:gd name="connsiteY28" fmla="*/ 280721 h 468650"/>
                                  <a:gd name="connsiteX29" fmla="*/ 539029 w 597932"/>
                                  <a:gd name="connsiteY29" fmla="*/ 261087 h 468650"/>
                                  <a:gd name="connsiteX30" fmla="*/ 561468 w 597932"/>
                                  <a:gd name="connsiteY30" fmla="*/ 238648 h 468650"/>
                                  <a:gd name="connsiteX31" fmla="*/ 572688 w 597932"/>
                                  <a:gd name="connsiteY31" fmla="*/ 241453 h 468650"/>
                                  <a:gd name="connsiteX32" fmla="*/ 581103 w 597932"/>
                                  <a:gd name="connsiteY32" fmla="*/ 238648 h 468650"/>
                                  <a:gd name="connsiteX33" fmla="*/ 583907 w 597932"/>
                                  <a:gd name="connsiteY33" fmla="*/ 230233 h 468650"/>
                                  <a:gd name="connsiteX34" fmla="*/ 589517 w 597932"/>
                                  <a:gd name="connsiteY34" fmla="*/ 221818 h 468650"/>
                                  <a:gd name="connsiteX35" fmla="*/ 595127 w 597932"/>
                                  <a:gd name="connsiteY35" fmla="*/ 204989 h 468650"/>
                                  <a:gd name="connsiteX36" fmla="*/ 597932 w 597932"/>
                                  <a:gd name="connsiteY36" fmla="*/ 196574 h 468650"/>
                                  <a:gd name="connsiteX37" fmla="*/ 581103 w 597932"/>
                                  <a:gd name="connsiteY37" fmla="*/ 182550 h 468650"/>
                                  <a:gd name="connsiteX38" fmla="*/ 572688 w 597932"/>
                                  <a:gd name="connsiteY38" fmla="*/ 179745 h 468650"/>
                                  <a:gd name="connsiteX39" fmla="*/ 567078 w 597932"/>
                                  <a:gd name="connsiteY39" fmla="*/ 171330 h 468650"/>
                                  <a:gd name="connsiteX40" fmla="*/ 558663 w 597932"/>
                                  <a:gd name="connsiteY40" fmla="*/ 140476 h 468650"/>
                                  <a:gd name="connsiteX41" fmla="*/ 558663 w 597932"/>
                                  <a:gd name="connsiteY41" fmla="*/ 120842 h 468650"/>
                                  <a:gd name="connsiteX42" fmla="*/ 558663 w 597932"/>
                                  <a:gd name="connsiteY42" fmla="*/ 120842 h 468650"/>
                                  <a:gd name="connsiteX43" fmla="*/ 527809 w 597932"/>
                                  <a:gd name="connsiteY43" fmla="*/ 106817 h 468650"/>
                                  <a:gd name="connsiteX44" fmla="*/ 525004 w 597932"/>
                                  <a:gd name="connsiteY44" fmla="*/ 98402 h 468650"/>
                                  <a:gd name="connsiteX45" fmla="*/ 508175 w 597932"/>
                                  <a:gd name="connsiteY45" fmla="*/ 84378 h 468650"/>
                                  <a:gd name="connsiteX46" fmla="*/ 499760 w 597932"/>
                                  <a:gd name="connsiteY46" fmla="*/ 81573 h 468650"/>
                                  <a:gd name="connsiteX47" fmla="*/ 496955 w 597932"/>
                                  <a:gd name="connsiteY47" fmla="*/ 73158 h 468650"/>
                                  <a:gd name="connsiteX48" fmla="*/ 480126 w 597932"/>
                                  <a:gd name="connsiteY48" fmla="*/ 67548 h 468650"/>
                                  <a:gd name="connsiteX49" fmla="*/ 474516 w 597932"/>
                                  <a:gd name="connsiteY49" fmla="*/ 59134 h 468650"/>
                                  <a:gd name="connsiteX50" fmla="*/ 454882 w 597932"/>
                                  <a:gd name="connsiteY50" fmla="*/ 39499 h 468650"/>
                                  <a:gd name="connsiteX51" fmla="*/ 412808 w 597932"/>
                                  <a:gd name="connsiteY51" fmla="*/ 36694 h 468650"/>
                                  <a:gd name="connsiteX52" fmla="*/ 410003 w 597932"/>
                                  <a:gd name="connsiteY52" fmla="*/ 28280 h 468650"/>
                                  <a:gd name="connsiteX53" fmla="*/ 398784 w 597932"/>
                                  <a:gd name="connsiteY53" fmla="*/ 5840 h 468650"/>
                                  <a:gd name="connsiteX54" fmla="*/ 373539 w 597932"/>
                                  <a:gd name="connsiteY54" fmla="*/ 8645 h 468650"/>
                                  <a:gd name="connsiteX55" fmla="*/ 365125 w 597932"/>
                                  <a:gd name="connsiteY55" fmla="*/ 11450 h 468650"/>
                                  <a:gd name="connsiteX56" fmla="*/ 359515 w 597932"/>
                                  <a:gd name="connsiteY56" fmla="*/ 19865 h 468650"/>
                                  <a:gd name="connsiteX57" fmla="*/ 356710 w 597932"/>
                                  <a:gd name="connsiteY57" fmla="*/ 28280 h 468650"/>
                                  <a:gd name="connsiteX58" fmla="*/ 345490 w 597932"/>
                                  <a:gd name="connsiteY58" fmla="*/ 25475 h 468650"/>
                                  <a:gd name="connsiteX59" fmla="*/ 337076 w 597932"/>
                                  <a:gd name="connsiteY59" fmla="*/ 22670 h 468650"/>
                                  <a:gd name="connsiteX60" fmla="*/ 317441 w 597932"/>
                                  <a:gd name="connsiteY60" fmla="*/ 28280 h 468650"/>
                                  <a:gd name="connsiteX61" fmla="*/ 300612 w 597932"/>
                                  <a:gd name="connsiteY61" fmla="*/ 19865 h 468650"/>
                                  <a:gd name="connsiteX62" fmla="*/ 297807 w 597932"/>
                                  <a:gd name="connsiteY62" fmla="*/ 11450 h 468650"/>
                                  <a:gd name="connsiteX63" fmla="*/ 280977 w 597932"/>
                                  <a:gd name="connsiteY63" fmla="*/ 14255 h 468650"/>
                                  <a:gd name="connsiteX64" fmla="*/ 272563 w 597932"/>
                                  <a:gd name="connsiteY64" fmla="*/ 17060 h 468650"/>
                                  <a:gd name="connsiteX65" fmla="*/ 264148 w 597932"/>
                                  <a:gd name="connsiteY65" fmla="*/ 14255 h 468650"/>
                                  <a:gd name="connsiteX66" fmla="*/ 255733 w 597932"/>
                                  <a:gd name="connsiteY66" fmla="*/ 17060 h 468650"/>
                                  <a:gd name="connsiteX67" fmla="*/ 247318 w 597932"/>
                                  <a:gd name="connsiteY67" fmla="*/ 14255 h 468650"/>
                                  <a:gd name="connsiteX68" fmla="*/ 227684 w 597932"/>
                                  <a:gd name="connsiteY68" fmla="*/ 14255 h 468650"/>
                                  <a:gd name="connsiteX69" fmla="*/ 205245 w 597932"/>
                                  <a:gd name="connsiteY69" fmla="*/ 22670 h 468650"/>
                                  <a:gd name="connsiteX70" fmla="*/ 199635 w 597932"/>
                                  <a:gd name="connsiteY70" fmla="*/ 14255 h 468650"/>
                                  <a:gd name="connsiteX71" fmla="*/ 191220 w 597932"/>
                                  <a:gd name="connsiteY71" fmla="*/ 8645 h 468650"/>
                                  <a:gd name="connsiteX72" fmla="*/ 174391 w 597932"/>
                                  <a:gd name="connsiteY72" fmla="*/ 14255 h 468650"/>
                                  <a:gd name="connsiteX73" fmla="*/ 165976 w 597932"/>
                                  <a:gd name="connsiteY73" fmla="*/ 17060 h 468650"/>
                                  <a:gd name="connsiteX74" fmla="*/ 154757 w 597932"/>
                                  <a:gd name="connsiteY74" fmla="*/ 14255 h 468650"/>
                                  <a:gd name="connsiteX75" fmla="*/ 146342 w 597932"/>
                                  <a:gd name="connsiteY75" fmla="*/ 11450 h 468650"/>
                                  <a:gd name="connsiteX76" fmla="*/ 129512 w 597932"/>
                                  <a:gd name="connsiteY76" fmla="*/ 8645 h 468650"/>
                                  <a:gd name="connsiteX77" fmla="*/ 123903 w 597932"/>
                                  <a:gd name="connsiteY77" fmla="*/ 231 h 468650"/>
                                  <a:gd name="connsiteX78" fmla="*/ 115488 w 597932"/>
                                  <a:gd name="connsiteY78" fmla="*/ 3035 h 468650"/>
                                  <a:gd name="connsiteX79" fmla="*/ 93049 w 597932"/>
                                  <a:gd name="connsiteY79" fmla="*/ 8645 h 468650"/>
                                  <a:gd name="connsiteX80" fmla="*/ 81829 w 597932"/>
                                  <a:gd name="connsiteY80" fmla="*/ 11450 h 468650"/>
                                  <a:gd name="connsiteX81" fmla="*/ 73414 w 597932"/>
                                  <a:gd name="connsiteY81" fmla="*/ 17060 h 468650"/>
                                  <a:gd name="connsiteX82" fmla="*/ 64999 w 597932"/>
                                  <a:gd name="connsiteY82" fmla="*/ 25475 h 468650"/>
                                  <a:gd name="connsiteX83" fmla="*/ 56585 w 597932"/>
                                  <a:gd name="connsiteY83" fmla="*/ 28280 h 468650"/>
                                  <a:gd name="connsiteX84" fmla="*/ 50975 w 597932"/>
                                  <a:gd name="connsiteY84" fmla="*/ 36694 h 468650"/>
                                  <a:gd name="connsiteX85" fmla="*/ 34145 w 597932"/>
                                  <a:gd name="connsiteY85" fmla="*/ 45109 h 468650"/>
                                  <a:gd name="connsiteX86" fmla="*/ 28536 w 597932"/>
                                  <a:gd name="connsiteY86" fmla="*/ 53524 h 468650"/>
                                  <a:gd name="connsiteX87" fmla="*/ 3291 w 597932"/>
                                  <a:gd name="connsiteY87" fmla="*/ 59134 h 468650"/>
                                  <a:gd name="connsiteX88" fmla="*/ 3291 w 597932"/>
                                  <a:gd name="connsiteY88" fmla="*/ 115232 h 468650"/>
                                  <a:gd name="connsiteX89" fmla="*/ 6096 w 597932"/>
                                  <a:gd name="connsiteY89" fmla="*/ 126451 h 468650"/>
                                  <a:gd name="connsiteX90" fmla="*/ 11706 w 597932"/>
                                  <a:gd name="connsiteY90" fmla="*/ 134866 h 468650"/>
                                  <a:gd name="connsiteX91" fmla="*/ 20121 w 597932"/>
                                  <a:gd name="connsiteY91" fmla="*/ 151696 h 468650"/>
                                  <a:gd name="connsiteX92" fmla="*/ 22926 w 597932"/>
                                  <a:gd name="connsiteY92" fmla="*/ 202184 h 468650"/>
                                  <a:gd name="connsiteX93" fmla="*/ 25731 w 597932"/>
                                  <a:gd name="connsiteY93" fmla="*/ 210599 h 468650"/>
                                  <a:gd name="connsiteX94" fmla="*/ 34145 w 597932"/>
                                  <a:gd name="connsiteY94" fmla="*/ 213404 h 468650"/>
                                  <a:gd name="connsiteX95" fmla="*/ 42560 w 597932"/>
                                  <a:gd name="connsiteY95" fmla="*/ 221818 h 468650"/>
                                  <a:gd name="connsiteX96" fmla="*/ 50975 w 597932"/>
                                  <a:gd name="connsiteY96" fmla="*/ 224623 h 468650"/>
                                  <a:gd name="connsiteX97" fmla="*/ 56585 w 597932"/>
                                  <a:gd name="connsiteY97" fmla="*/ 233038 h 468650"/>
                                  <a:gd name="connsiteX98" fmla="*/ 64999 w 597932"/>
                                  <a:gd name="connsiteY98" fmla="*/ 241453 h 468650"/>
                                  <a:gd name="connsiteX99" fmla="*/ 73414 w 597932"/>
                                  <a:gd name="connsiteY99" fmla="*/ 244258 h 468650"/>
                                  <a:gd name="connsiteX100" fmla="*/ 90244 w 597932"/>
                                  <a:gd name="connsiteY100" fmla="*/ 252672 h 468650"/>
                                  <a:gd name="connsiteX101" fmla="*/ 112683 w 597932"/>
                                  <a:gd name="connsiteY101" fmla="*/ 249867 h 468650"/>
                                  <a:gd name="connsiteX102" fmla="*/ 149147 w 597932"/>
                                  <a:gd name="connsiteY102" fmla="*/ 255477 h 468650"/>
                                  <a:gd name="connsiteX103" fmla="*/ 174391 w 597932"/>
                                  <a:gd name="connsiteY103" fmla="*/ 266697 h 468650"/>
                                  <a:gd name="connsiteX104" fmla="*/ 182806 w 597932"/>
                                  <a:gd name="connsiteY104" fmla="*/ 269502 h 468650"/>
                                  <a:gd name="connsiteX105" fmla="*/ 188415 w 597932"/>
                                  <a:gd name="connsiteY105" fmla="*/ 277916 h 468650"/>
                                  <a:gd name="connsiteX106" fmla="*/ 185610 w 597932"/>
                                  <a:gd name="connsiteY106" fmla="*/ 300356 h 468650"/>
                                  <a:gd name="connsiteX107" fmla="*/ 180001 w 597932"/>
                                  <a:gd name="connsiteY107" fmla="*/ 308770 h 468650"/>
                                  <a:gd name="connsiteX108" fmla="*/ 177196 w 597932"/>
                                  <a:gd name="connsiteY108" fmla="*/ 317185 h 468650"/>
                                  <a:gd name="connsiteX109" fmla="*/ 180001 w 597932"/>
                                  <a:gd name="connsiteY109" fmla="*/ 334015 h 468650"/>
                                  <a:gd name="connsiteX110" fmla="*/ 191220 w 597932"/>
                                  <a:gd name="connsiteY110" fmla="*/ 350844 h 468650"/>
                                  <a:gd name="connsiteX111" fmla="*/ 177196 w 597932"/>
                                  <a:gd name="connsiteY111" fmla="*/ 359259 h 46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97932" h="468650">
                                    <a:moveTo>
                                      <a:pt x="177196" y="359259"/>
                                    </a:moveTo>
                                    <a:lnTo>
                                      <a:pt x="177196" y="359259"/>
                                    </a:lnTo>
                                    <a:cubicBezTo>
                                      <a:pt x="180001" y="366739"/>
                                      <a:pt x="181500" y="374848"/>
                                      <a:pt x="185610" y="381698"/>
                                    </a:cubicBezTo>
                                    <a:cubicBezTo>
                                      <a:pt x="187344" y="384589"/>
                                      <a:pt x="190712" y="386687"/>
                                      <a:pt x="194025" y="387308"/>
                                    </a:cubicBezTo>
                                    <a:cubicBezTo>
                                      <a:pt x="206007" y="389555"/>
                                      <a:pt x="218334" y="389178"/>
                                      <a:pt x="230489" y="390113"/>
                                    </a:cubicBezTo>
                                    <a:lnTo>
                                      <a:pt x="247318" y="401332"/>
                                    </a:lnTo>
                                    <a:lnTo>
                                      <a:pt x="255733" y="406942"/>
                                    </a:lnTo>
                                    <a:cubicBezTo>
                                      <a:pt x="259473" y="412552"/>
                                      <a:pt x="264821" y="417376"/>
                                      <a:pt x="266953" y="423772"/>
                                    </a:cubicBezTo>
                                    <a:cubicBezTo>
                                      <a:pt x="270530" y="434503"/>
                                      <a:pt x="273249" y="441224"/>
                                      <a:pt x="275368" y="451821"/>
                                    </a:cubicBezTo>
                                    <a:cubicBezTo>
                                      <a:pt x="276483" y="457398"/>
                                      <a:pt x="277237" y="463040"/>
                                      <a:pt x="278172" y="468650"/>
                                    </a:cubicBezTo>
                                    <a:cubicBezTo>
                                      <a:pt x="288457" y="467715"/>
                                      <a:pt x="298803" y="467306"/>
                                      <a:pt x="309026" y="465845"/>
                                    </a:cubicBezTo>
                                    <a:cubicBezTo>
                                      <a:pt x="311953" y="465427"/>
                                      <a:pt x="314484" y="463040"/>
                                      <a:pt x="317441" y="463040"/>
                                    </a:cubicBezTo>
                                    <a:cubicBezTo>
                                      <a:pt x="327768" y="463040"/>
                                      <a:pt x="338010" y="464910"/>
                                      <a:pt x="348295" y="465845"/>
                                    </a:cubicBezTo>
                                    <a:cubicBezTo>
                                      <a:pt x="367930" y="472390"/>
                                      <a:pt x="359515" y="473325"/>
                                      <a:pt x="373539" y="468650"/>
                                    </a:cubicBezTo>
                                    <a:cubicBezTo>
                                      <a:pt x="377114" y="463287"/>
                                      <a:pt x="381748" y="455144"/>
                                      <a:pt x="387564" y="451821"/>
                                    </a:cubicBezTo>
                                    <a:cubicBezTo>
                                      <a:pt x="390911" y="449908"/>
                                      <a:pt x="395044" y="449951"/>
                                      <a:pt x="398784" y="449016"/>
                                    </a:cubicBezTo>
                                    <a:cubicBezTo>
                                      <a:pt x="401589" y="447146"/>
                                      <a:pt x="404814" y="445790"/>
                                      <a:pt x="407198" y="443406"/>
                                    </a:cubicBezTo>
                                    <a:cubicBezTo>
                                      <a:pt x="409582" y="441022"/>
                                      <a:pt x="410271" y="437211"/>
                                      <a:pt x="412808" y="434991"/>
                                    </a:cubicBezTo>
                                    <a:cubicBezTo>
                                      <a:pt x="424678" y="424605"/>
                                      <a:pt x="426495" y="424819"/>
                                      <a:pt x="438052" y="420967"/>
                                    </a:cubicBezTo>
                                    <a:cubicBezTo>
                                      <a:pt x="440857" y="418162"/>
                                      <a:pt x="442999" y="414479"/>
                                      <a:pt x="446467" y="412552"/>
                                    </a:cubicBezTo>
                                    <a:cubicBezTo>
                                      <a:pt x="451636" y="409680"/>
                                      <a:pt x="458007" y="409586"/>
                                      <a:pt x="463296" y="406942"/>
                                    </a:cubicBezTo>
                                    <a:lnTo>
                                      <a:pt x="468906" y="404137"/>
                                    </a:lnTo>
                                    <a:lnTo>
                                      <a:pt x="494150" y="423772"/>
                                    </a:lnTo>
                                    <a:lnTo>
                                      <a:pt x="527809" y="398527"/>
                                    </a:lnTo>
                                    <a:lnTo>
                                      <a:pt x="525004" y="384503"/>
                                    </a:lnTo>
                                    <a:lnTo>
                                      <a:pt x="496955" y="367674"/>
                                    </a:lnTo>
                                    <a:cubicBezTo>
                                      <a:pt x="498825" y="359259"/>
                                      <a:pt x="500344" y="350758"/>
                                      <a:pt x="502565" y="342429"/>
                                    </a:cubicBezTo>
                                    <a:cubicBezTo>
                                      <a:pt x="504089" y="336716"/>
                                      <a:pt x="508175" y="331513"/>
                                      <a:pt x="508175" y="325600"/>
                                    </a:cubicBezTo>
                                    <a:lnTo>
                                      <a:pt x="508175" y="280721"/>
                                    </a:lnTo>
                                    <a:lnTo>
                                      <a:pt x="539029" y="261087"/>
                                    </a:lnTo>
                                    <a:cubicBezTo>
                                      <a:pt x="544380" y="253595"/>
                                      <a:pt x="549243" y="238648"/>
                                      <a:pt x="561468" y="238648"/>
                                    </a:cubicBezTo>
                                    <a:cubicBezTo>
                                      <a:pt x="565323" y="238648"/>
                                      <a:pt x="568948" y="240518"/>
                                      <a:pt x="572688" y="241453"/>
                                    </a:cubicBezTo>
                                    <a:cubicBezTo>
                                      <a:pt x="575493" y="240518"/>
                                      <a:pt x="579012" y="240739"/>
                                      <a:pt x="581103" y="238648"/>
                                    </a:cubicBezTo>
                                    <a:cubicBezTo>
                                      <a:pt x="583194" y="236557"/>
                                      <a:pt x="582585" y="232878"/>
                                      <a:pt x="583907" y="230233"/>
                                    </a:cubicBezTo>
                                    <a:cubicBezTo>
                                      <a:pt x="585414" y="227218"/>
                                      <a:pt x="588148" y="224899"/>
                                      <a:pt x="589517" y="221818"/>
                                    </a:cubicBezTo>
                                    <a:cubicBezTo>
                                      <a:pt x="591919" y="216415"/>
                                      <a:pt x="593257" y="210599"/>
                                      <a:pt x="595127" y="204989"/>
                                    </a:cubicBezTo>
                                    <a:lnTo>
                                      <a:pt x="597932" y="196574"/>
                                    </a:lnTo>
                                    <a:cubicBezTo>
                                      <a:pt x="591729" y="190371"/>
                                      <a:pt x="588913" y="186455"/>
                                      <a:pt x="581103" y="182550"/>
                                    </a:cubicBezTo>
                                    <a:cubicBezTo>
                                      <a:pt x="578458" y="181228"/>
                                      <a:pt x="575493" y="180680"/>
                                      <a:pt x="572688" y="179745"/>
                                    </a:cubicBezTo>
                                    <a:cubicBezTo>
                                      <a:pt x="570818" y="176940"/>
                                      <a:pt x="568447" y="174411"/>
                                      <a:pt x="567078" y="171330"/>
                                    </a:cubicBezTo>
                                    <a:cubicBezTo>
                                      <a:pt x="564039" y="164492"/>
                                      <a:pt x="559340" y="148597"/>
                                      <a:pt x="558663" y="140476"/>
                                    </a:cubicBezTo>
                                    <a:cubicBezTo>
                                      <a:pt x="558119" y="133954"/>
                                      <a:pt x="558663" y="127387"/>
                                      <a:pt x="558663" y="120842"/>
                                    </a:cubicBezTo>
                                    <a:lnTo>
                                      <a:pt x="558663" y="120842"/>
                                    </a:lnTo>
                                    <a:cubicBezTo>
                                      <a:pt x="556861" y="120166"/>
                                      <a:pt x="532829" y="113092"/>
                                      <a:pt x="527809" y="106817"/>
                                    </a:cubicBezTo>
                                    <a:cubicBezTo>
                                      <a:pt x="525962" y="104508"/>
                                      <a:pt x="526644" y="100862"/>
                                      <a:pt x="525004" y="98402"/>
                                    </a:cubicBezTo>
                                    <a:cubicBezTo>
                                      <a:pt x="521903" y="93750"/>
                                      <a:pt x="513349" y="86965"/>
                                      <a:pt x="508175" y="84378"/>
                                    </a:cubicBezTo>
                                    <a:cubicBezTo>
                                      <a:pt x="505530" y="83056"/>
                                      <a:pt x="502565" y="82508"/>
                                      <a:pt x="499760" y="81573"/>
                                    </a:cubicBezTo>
                                    <a:cubicBezTo>
                                      <a:pt x="498825" y="78768"/>
                                      <a:pt x="499361" y="74877"/>
                                      <a:pt x="496955" y="73158"/>
                                    </a:cubicBezTo>
                                    <a:cubicBezTo>
                                      <a:pt x="492143" y="69721"/>
                                      <a:pt x="480126" y="67548"/>
                                      <a:pt x="480126" y="67548"/>
                                    </a:cubicBezTo>
                                    <a:cubicBezTo>
                                      <a:pt x="478256" y="64743"/>
                                      <a:pt x="472179" y="61004"/>
                                      <a:pt x="474516" y="59134"/>
                                    </a:cubicBezTo>
                                    <a:lnTo>
                                      <a:pt x="454882" y="39499"/>
                                    </a:lnTo>
                                    <a:cubicBezTo>
                                      <a:pt x="440857" y="38564"/>
                                      <a:pt x="426444" y="40103"/>
                                      <a:pt x="412808" y="36694"/>
                                    </a:cubicBezTo>
                                    <a:cubicBezTo>
                                      <a:pt x="409940" y="35977"/>
                                      <a:pt x="410644" y="31166"/>
                                      <a:pt x="410003" y="28280"/>
                                    </a:cubicBezTo>
                                    <a:cubicBezTo>
                                      <a:pt x="405329" y="7248"/>
                                      <a:pt x="412709" y="15125"/>
                                      <a:pt x="398784" y="5840"/>
                                    </a:cubicBezTo>
                                    <a:cubicBezTo>
                                      <a:pt x="390369" y="6775"/>
                                      <a:pt x="381891" y="7253"/>
                                      <a:pt x="373539" y="8645"/>
                                    </a:cubicBezTo>
                                    <a:cubicBezTo>
                                      <a:pt x="370623" y="9131"/>
                                      <a:pt x="367434" y="9603"/>
                                      <a:pt x="365125" y="11450"/>
                                    </a:cubicBezTo>
                                    <a:cubicBezTo>
                                      <a:pt x="362493" y="13556"/>
                                      <a:pt x="361023" y="16850"/>
                                      <a:pt x="359515" y="19865"/>
                                    </a:cubicBezTo>
                                    <a:cubicBezTo>
                                      <a:pt x="358193" y="22510"/>
                                      <a:pt x="357645" y="25475"/>
                                      <a:pt x="356710" y="28280"/>
                                    </a:cubicBezTo>
                                    <a:cubicBezTo>
                                      <a:pt x="352970" y="27345"/>
                                      <a:pt x="349197" y="26534"/>
                                      <a:pt x="345490" y="25475"/>
                                    </a:cubicBezTo>
                                    <a:cubicBezTo>
                                      <a:pt x="342647" y="24663"/>
                                      <a:pt x="340032" y="22670"/>
                                      <a:pt x="337076" y="22670"/>
                                    </a:cubicBezTo>
                                    <a:cubicBezTo>
                                      <a:pt x="333554" y="22670"/>
                                      <a:pt x="321409" y="26957"/>
                                      <a:pt x="317441" y="28280"/>
                                    </a:cubicBezTo>
                                    <a:cubicBezTo>
                                      <a:pt x="311897" y="26432"/>
                                      <a:pt x="304567" y="24809"/>
                                      <a:pt x="300612" y="19865"/>
                                    </a:cubicBezTo>
                                    <a:cubicBezTo>
                                      <a:pt x="298765" y="17556"/>
                                      <a:pt x="298742" y="14255"/>
                                      <a:pt x="297807" y="11450"/>
                                    </a:cubicBezTo>
                                    <a:cubicBezTo>
                                      <a:pt x="292197" y="12385"/>
                                      <a:pt x="286529" y="13021"/>
                                      <a:pt x="280977" y="14255"/>
                                    </a:cubicBezTo>
                                    <a:cubicBezTo>
                                      <a:pt x="278091" y="14896"/>
                                      <a:pt x="275519" y="17060"/>
                                      <a:pt x="272563" y="17060"/>
                                    </a:cubicBezTo>
                                    <a:cubicBezTo>
                                      <a:pt x="269606" y="17060"/>
                                      <a:pt x="266953" y="15190"/>
                                      <a:pt x="264148" y="14255"/>
                                    </a:cubicBezTo>
                                    <a:cubicBezTo>
                                      <a:pt x="261343" y="15190"/>
                                      <a:pt x="258690" y="17060"/>
                                      <a:pt x="255733" y="17060"/>
                                    </a:cubicBezTo>
                                    <a:cubicBezTo>
                                      <a:pt x="252776" y="17060"/>
                                      <a:pt x="235631" y="9113"/>
                                      <a:pt x="247318" y="14255"/>
                                    </a:cubicBezTo>
                                    <a:lnTo>
                                      <a:pt x="227684" y="14255"/>
                                    </a:lnTo>
                                    <a:cubicBezTo>
                                      <a:pt x="220204" y="17060"/>
                                      <a:pt x="213233" y="22670"/>
                                      <a:pt x="205245" y="22670"/>
                                    </a:cubicBezTo>
                                    <a:cubicBezTo>
                                      <a:pt x="201874" y="22670"/>
                                      <a:pt x="202019" y="16639"/>
                                      <a:pt x="199635" y="14255"/>
                                    </a:cubicBezTo>
                                    <a:cubicBezTo>
                                      <a:pt x="197251" y="11871"/>
                                      <a:pt x="194025" y="10515"/>
                                      <a:pt x="191220" y="8645"/>
                                    </a:cubicBezTo>
                                    <a:lnTo>
                                      <a:pt x="174391" y="14255"/>
                                    </a:lnTo>
                                    <a:lnTo>
                                      <a:pt x="165976" y="17060"/>
                                    </a:lnTo>
                                    <a:cubicBezTo>
                                      <a:pt x="162236" y="16125"/>
                                      <a:pt x="158463" y="15314"/>
                                      <a:pt x="154757" y="14255"/>
                                    </a:cubicBezTo>
                                    <a:cubicBezTo>
                                      <a:pt x="151914" y="13443"/>
                                      <a:pt x="149228" y="12091"/>
                                      <a:pt x="146342" y="11450"/>
                                    </a:cubicBezTo>
                                    <a:cubicBezTo>
                                      <a:pt x="140790" y="10216"/>
                                      <a:pt x="135122" y="9580"/>
                                      <a:pt x="129512" y="8645"/>
                                    </a:cubicBezTo>
                                    <a:cubicBezTo>
                                      <a:pt x="127642" y="5840"/>
                                      <a:pt x="127033" y="1483"/>
                                      <a:pt x="123903" y="231"/>
                                    </a:cubicBezTo>
                                    <a:cubicBezTo>
                                      <a:pt x="121158" y="-867"/>
                                      <a:pt x="118340" y="2257"/>
                                      <a:pt x="115488" y="3035"/>
                                    </a:cubicBezTo>
                                    <a:cubicBezTo>
                                      <a:pt x="108050" y="5063"/>
                                      <a:pt x="100529" y="6775"/>
                                      <a:pt x="93049" y="8645"/>
                                    </a:cubicBezTo>
                                    <a:lnTo>
                                      <a:pt x="81829" y="11450"/>
                                    </a:lnTo>
                                    <a:cubicBezTo>
                                      <a:pt x="79024" y="13320"/>
                                      <a:pt x="76004" y="14902"/>
                                      <a:pt x="73414" y="17060"/>
                                    </a:cubicBezTo>
                                    <a:cubicBezTo>
                                      <a:pt x="70367" y="19600"/>
                                      <a:pt x="68300" y="23274"/>
                                      <a:pt x="64999" y="25475"/>
                                    </a:cubicBezTo>
                                    <a:cubicBezTo>
                                      <a:pt x="62539" y="27115"/>
                                      <a:pt x="59390" y="27345"/>
                                      <a:pt x="56585" y="28280"/>
                                    </a:cubicBezTo>
                                    <a:cubicBezTo>
                                      <a:pt x="54715" y="31085"/>
                                      <a:pt x="53359" y="34310"/>
                                      <a:pt x="50975" y="36694"/>
                                    </a:cubicBezTo>
                                    <a:cubicBezTo>
                                      <a:pt x="45537" y="42132"/>
                                      <a:pt x="40990" y="42827"/>
                                      <a:pt x="34145" y="45109"/>
                                    </a:cubicBezTo>
                                    <a:cubicBezTo>
                                      <a:pt x="32275" y="47914"/>
                                      <a:pt x="31168" y="51418"/>
                                      <a:pt x="28536" y="53524"/>
                                    </a:cubicBezTo>
                                    <a:cubicBezTo>
                                      <a:pt x="24902" y="56431"/>
                                      <a:pt x="3463" y="59105"/>
                                      <a:pt x="3291" y="59134"/>
                                    </a:cubicBezTo>
                                    <a:cubicBezTo>
                                      <a:pt x="-1206" y="86124"/>
                                      <a:pt x="-988" y="76714"/>
                                      <a:pt x="3291" y="115232"/>
                                    </a:cubicBezTo>
                                    <a:cubicBezTo>
                                      <a:pt x="3717" y="119063"/>
                                      <a:pt x="4577" y="122908"/>
                                      <a:pt x="6096" y="126451"/>
                                    </a:cubicBezTo>
                                    <a:cubicBezTo>
                                      <a:pt x="7424" y="129550"/>
                                      <a:pt x="10198" y="131851"/>
                                      <a:pt x="11706" y="134866"/>
                                    </a:cubicBezTo>
                                    <a:cubicBezTo>
                                      <a:pt x="23319" y="158092"/>
                                      <a:pt x="4044" y="127580"/>
                                      <a:pt x="20121" y="151696"/>
                                    </a:cubicBezTo>
                                    <a:cubicBezTo>
                                      <a:pt x="21056" y="168525"/>
                                      <a:pt x="21328" y="185405"/>
                                      <a:pt x="22926" y="202184"/>
                                    </a:cubicBezTo>
                                    <a:cubicBezTo>
                                      <a:pt x="23206" y="205127"/>
                                      <a:pt x="23640" y="208508"/>
                                      <a:pt x="25731" y="210599"/>
                                    </a:cubicBezTo>
                                    <a:cubicBezTo>
                                      <a:pt x="27821" y="212690"/>
                                      <a:pt x="31340" y="212469"/>
                                      <a:pt x="34145" y="213404"/>
                                    </a:cubicBezTo>
                                    <a:cubicBezTo>
                                      <a:pt x="36950" y="216209"/>
                                      <a:pt x="39259" y="219618"/>
                                      <a:pt x="42560" y="221818"/>
                                    </a:cubicBezTo>
                                    <a:cubicBezTo>
                                      <a:pt x="45020" y="223458"/>
                                      <a:pt x="48666" y="222776"/>
                                      <a:pt x="50975" y="224623"/>
                                    </a:cubicBezTo>
                                    <a:cubicBezTo>
                                      <a:pt x="53607" y="226729"/>
                                      <a:pt x="54427" y="230448"/>
                                      <a:pt x="56585" y="233038"/>
                                    </a:cubicBezTo>
                                    <a:cubicBezTo>
                                      <a:pt x="59124" y="236085"/>
                                      <a:pt x="61699" y="239253"/>
                                      <a:pt x="64999" y="241453"/>
                                    </a:cubicBezTo>
                                    <a:cubicBezTo>
                                      <a:pt x="67459" y="243093"/>
                                      <a:pt x="70769" y="242936"/>
                                      <a:pt x="73414" y="244258"/>
                                    </a:cubicBezTo>
                                    <a:cubicBezTo>
                                      <a:pt x="95165" y="255132"/>
                                      <a:pt x="69092" y="245621"/>
                                      <a:pt x="90244" y="252672"/>
                                    </a:cubicBezTo>
                                    <a:cubicBezTo>
                                      <a:pt x="97724" y="251737"/>
                                      <a:pt x="105145" y="249867"/>
                                      <a:pt x="112683" y="249867"/>
                                    </a:cubicBezTo>
                                    <a:cubicBezTo>
                                      <a:pt x="134376" y="249867"/>
                                      <a:pt x="134744" y="250676"/>
                                      <a:pt x="149147" y="255477"/>
                                    </a:cubicBezTo>
                                    <a:cubicBezTo>
                                      <a:pt x="162481" y="264367"/>
                                      <a:pt x="154363" y="260021"/>
                                      <a:pt x="174391" y="266697"/>
                                    </a:cubicBezTo>
                                    <a:lnTo>
                                      <a:pt x="182806" y="269502"/>
                                    </a:lnTo>
                                    <a:cubicBezTo>
                                      <a:pt x="184676" y="272307"/>
                                      <a:pt x="188110" y="274559"/>
                                      <a:pt x="188415" y="277916"/>
                                    </a:cubicBezTo>
                                    <a:cubicBezTo>
                                      <a:pt x="189097" y="285423"/>
                                      <a:pt x="187593" y="293083"/>
                                      <a:pt x="185610" y="300356"/>
                                    </a:cubicBezTo>
                                    <a:cubicBezTo>
                                      <a:pt x="184723" y="303608"/>
                                      <a:pt x="181508" y="305755"/>
                                      <a:pt x="180001" y="308770"/>
                                    </a:cubicBezTo>
                                    <a:cubicBezTo>
                                      <a:pt x="178679" y="311415"/>
                                      <a:pt x="178131" y="314380"/>
                                      <a:pt x="177196" y="317185"/>
                                    </a:cubicBezTo>
                                    <a:cubicBezTo>
                                      <a:pt x="178131" y="322795"/>
                                      <a:pt x="177814" y="328765"/>
                                      <a:pt x="180001" y="334015"/>
                                    </a:cubicBezTo>
                                    <a:cubicBezTo>
                                      <a:pt x="182594" y="340238"/>
                                      <a:pt x="191220" y="350844"/>
                                      <a:pt x="191220" y="350844"/>
                                    </a:cubicBezTo>
                                    <a:cubicBezTo>
                                      <a:pt x="194171" y="377402"/>
                                      <a:pt x="179533" y="357857"/>
                                      <a:pt x="177196" y="35925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4" name="Freeform 183"/>
                            <p:cNvSpPr/>
                            <p:nvPr/>
                          </p:nvSpPr>
                          <p:spPr>
                            <a:xfrm>
                              <a:off x="4615228" y="3155521"/>
                              <a:ext cx="315800" cy="178059"/>
                            </a:xfrm>
                            <a:custGeom>
                              <a:avLst/>
                              <a:gdLst>
                                <a:gd name="connsiteX0" fmla="*/ 150311 w 315800"/>
                                <a:gd name="connsiteY0" fmla="*/ 0 h 178059"/>
                                <a:gd name="connsiteX1" fmla="*/ 150311 w 315800"/>
                                <a:gd name="connsiteY1" fmla="*/ 0 h 178059"/>
                                <a:gd name="connsiteX2" fmla="*/ 167140 w 315800"/>
                                <a:gd name="connsiteY2" fmla="*/ 19635 h 178059"/>
                                <a:gd name="connsiteX3" fmla="*/ 189579 w 315800"/>
                                <a:gd name="connsiteY3" fmla="*/ 25245 h 178059"/>
                                <a:gd name="connsiteX4" fmla="*/ 197994 w 315800"/>
                                <a:gd name="connsiteY4" fmla="*/ 28050 h 178059"/>
                                <a:gd name="connsiteX5" fmla="*/ 223238 w 315800"/>
                                <a:gd name="connsiteY5" fmla="*/ 39269 h 178059"/>
                                <a:gd name="connsiteX6" fmla="*/ 254092 w 315800"/>
                                <a:gd name="connsiteY6" fmla="*/ 42074 h 178059"/>
                                <a:gd name="connsiteX7" fmla="*/ 268117 w 315800"/>
                                <a:gd name="connsiteY7" fmla="*/ 44879 h 178059"/>
                                <a:gd name="connsiteX8" fmla="*/ 290556 w 315800"/>
                                <a:gd name="connsiteY8" fmla="*/ 50489 h 178059"/>
                                <a:gd name="connsiteX9" fmla="*/ 298971 w 315800"/>
                                <a:gd name="connsiteY9" fmla="*/ 56099 h 178059"/>
                                <a:gd name="connsiteX10" fmla="*/ 310190 w 315800"/>
                                <a:gd name="connsiteY10" fmla="*/ 58904 h 178059"/>
                                <a:gd name="connsiteX11" fmla="*/ 315800 w 315800"/>
                                <a:gd name="connsiteY11" fmla="*/ 67318 h 178059"/>
                                <a:gd name="connsiteX12" fmla="*/ 312995 w 315800"/>
                                <a:gd name="connsiteY12" fmla="*/ 78538 h 178059"/>
                                <a:gd name="connsiteX13" fmla="*/ 307385 w 315800"/>
                                <a:gd name="connsiteY13" fmla="*/ 95367 h 178059"/>
                                <a:gd name="connsiteX14" fmla="*/ 310190 w 315800"/>
                                <a:gd name="connsiteY14" fmla="*/ 126221 h 178059"/>
                                <a:gd name="connsiteX15" fmla="*/ 310190 w 315800"/>
                                <a:gd name="connsiteY15" fmla="*/ 145856 h 178059"/>
                                <a:gd name="connsiteX16" fmla="*/ 307385 w 315800"/>
                                <a:gd name="connsiteY16" fmla="*/ 154270 h 178059"/>
                                <a:gd name="connsiteX17" fmla="*/ 298971 w 315800"/>
                                <a:gd name="connsiteY17" fmla="*/ 157075 h 178059"/>
                                <a:gd name="connsiteX18" fmla="*/ 290556 w 315800"/>
                                <a:gd name="connsiteY18" fmla="*/ 162685 h 178059"/>
                                <a:gd name="connsiteX19" fmla="*/ 270922 w 315800"/>
                                <a:gd name="connsiteY19" fmla="*/ 168295 h 178059"/>
                                <a:gd name="connsiteX20" fmla="*/ 262507 w 315800"/>
                                <a:gd name="connsiteY20" fmla="*/ 173905 h 178059"/>
                                <a:gd name="connsiteX21" fmla="*/ 197994 w 315800"/>
                                <a:gd name="connsiteY21" fmla="*/ 173905 h 178059"/>
                                <a:gd name="connsiteX22" fmla="*/ 113847 w 315800"/>
                                <a:gd name="connsiteY22" fmla="*/ 171100 h 178059"/>
                                <a:gd name="connsiteX23" fmla="*/ 80188 w 315800"/>
                                <a:gd name="connsiteY23" fmla="*/ 171100 h 178059"/>
                                <a:gd name="connsiteX24" fmla="*/ 63359 w 315800"/>
                                <a:gd name="connsiteY24" fmla="*/ 165490 h 178059"/>
                                <a:gd name="connsiteX25" fmla="*/ 54944 w 315800"/>
                                <a:gd name="connsiteY25" fmla="*/ 162685 h 178059"/>
                                <a:gd name="connsiteX26" fmla="*/ 24090 w 315800"/>
                                <a:gd name="connsiteY26" fmla="*/ 159880 h 178059"/>
                                <a:gd name="connsiteX27" fmla="*/ 4455 w 315800"/>
                                <a:gd name="connsiteY27" fmla="*/ 154270 h 178059"/>
                                <a:gd name="connsiteX28" fmla="*/ 49334 w 315800"/>
                                <a:gd name="connsiteY28" fmla="*/ 131831 h 178059"/>
                                <a:gd name="connsiteX29" fmla="*/ 29700 w 315800"/>
                                <a:gd name="connsiteY29" fmla="*/ 115002 h 178059"/>
                                <a:gd name="connsiteX30" fmla="*/ 21285 w 315800"/>
                                <a:gd name="connsiteY30" fmla="*/ 109392 h 178059"/>
                                <a:gd name="connsiteX31" fmla="*/ 12870 w 315800"/>
                                <a:gd name="connsiteY31" fmla="*/ 112197 h 178059"/>
                                <a:gd name="connsiteX32" fmla="*/ 7260 w 315800"/>
                                <a:gd name="connsiteY32" fmla="*/ 78538 h 178059"/>
                                <a:gd name="connsiteX33" fmla="*/ 15675 w 315800"/>
                                <a:gd name="connsiteY33" fmla="*/ 75733 h 178059"/>
                                <a:gd name="connsiteX34" fmla="*/ 32505 w 315800"/>
                                <a:gd name="connsiteY34" fmla="*/ 72928 h 178059"/>
                                <a:gd name="connsiteX35" fmla="*/ 88603 w 315800"/>
                                <a:gd name="connsiteY35" fmla="*/ 70123 h 178059"/>
                                <a:gd name="connsiteX36" fmla="*/ 119457 w 315800"/>
                                <a:gd name="connsiteY36" fmla="*/ 72928 h 178059"/>
                                <a:gd name="connsiteX37" fmla="*/ 127871 w 315800"/>
                                <a:gd name="connsiteY37" fmla="*/ 70123 h 178059"/>
                                <a:gd name="connsiteX38" fmla="*/ 130676 w 315800"/>
                                <a:gd name="connsiteY38" fmla="*/ 61708 h 178059"/>
                                <a:gd name="connsiteX39" fmla="*/ 133481 w 315800"/>
                                <a:gd name="connsiteY39" fmla="*/ 33659 h 178059"/>
                                <a:gd name="connsiteX40" fmla="*/ 147506 w 315800"/>
                                <a:gd name="connsiteY40" fmla="*/ 22440 h 178059"/>
                                <a:gd name="connsiteX41" fmla="*/ 150311 w 315800"/>
                                <a:gd name="connsiteY41" fmla="*/ 0 h 178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15800" h="178059">
                                  <a:moveTo>
                                    <a:pt x="150311" y="0"/>
                                  </a:moveTo>
                                  <a:lnTo>
                                    <a:pt x="150311" y="0"/>
                                  </a:lnTo>
                                  <a:cubicBezTo>
                                    <a:pt x="155921" y="6545"/>
                                    <a:pt x="160697" y="13908"/>
                                    <a:pt x="167140" y="19635"/>
                                  </a:cubicBezTo>
                                  <a:cubicBezTo>
                                    <a:pt x="169649" y="21865"/>
                                    <a:pt x="189471" y="25218"/>
                                    <a:pt x="189579" y="25245"/>
                                  </a:cubicBezTo>
                                  <a:cubicBezTo>
                                    <a:pt x="192447" y="25962"/>
                                    <a:pt x="195349" y="26728"/>
                                    <a:pt x="197994" y="28050"/>
                                  </a:cubicBezTo>
                                  <a:cubicBezTo>
                                    <a:pt x="209994" y="34049"/>
                                    <a:pt x="205553" y="37661"/>
                                    <a:pt x="223238" y="39269"/>
                                  </a:cubicBezTo>
                                  <a:lnTo>
                                    <a:pt x="254092" y="42074"/>
                                  </a:lnTo>
                                  <a:cubicBezTo>
                                    <a:pt x="258767" y="43009"/>
                                    <a:pt x="263472" y="43807"/>
                                    <a:pt x="268117" y="44879"/>
                                  </a:cubicBezTo>
                                  <a:cubicBezTo>
                                    <a:pt x="275629" y="46613"/>
                                    <a:pt x="290556" y="50489"/>
                                    <a:pt x="290556" y="50489"/>
                                  </a:cubicBezTo>
                                  <a:cubicBezTo>
                                    <a:pt x="293361" y="52359"/>
                                    <a:pt x="295872" y="54771"/>
                                    <a:pt x="298971" y="56099"/>
                                  </a:cubicBezTo>
                                  <a:cubicBezTo>
                                    <a:pt x="302514" y="57618"/>
                                    <a:pt x="306983" y="56766"/>
                                    <a:pt x="310190" y="58904"/>
                                  </a:cubicBezTo>
                                  <a:cubicBezTo>
                                    <a:pt x="312995" y="60774"/>
                                    <a:pt x="313930" y="64513"/>
                                    <a:pt x="315800" y="67318"/>
                                  </a:cubicBezTo>
                                  <a:cubicBezTo>
                                    <a:pt x="314865" y="71058"/>
                                    <a:pt x="314103" y="74845"/>
                                    <a:pt x="312995" y="78538"/>
                                  </a:cubicBezTo>
                                  <a:cubicBezTo>
                                    <a:pt x="311296" y="84202"/>
                                    <a:pt x="307385" y="95367"/>
                                    <a:pt x="307385" y="95367"/>
                                  </a:cubicBezTo>
                                  <a:cubicBezTo>
                                    <a:pt x="308320" y="105652"/>
                                    <a:pt x="308729" y="115998"/>
                                    <a:pt x="310190" y="126221"/>
                                  </a:cubicBezTo>
                                  <a:cubicBezTo>
                                    <a:pt x="312552" y="142758"/>
                                    <a:pt x="315879" y="125947"/>
                                    <a:pt x="310190" y="145856"/>
                                  </a:cubicBezTo>
                                  <a:cubicBezTo>
                                    <a:pt x="309378" y="148699"/>
                                    <a:pt x="309475" y="152180"/>
                                    <a:pt x="307385" y="154270"/>
                                  </a:cubicBezTo>
                                  <a:cubicBezTo>
                                    <a:pt x="305295" y="156360"/>
                                    <a:pt x="301615" y="155753"/>
                                    <a:pt x="298971" y="157075"/>
                                  </a:cubicBezTo>
                                  <a:cubicBezTo>
                                    <a:pt x="295956" y="158583"/>
                                    <a:pt x="293571" y="161177"/>
                                    <a:pt x="290556" y="162685"/>
                                  </a:cubicBezTo>
                                  <a:cubicBezTo>
                                    <a:pt x="286533" y="164697"/>
                                    <a:pt x="274516" y="167396"/>
                                    <a:pt x="270922" y="168295"/>
                                  </a:cubicBezTo>
                                  <a:cubicBezTo>
                                    <a:pt x="268117" y="170165"/>
                                    <a:pt x="265522" y="172397"/>
                                    <a:pt x="262507" y="173905"/>
                                  </a:cubicBezTo>
                                  <a:cubicBezTo>
                                    <a:pt x="244262" y="183027"/>
                                    <a:pt x="206815" y="174346"/>
                                    <a:pt x="197994" y="173905"/>
                                  </a:cubicBezTo>
                                  <a:cubicBezTo>
                                    <a:pt x="159859" y="161193"/>
                                    <a:pt x="187073" y="168049"/>
                                    <a:pt x="113847" y="171100"/>
                                  </a:cubicBezTo>
                                  <a:cubicBezTo>
                                    <a:pt x="95895" y="174092"/>
                                    <a:pt x="98139" y="175588"/>
                                    <a:pt x="80188" y="171100"/>
                                  </a:cubicBezTo>
                                  <a:cubicBezTo>
                                    <a:pt x="74451" y="169666"/>
                                    <a:pt x="68969" y="167360"/>
                                    <a:pt x="63359" y="165490"/>
                                  </a:cubicBezTo>
                                  <a:cubicBezTo>
                                    <a:pt x="60554" y="164555"/>
                                    <a:pt x="57889" y="162953"/>
                                    <a:pt x="54944" y="162685"/>
                                  </a:cubicBezTo>
                                  <a:lnTo>
                                    <a:pt x="24090" y="159880"/>
                                  </a:lnTo>
                                  <a:cubicBezTo>
                                    <a:pt x="6373" y="153974"/>
                                    <a:pt x="13173" y="154270"/>
                                    <a:pt x="4455" y="154270"/>
                                  </a:cubicBezTo>
                                  <a:lnTo>
                                    <a:pt x="49334" y="131831"/>
                                  </a:lnTo>
                                  <a:cubicBezTo>
                                    <a:pt x="42789" y="126221"/>
                                    <a:pt x="36431" y="120387"/>
                                    <a:pt x="29700" y="115002"/>
                                  </a:cubicBezTo>
                                  <a:cubicBezTo>
                                    <a:pt x="27068" y="112896"/>
                                    <a:pt x="24610" y="109946"/>
                                    <a:pt x="21285" y="109392"/>
                                  </a:cubicBezTo>
                                  <a:cubicBezTo>
                                    <a:pt x="18368" y="108906"/>
                                    <a:pt x="15675" y="111262"/>
                                    <a:pt x="12870" y="112197"/>
                                  </a:cubicBezTo>
                                  <a:cubicBezTo>
                                    <a:pt x="-3231" y="106830"/>
                                    <a:pt x="-3187" y="109878"/>
                                    <a:pt x="7260" y="78538"/>
                                  </a:cubicBezTo>
                                  <a:cubicBezTo>
                                    <a:pt x="8195" y="75733"/>
                                    <a:pt x="12789" y="76374"/>
                                    <a:pt x="15675" y="75733"/>
                                  </a:cubicBezTo>
                                  <a:cubicBezTo>
                                    <a:pt x="21227" y="74499"/>
                                    <a:pt x="26895" y="73863"/>
                                    <a:pt x="32505" y="72928"/>
                                  </a:cubicBezTo>
                                  <a:cubicBezTo>
                                    <a:pt x="61784" y="63168"/>
                                    <a:pt x="43436" y="66897"/>
                                    <a:pt x="88603" y="70123"/>
                                  </a:cubicBezTo>
                                  <a:cubicBezTo>
                                    <a:pt x="107847" y="76538"/>
                                    <a:pt x="101333" y="77459"/>
                                    <a:pt x="119457" y="72928"/>
                                  </a:cubicBezTo>
                                  <a:cubicBezTo>
                                    <a:pt x="122325" y="72211"/>
                                    <a:pt x="125066" y="71058"/>
                                    <a:pt x="127871" y="70123"/>
                                  </a:cubicBezTo>
                                  <a:cubicBezTo>
                                    <a:pt x="128806" y="67318"/>
                                    <a:pt x="130226" y="64630"/>
                                    <a:pt x="130676" y="61708"/>
                                  </a:cubicBezTo>
                                  <a:cubicBezTo>
                                    <a:pt x="132105" y="52421"/>
                                    <a:pt x="131368" y="42815"/>
                                    <a:pt x="133481" y="33659"/>
                                  </a:cubicBezTo>
                                  <a:cubicBezTo>
                                    <a:pt x="136538" y="20413"/>
                                    <a:pt x="139571" y="28391"/>
                                    <a:pt x="147506" y="22440"/>
                                  </a:cubicBezTo>
                                  <a:cubicBezTo>
                                    <a:pt x="149179" y="21186"/>
                                    <a:pt x="149844" y="3740"/>
                                    <a:pt x="1503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2" name="Freeform 181"/>
                          <p:cNvSpPr/>
                          <p:nvPr/>
                        </p:nvSpPr>
                        <p:spPr>
                          <a:xfrm>
                            <a:off x="4729075" y="2639418"/>
                            <a:ext cx="737691" cy="415197"/>
                          </a:xfrm>
                          <a:custGeom>
                            <a:avLst/>
                            <a:gdLst>
                              <a:gd name="connsiteX0" fmla="*/ 11219 w 737691"/>
                              <a:gd name="connsiteY0" fmla="*/ 356224 h 415197"/>
                              <a:gd name="connsiteX1" fmla="*/ 11219 w 737691"/>
                              <a:gd name="connsiteY1" fmla="*/ 356224 h 415197"/>
                              <a:gd name="connsiteX2" fmla="*/ 36464 w 737691"/>
                              <a:gd name="connsiteY2" fmla="*/ 353419 h 415197"/>
                              <a:gd name="connsiteX3" fmla="*/ 53293 w 737691"/>
                              <a:gd name="connsiteY3" fmla="*/ 347809 h 415197"/>
                              <a:gd name="connsiteX4" fmla="*/ 58903 w 737691"/>
                              <a:gd name="connsiteY4" fmla="*/ 339394 h 415197"/>
                              <a:gd name="connsiteX5" fmla="*/ 67318 w 737691"/>
                              <a:gd name="connsiteY5" fmla="*/ 333784 h 415197"/>
                              <a:gd name="connsiteX6" fmla="*/ 70123 w 737691"/>
                              <a:gd name="connsiteY6" fmla="*/ 325370 h 415197"/>
                              <a:gd name="connsiteX7" fmla="*/ 78537 w 737691"/>
                              <a:gd name="connsiteY7" fmla="*/ 322565 h 415197"/>
                              <a:gd name="connsiteX8" fmla="*/ 86952 w 737691"/>
                              <a:gd name="connsiteY8" fmla="*/ 316955 h 415197"/>
                              <a:gd name="connsiteX9" fmla="*/ 92562 w 737691"/>
                              <a:gd name="connsiteY9" fmla="*/ 308540 h 415197"/>
                              <a:gd name="connsiteX10" fmla="*/ 100977 w 737691"/>
                              <a:gd name="connsiteY10" fmla="*/ 305735 h 415197"/>
                              <a:gd name="connsiteX11" fmla="*/ 109391 w 737691"/>
                              <a:gd name="connsiteY11" fmla="*/ 300126 h 415197"/>
                              <a:gd name="connsiteX12" fmla="*/ 140245 w 737691"/>
                              <a:gd name="connsiteY12" fmla="*/ 302930 h 415197"/>
                              <a:gd name="connsiteX13" fmla="*/ 145855 w 737691"/>
                              <a:gd name="connsiteY13" fmla="*/ 311345 h 415197"/>
                              <a:gd name="connsiteX14" fmla="*/ 162685 w 737691"/>
                              <a:gd name="connsiteY14" fmla="*/ 316955 h 415197"/>
                              <a:gd name="connsiteX15" fmla="*/ 171099 w 737691"/>
                              <a:gd name="connsiteY15" fmla="*/ 319760 h 415197"/>
                              <a:gd name="connsiteX16" fmla="*/ 190734 w 737691"/>
                              <a:gd name="connsiteY16" fmla="*/ 316955 h 415197"/>
                              <a:gd name="connsiteX17" fmla="*/ 199148 w 737691"/>
                              <a:gd name="connsiteY17" fmla="*/ 314150 h 415197"/>
                              <a:gd name="connsiteX18" fmla="*/ 201953 w 737691"/>
                              <a:gd name="connsiteY18" fmla="*/ 305735 h 415197"/>
                              <a:gd name="connsiteX19" fmla="*/ 213173 w 737691"/>
                              <a:gd name="connsiteY19" fmla="*/ 316955 h 415197"/>
                              <a:gd name="connsiteX20" fmla="*/ 221588 w 737691"/>
                              <a:gd name="connsiteY20" fmla="*/ 322565 h 415197"/>
                              <a:gd name="connsiteX21" fmla="*/ 232807 w 737691"/>
                              <a:gd name="connsiteY21" fmla="*/ 319760 h 415197"/>
                              <a:gd name="connsiteX22" fmla="*/ 249637 w 737691"/>
                              <a:gd name="connsiteY22" fmla="*/ 316955 h 415197"/>
                              <a:gd name="connsiteX23" fmla="*/ 258051 w 737691"/>
                              <a:gd name="connsiteY23" fmla="*/ 314150 h 415197"/>
                              <a:gd name="connsiteX24" fmla="*/ 269271 w 737691"/>
                              <a:gd name="connsiteY24" fmla="*/ 311345 h 415197"/>
                              <a:gd name="connsiteX25" fmla="*/ 311345 w 737691"/>
                              <a:gd name="connsiteY25" fmla="*/ 314150 h 415197"/>
                              <a:gd name="connsiteX26" fmla="*/ 316954 w 737691"/>
                              <a:gd name="connsiteY26" fmla="*/ 322565 h 415197"/>
                              <a:gd name="connsiteX27" fmla="*/ 336589 w 737691"/>
                              <a:gd name="connsiteY27" fmla="*/ 325370 h 415197"/>
                              <a:gd name="connsiteX28" fmla="*/ 370248 w 737691"/>
                              <a:gd name="connsiteY28" fmla="*/ 325370 h 415197"/>
                              <a:gd name="connsiteX29" fmla="*/ 387077 w 737691"/>
                              <a:gd name="connsiteY29" fmla="*/ 314150 h 415197"/>
                              <a:gd name="connsiteX30" fmla="*/ 401102 w 737691"/>
                              <a:gd name="connsiteY30" fmla="*/ 311345 h 415197"/>
                              <a:gd name="connsiteX31" fmla="*/ 403907 w 737691"/>
                              <a:gd name="connsiteY31" fmla="*/ 308540 h 415197"/>
                              <a:gd name="connsiteX32" fmla="*/ 415126 w 737691"/>
                              <a:gd name="connsiteY32" fmla="*/ 330980 h 415197"/>
                              <a:gd name="connsiteX33" fmla="*/ 423541 w 737691"/>
                              <a:gd name="connsiteY33" fmla="*/ 336589 h 415197"/>
                              <a:gd name="connsiteX34" fmla="*/ 465615 w 737691"/>
                              <a:gd name="connsiteY34" fmla="*/ 345004 h 415197"/>
                              <a:gd name="connsiteX35" fmla="*/ 482444 w 737691"/>
                              <a:gd name="connsiteY35" fmla="*/ 356224 h 415197"/>
                              <a:gd name="connsiteX36" fmla="*/ 490859 w 737691"/>
                              <a:gd name="connsiteY36" fmla="*/ 361834 h 415197"/>
                              <a:gd name="connsiteX37" fmla="*/ 504883 w 737691"/>
                              <a:gd name="connsiteY37" fmla="*/ 364638 h 415197"/>
                              <a:gd name="connsiteX38" fmla="*/ 521713 w 737691"/>
                              <a:gd name="connsiteY38" fmla="*/ 389883 h 415197"/>
                              <a:gd name="connsiteX39" fmla="*/ 527323 w 737691"/>
                              <a:gd name="connsiteY39" fmla="*/ 398297 h 415197"/>
                              <a:gd name="connsiteX40" fmla="*/ 535737 w 737691"/>
                              <a:gd name="connsiteY40" fmla="*/ 401102 h 415197"/>
                              <a:gd name="connsiteX41" fmla="*/ 560981 w 737691"/>
                              <a:gd name="connsiteY41" fmla="*/ 415127 h 415197"/>
                              <a:gd name="connsiteX42" fmla="*/ 600250 w 737691"/>
                              <a:gd name="connsiteY42" fmla="*/ 406712 h 415197"/>
                              <a:gd name="connsiteX43" fmla="*/ 605860 w 737691"/>
                              <a:gd name="connsiteY43" fmla="*/ 389883 h 415197"/>
                              <a:gd name="connsiteX44" fmla="*/ 670373 w 737691"/>
                              <a:gd name="connsiteY44" fmla="*/ 387078 h 415197"/>
                              <a:gd name="connsiteX45" fmla="*/ 687202 w 737691"/>
                              <a:gd name="connsiteY45" fmla="*/ 373053 h 415197"/>
                              <a:gd name="connsiteX46" fmla="*/ 695617 w 737691"/>
                              <a:gd name="connsiteY46" fmla="*/ 370248 h 415197"/>
                              <a:gd name="connsiteX47" fmla="*/ 704032 w 737691"/>
                              <a:gd name="connsiteY47" fmla="*/ 361834 h 415197"/>
                              <a:gd name="connsiteX48" fmla="*/ 709642 w 737691"/>
                              <a:gd name="connsiteY48" fmla="*/ 345004 h 415197"/>
                              <a:gd name="connsiteX49" fmla="*/ 726471 w 737691"/>
                              <a:gd name="connsiteY49" fmla="*/ 333784 h 415197"/>
                              <a:gd name="connsiteX50" fmla="*/ 732081 w 737691"/>
                              <a:gd name="connsiteY50" fmla="*/ 325370 h 415197"/>
                              <a:gd name="connsiteX51" fmla="*/ 737691 w 737691"/>
                              <a:gd name="connsiteY51" fmla="*/ 308540 h 415197"/>
                              <a:gd name="connsiteX52" fmla="*/ 732081 w 737691"/>
                              <a:gd name="connsiteY52" fmla="*/ 283296 h 415197"/>
                              <a:gd name="connsiteX53" fmla="*/ 723666 w 737691"/>
                              <a:gd name="connsiteY53" fmla="*/ 277686 h 415197"/>
                              <a:gd name="connsiteX54" fmla="*/ 720861 w 737691"/>
                              <a:gd name="connsiteY54" fmla="*/ 260857 h 415197"/>
                              <a:gd name="connsiteX55" fmla="*/ 712446 w 737691"/>
                              <a:gd name="connsiteY55" fmla="*/ 238418 h 415197"/>
                              <a:gd name="connsiteX56" fmla="*/ 695617 w 737691"/>
                              <a:gd name="connsiteY56" fmla="*/ 227198 h 415197"/>
                              <a:gd name="connsiteX57" fmla="*/ 690007 w 737691"/>
                              <a:gd name="connsiteY57" fmla="*/ 210369 h 415197"/>
                              <a:gd name="connsiteX58" fmla="*/ 687202 w 737691"/>
                              <a:gd name="connsiteY58" fmla="*/ 201954 h 415197"/>
                              <a:gd name="connsiteX59" fmla="*/ 684397 w 737691"/>
                              <a:gd name="connsiteY59" fmla="*/ 185124 h 415197"/>
                              <a:gd name="connsiteX60" fmla="*/ 675983 w 737691"/>
                              <a:gd name="connsiteY60" fmla="*/ 182319 h 415197"/>
                              <a:gd name="connsiteX61" fmla="*/ 656348 w 737691"/>
                              <a:gd name="connsiteY61" fmla="*/ 176710 h 415197"/>
                              <a:gd name="connsiteX62" fmla="*/ 653543 w 737691"/>
                              <a:gd name="connsiteY62" fmla="*/ 168295 h 415197"/>
                              <a:gd name="connsiteX63" fmla="*/ 661958 w 737691"/>
                              <a:gd name="connsiteY63" fmla="*/ 148661 h 415197"/>
                              <a:gd name="connsiteX64" fmla="*/ 661958 w 737691"/>
                              <a:gd name="connsiteY64" fmla="*/ 106587 h 415197"/>
                              <a:gd name="connsiteX65" fmla="*/ 659153 w 737691"/>
                              <a:gd name="connsiteY65" fmla="*/ 98172 h 415197"/>
                              <a:gd name="connsiteX66" fmla="*/ 650738 w 737691"/>
                              <a:gd name="connsiteY66" fmla="*/ 95367 h 415197"/>
                              <a:gd name="connsiteX67" fmla="*/ 633909 w 737691"/>
                              <a:gd name="connsiteY67" fmla="*/ 84148 h 415197"/>
                              <a:gd name="connsiteX68" fmla="*/ 617080 w 737691"/>
                              <a:gd name="connsiteY68" fmla="*/ 67318 h 415197"/>
                              <a:gd name="connsiteX69" fmla="*/ 600250 w 737691"/>
                              <a:gd name="connsiteY69" fmla="*/ 56099 h 415197"/>
                              <a:gd name="connsiteX70" fmla="*/ 563786 w 737691"/>
                              <a:gd name="connsiteY70" fmla="*/ 61708 h 415197"/>
                              <a:gd name="connsiteX71" fmla="*/ 555372 w 737691"/>
                              <a:gd name="connsiteY71" fmla="*/ 67318 h 415197"/>
                              <a:gd name="connsiteX72" fmla="*/ 549762 w 737691"/>
                              <a:gd name="connsiteY72" fmla="*/ 75733 h 415197"/>
                              <a:gd name="connsiteX73" fmla="*/ 524518 w 737691"/>
                              <a:gd name="connsiteY73" fmla="*/ 75733 h 415197"/>
                              <a:gd name="connsiteX74" fmla="*/ 516103 w 737691"/>
                              <a:gd name="connsiteY74" fmla="*/ 72928 h 415197"/>
                              <a:gd name="connsiteX75" fmla="*/ 490859 w 737691"/>
                              <a:gd name="connsiteY75" fmla="*/ 50489 h 415197"/>
                              <a:gd name="connsiteX76" fmla="*/ 482444 w 737691"/>
                              <a:gd name="connsiteY76" fmla="*/ 42074 h 415197"/>
                              <a:gd name="connsiteX77" fmla="*/ 476834 w 737691"/>
                              <a:gd name="connsiteY77" fmla="*/ 33659 h 415197"/>
                              <a:gd name="connsiteX78" fmla="*/ 460005 w 737691"/>
                              <a:gd name="connsiteY78" fmla="*/ 28049 h 415197"/>
                              <a:gd name="connsiteX79" fmla="*/ 451590 w 737691"/>
                              <a:gd name="connsiteY79" fmla="*/ 22440 h 415197"/>
                              <a:gd name="connsiteX80" fmla="*/ 445980 w 737691"/>
                              <a:gd name="connsiteY80" fmla="*/ 14025 h 415197"/>
                              <a:gd name="connsiteX81" fmla="*/ 429151 w 737691"/>
                              <a:gd name="connsiteY81" fmla="*/ 8415 h 415197"/>
                              <a:gd name="connsiteX82" fmla="*/ 412321 w 737691"/>
                              <a:gd name="connsiteY82" fmla="*/ 0 h 415197"/>
                              <a:gd name="connsiteX83" fmla="*/ 398297 w 737691"/>
                              <a:gd name="connsiteY83" fmla="*/ 2805 h 415197"/>
                              <a:gd name="connsiteX84" fmla="*/ 373053 w 737691"/>
                              <a:gd name="connsiteY84" fmla="*/ 14025 h 415197"/>
                              <a:gd name="connsiteX85" fmla="*/ 345004 w 737691"/>
                              <a:gd name="connsiteY85" fmla="*/ 19635 h 415197"/>
                              <a:gd name="connsiteX86" fmla="*/ 330979 w 737691"/>
                              <a:gd name="connsiteY86" fmla="*/ 42074 h 415197"/>
                              <a:gd name="connsiteX87" fmla="*/ 328174 w 737691"/>
                              <a:gd name="connsiteY87" fmla="*/ 50489 h 415197"/>
                              <a:gd name="connsiteX88" fmla="*/ 330979 w 737691"/>
                              <a:gd name="connsiteY88" fmla="*/ 106587 h 415197"/>
                              <a:gd name="connsiteX89" fmla="*/ 336589 w 737691"/>
                              <a:gd name="connsiteY89" fmla="*/ 115002 h 415197"/>
                              <a:gd name="connsiteX90" fmla="*/ 339394 w 737691"/>
                              <a:gd name="connsiteY90" fmla="*/ 123416 h 415197"/>
                              <a:gd name="connsiteX91" fmla="*/ 330979 w 737691"/>
                              <a:gd name="connsiteY91" fmla="*/ 157075 h 415197"/>
                              <a:gd name="connsiteX92" fmla="*/ 322564 w 737691"/>
                              <a:gd name="connsiteY92" fmla="*/ 162685 h 415197"/>
                              <a:gd name="connsiteX93" fmla="*/ 311345 w 737691"/>
                              <a:gd name="connsiteY93" fmla="*/ 173905 h 415197"/>
                              <a:gd name="connsiteX94" fmla="*/ 305735 w 737691"/>
                              <a:gd name="connsiteY94" fmla="*/ 182319 h 415197"/>
                              <a:gd name="connsiteX95" fmla="*/ 288905 w 737691"/>
                              <a:gd name="connsiteY95" fmla="*/ 193539 h 415197"/>
                              <a:gd name="connsiteX96" fmla="*/ 280491 w 737691"/>
                              <a:gd name="connsiteY96" fmla="*/ 199149 h 415197"/>
                              <a:gd name="connsiteX97" fmla="*/ 258051 w 737691"/>
                              <a:gd name="connsiteY97" fmla="*/ 196344 h 415197"/>
                              <a:gd name="connsiteX98" fmla="*/ 235612 w 737691"/>
                              <a:gd name="connsiteY98" fmla="*/ 190734 h 415197"/>
                              <a:gd name="connsiteX99" fmla="*/ 218783 w 737691"/>
                              <a:gd name="connsiteY99" fmla="*/ 182319 h 415197"/>
                              <a:gd name="connsiteX100" fmla="*/ 204758 w 737691"/>
                              <a:gd name="connsiteY100" fmla="*/ 157075 h 415197"/>
                              <a:gd name="connsiteX101" fmla="*/ 199148 w 737691"/>
                              <a:gd name="connsiteY101" fmla="*/ 148661 h 415197"/>
                              <a:gd name="connsiteX102" fmla="*/ 190734 w 737691"/>
                              <a:gd name="connsiteY102" fmla="*/ 131831 h 415197"/>
                              <a:gd name="connsiteX103" fmla="*/ 182319 w 737691"/>
                              <a:gd name="connsiteY103" fmla="*/ 126221 h 415197"/>
                              <a:gd name="connsiteX104" fmla="*/ 171099 w 737691"/>
                              <a:gd name="connsiteY104" fmla="*/ 112197 h 415197"/>
                              <a:gd name="connsiteX105" fmla="*/ 168294 w 737691"/>
                              <a:gd name="connsiteY105" fmla="*/ 103782 h 415197"/>
                              <a:gd name="connsiteX106" fmla="*/ 157075 w 737691"/>
                              <a:gd name="connsiteY106" fmla="*/ 86953 h 415197"/>
                              <a:gd name="connsiteX107" fmla="*/ 151465 w 737691"/>
                              <a:gd name="connsiteY107" fmla="*/ 78538 h 415197"/>
                              <a:gd name="connsiteX108" fmla="*/ 143050 w 737691"/>
                              <a:gd name="connsiteY108" fmla="*/ 75733 h 415197"/>
                              <a:gd name="connsiteX109" fmla="*/ 123416 w 737691"/>
                              <a:gd name="connsiteY109" fmla="*/ 84148 h 415197"/>
                              <a:gd name="connsiteX110" fmla="*/ 115001 w 737691"/>
                              <a:gd name="connsiteY110" fmla="*/ 89757 h 415197"/>
                              <a:gd name="connsiteX111" fmla="*/ 95367 w 737691"/>
                              <a:gd name="connsiteY111" fmla="*/ 95367 h 415197"/>
                              <a:gd name="connsiteX112" fmla="*/ 78537 w 737691"/>
                              <a:gd name="connsiteY112" fmla="*/ 100977 h 415197"/>
                              <a:gd name="connsiteX113" fmla="*/ 61708 w 737691"/>
                              <a:gd name="connsiteY113" fmla="*/ 117807 h 415197"/>
                              <a:gd name="connsiteX114" fmla="*/ 53293 w 737691"/>
                              <a:gd name="connsiteY114" fmla="*/ 126221 h 415197"/>
                              <a:gd name="connsiteX115" fmla="*/ 42073 w 737691"/>
                              <a:gd name="connsiteY115" fmla="*/ 143051 h 415197"/>
                              <a:gd name="connsiteX116" fmla="*/ 39269 w 737691"/>
                              <a:gd name="connsiteY116" fmla="*/ 215978 h 415197"/>
                              <a:gd name="connsiteX117" fmla="*/ 30854 w 737691"/>
                              <a:gd name="connsiteY117" fmla="*/ 218783 h 415197"/>
                              <a:gd name="connsiteX118" fmla="*/ 25244 w 737691"/>
                              <a:gd name="connsiteY118" fmla="*/ 227198 h 415197"/>
                              <a:gd name="connsiteX119" fmla="*/ 16829 w 737691"/>
                              <a:gd name="connsiteY119" fmla="*/ 232808 h 415197"/>
                              <a:gd name="connsiteX120" fmla="*/ 2805 w 737691"/>
                              <a:gd name="connsiteY120" fmla="*/ 249637 h 415197"/>
                              <a:gd name="connsiteX121" fmla="*/ 0 w 737691"/>
                              <a:gd name="connsiteY121" fmla="*/ 258052 h 415197"/>
                              <a:gd name="connsiteX122" fmla="*/ 8415 w 737691"/>
                              <a:gd name="connsiteY122" fmla="*/ 283296 h 415197"/>
                              <a:gd name="connsiteX123" fmla="*/ 11219 w 737691"/>
                              <a:gd name="connsiteY123" fmla="*/ 291711 h 415197"/>
                              <a:gd name="connsiteX124" fmla="*/ 8415 w 737691"/>
                              <a:gd name="connsiteY124" fmla="*/ 319760 h 415197"/>
                              <a:gd name="connsiteX125" fmla="*/ 2805 w 737691"/>
                              <a:gd name="connsiteY125" fmla="*/ 336589 h 415197"/>
                              <a:gd name="connsiteX126" fmla="*/ 11219 w 737691"/>
                              <a:gd name="connsiteY126" fmla="*/ 356224 h 4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737691" h="415197">
                                <a:moveTo>
                                  <a:pt x="11219" y="356224"/>
                                </a:moveTo>
                                <a:lnTo>
                                  <a:pt x="11219" y="356224"/>
                                </a:lnTo>
                                <a:cubicBezTo>
                                  <a:pt x="19634" y="355289"/>
                                  <a:pt x="28162" y="355080"/>
                                  <a:pt x="36464" y="353419"/>
                                </a:cubicBezTo>
                                <a:cubicBezTo>
                                  <a:pt x="42262" y="352259"/>
                                  <a:pt x="53293" y="347809"/>
                                  <a:pt x="53293" y="347809"/>
                                </a:cubicBezTo>
                                <a:cubicBezTo>
                                  <a:pt x="55163" y="345004"/>
                                  <a:pt x="56519" y="341778"/>
                                  <a:pt x="58903" y="339394"/>
                                </a:cubicBezTo>
                                <a:cubicBezTo>
                                  <a:pt x="61287" y="337010"/>
                                  <a:pt x="65212" y="336416"/>
                                  <a:pt x="67318" y="333784"/>
                                </a:cubicBezTo>
                                <a:cubicBezTo>
                                  <a:pt x="69165" y="331475"/>
                                  <a:pt x="68033" y="327460"/>
                                  <a:pt x="70123" y="325370"/>
                                </a:cubicBezTo>
                                <a:cubicBezTo>
                                  <a:pt x="72213" y="323280"/>
                                  <a:pt x="75893" y="323887"/>
                                  <a:pt x="78537" y="322565"/>
                                </a:cubicBezTo>
                                <a:cubicBezTo>
                                  <a:pt x="81552" y="321057"/>
                                  <a:pt x="84147" y="318825"/>
                                  <a:pt x="86952" y="316955"/>
                                </a:cubicBezTo>
                                <a:cubicBezTo>
                                  <a:pt x="88822" y="314150"/>
                                  <a:pt x="89930" y="310646"/>
                                  <a:pt x="92562" y="308540"/>
                                </a:cubicBezTo>
                                <a:cubicBezTo>
                                  <a:pt x="94871" y="306693"/>
                                  <a:pt x="98332" y="307057"/>
                                  <a:pt x="100977" y="305735"/>
                                </a:cubicBezTo>
                                <a:cubicBezTo>
                                  <a:pt x="103992" y="304228"/>
                                  <a:pt x="106586" y="301996"/>
                                  <a:pt x="109391" y="300126"/>
                                </a:cubicBezTo>
                                <a:cubicBezTo>
                                  <a:pt x="119676" y="301061"/>
                                  <a:pt x="130375" y="299893"/>
                                  <a:pt x="140245" y="302930"/>
                                </a:cubicBezTo>
                                <a:cubicBezTo>
                                  <a:pt x="143467" y="303921"/>
                                  <a:pt x="142996" y="309558"/>
                                  <a:pt x="145855" y="311345"/>
                                </a:cubicBezTo>
                                <a:cubicBezTo>
                                  <a:pt x="150870" y="314479"/>
                                  <a:pt x="157075" y="315085"/>
                                  <a:pt x="162685" y="316955"/>
                                </a:cubicBezTo>
                                <a:lnTo>
                                  <a:pt x="171099" y="319760"/>
                                </a:lnTo>
                                <a:cubicBezTo>
                                  <a:pt x="177644" y="318825"/>
                                  <a:pt x="184251" y="318252"/>
                                  <a:pt x="190734" y="316955"/>
                                </a:cubicBezTo>
                                <a:cubicBezTo>
                                  <a:pt x="193633" y="316375"/>
                                  <a:pt x="197058" y="316241"/>
                                  <a:pt x="199148" y="314150"/>
                                </a:cubicBezTo>
                                <a:cubicBezTo>
                                  <a:pt x="201239" y="312059"/>
                                  <a:pt x="201018" y="308540"/>
                                  <a:pt x="201953" y="305735"/>
                                </a:cubicBezTo>
                                <a:cubicBezTo>
                                  <a:pt x="220313" y="311855"/>
                                  <a:pt x="202293" y="303355"/>
                                  <a:pt x="213173" y="316955"/>
                                </a:cubicBezTo>
                                <a:cubicBezTo>
                                  <a:pt x="215279" y="319587"/>
                                  <a:pt x="218783" y="320695"/>
                                  <a:pt x="221588" y="322565"/>
                                </a:cubicBezTo>
                                <a:cubicBezTo>
                                  <a:pt x="225328" y="321630"/>
                                  <a:pt x="229027" y="320516"/>
                                  <a:pt x="232807" y="319760"/>
                                </a:cubicBezTo>
                                <a:cubicBezTo>
                                  <a:pt x="238384" y="318645"/>
                                  <a:pt x="244085" y="318189"/>
                                  <a:pt x="249637" y="316955"/>
                                </a:cubicBezTo>
                                <a:cubicBezTo>
                                  <a:pt x="252523" y="316314"/>
                                  <a:pt x="255208" y="314962"/>
                                  <a:pt x="258051" y="314150"/>
                                </a:cubicBezTo>
                                <a:cubicBezTo>
                                  <a:pt x="261758" y="313091"/>
                                  <a:pt x="265531" y="312280"/>
                                  <a:pt x="269271" y="311345"/>
                                </a:cubicBezTo>
                                <a:cubicBezTo>
                                  <a:pt x="283296" y="312280"/>
                                  <a:pt x="297663" y="310931"/>
                                  <a:pt x="311345" y="314150"/>
                                </a:cubicBezTo>
                                <a:cubicBezTo>
                                  <a:pt x="314626" y="314922"/>
                                  <a:pt x="313874" y="321196"/>
                                  <a:pt x="316954" y="322565"/>
                                </a:cubicBezTo>
                                <a:cubicBezTo>
                                  <a:pt x="322996" y="325250"/>
                                  <a:pt x="330044" y="324435"/>
                                  <a:pt x="336589" y="325370"/>
                                </a:cubicBezTo>
                                <a:cubicBezTo>
                                  <a:pt x="349755" y="329759"/>
                                  <a:pt x="351460" y="331633"/>
                                  <a:pt x="370248" y="325370"/>
                                </a:cubicBezTo>
                                <a:cubicBezTo>
                                  <a:pt x="376644" y="323238"/>
                                  <a:pt x="380466" y="315472"/>
                                  <a:pt x="387077" y="314150"/>
                                </a:cubicBezTo>
                                <a:lnTo>
                                  <a:pt x="401102" y="311345"/>
                                </a:lnTo>
                                <a:lnTo>
                                  <a:pt x="403907" y="308540"/>
                                </a:lnTo>
                                <a:cubicBezTo>
                                  <a:pt x="407647" y="316020"/>
                                  <a:pt x="410330" y="324129"/>
                                  <a:pt x="415126" y="330980"/>
                                </a:cubicBezTo>
                                <a:cubicBezTo>
                                  <a:pt x="417059" y="333742"/>
                                  <a:pt x="420461" y="335220"/>
                                  <a:pt x="423541" y="336589"/>
                                </a:cubicBezTo>
                                <a:cubicBezTo>
                                  <a:pt x="440118" y="343956"/>
                                  <a:pt x="446355" y="342864"/>
                                  <a:pt x="465615" y="345004"/>
                                </a:cubicBezTo>
                                <a:lnTo>
                                  <a:pt x="482444" y="356224"/>
                                </a:lnTo>
                                <a:cubicBezTo>
                                  <a:pt x="485249" y="358094"/>
                                  <a:pt x="487553" y="361173"/>
                                  <a:pt x="490859" y="361834"/>
                                </a:cubicBezTo>
                                <a:lnTo>
                                  <a:pt x="504883" y="364638"/>
                                </a:lnTo>
                                <a:lnTo>
                                  <a:pt x="521713" y="389883"/>
                                </a:lnTo>
                                <a:cubicBezTo>
                                  <a:pt x="523583" y="392688"/>
                                  <a:pt x="524125" y="397231"/>
                                  <a:pt x="527323" y="398297"/>
                                </a:cubicBezTo>
                                <a:cubicBezTo>
                                  <a:pt x="530128" y="399232"/>
                                  <a:pt x="533153" y="399666"/>
                                  <a:pt x="535737" y="401102"/>
                                </a:cubicBezTo>
                                <a:cubicBezTo>
                                  <a:pt x="564671" y="417177"/>
                                  <a:pt x="541942" y="408780"/>
                                  <a:pt x="560981" y="415127"/>
                                </a:cubicBezTo>
                                <a:cubicBezTo>
                                  <a:pt x="562971" y="414946"/>
                                  <a:pt x="593761" y="417094"/>
                                  <a:pt x="600250" y="406712"/>
                                </a:cubicBezTo>
                                <a:cubicBezTo>
                                  <a:pt x="603384" y="401698"/>
                                  <a:pt x="599952" y="390140"/>
                                  <a:pt x="605860" y="389883"/>
                                </a:cubicBezTo>
                                <a:lnTo>
                                  <a:pt x="670373" y="387078"/>
                                </a:lnTo>
                                <a:cubicBezTo>
                                  <a:pt x="676575" y="380876"/>
                                  <a:pt x="679394" y="376957"/>
                                  <a:pt x="687202" y="373053"/>
                                </a:cubicBezTo>
                                <a:cubicBezTo>
                                  <a:pt x="689847" y="371731"/>
                                  <a:pt x="692812" y="371183"/>
                                  <a:pt x="695617" y="370248"/>
                                </a:cubicBezTo>
                                <a:cubicBezTo>
                                  <a:pt x="698422" y="367443"/>
                                  <a:pt x="702106" y="365301"/>
                                  <a:pt x="704032" y="361834"/>
                                </a:cubicBezTo>
                                <a:cubicBezTo>
                                  <a:pt x="706904" y="356665"/>
                                  <a:pt x="704722" y="348284"/>
                                  <a:pt x="709642" y="345004"/>
                                </a:cubicBezTo>
                                <a:lnTo>
                                  <a:pt x="726471" y="333784"/>
                                </a:lnTo>
                                <a:cubicBezTo>
                                  <a:pt x="728341" y="330979"/>
                                  <a:pt x="730712" y="328450"/>
                                  <a:pt x="732081" y="325370"/>
                                </a:cubicBezTo>
                                <a:cubicBezTo>
                                  <a:pt x="734483" y="319966"/>
                                  <a:pt x="737691" y="308540"/>
                                  <a:pt x="737691" y="308540"/>
                                </a:cubicBezTo>
                                <a:cubicBezTo>
                                  <a:pt x="737662" y="308368"/>
                                  <a:pt x="734988" y="286930"/>
                                  <a:pt x="732081" y="283296"/>
                                </a:cubicBezTo>
                                <a:cubicBezTo>
                                  <a:pt x="729975" y="280664"/>
                                  <a:pt x="726471" y="279556"/>
                                  <a:pt x="723666" y="277686"/>
                                </a:cubicBezTo>
                                <a:cubicBezTo>
                                  <a:pt x="722731" y="272076"/>
                                  <a:pt x="721878" y="266452"/>
                                  <a:pt x="720861" y="260857"/>
                                </a:cubicBezTo>
                                <a:cubicBezTo>
                                  <a:pt x="719347" y="252529"/>
                                  <a:pt x="719321" y="244433"/>
                                  <a:pt x="712446" y="238418"/>
                                </a:cubicBezTo>
                                <a:cubicBezTo>
                                  <a:pt x="707372" y="233978"/>
                                  <a:pt x="695617" y="227198"/>
                                  <a:pt x="695617" y="227198"/>
                                </a:cubicBezTo>
                                <a:lnTo>
                                  <a:pt x="690007" y="210369"/>
                                </a:lnTo>
                                <a:cubicBezTo>
                                  <a:pt x="689072" y="207564"/>
                                  <a:pt x="687688" y="204871"/>
                                  <a:pt x="687202" y="201954"/>
                                </a:cubicBezTo>
                                <a:cubicBezTo>
                                  <a:pt x="686267" y="196344"/>
                                  <a:pt x="687219" y="190062"/>
                                  <a:pt x="684397" y="185124"/>
                                </a:cubicBezTo>
                                <a:cubicBezTo>
                                  <a:pt x="682930" y="182557"/>
                                  <a:pt x="678826" y="183131"/>
                                  <a:pt x="675983" y="182319"/>
                                </a:cubicBezTo>
                                <a:cubicBezTo>
                                  <a:pt x="651321" y="175273"/>
                                  <a:pt x="676530" y="183437"/>
                                  <a:pt x="656348" y="176710"/>
                                </a:cubicBezTo>
                                <a:cubicBezTo>
                                  <a:pt x="655413" y="173905"/>
                                  <a:pt x="653543" y="171252"/>
                                  <a:pt x="653543" y="168295"/>
                                </a:cubicBezTo>
                                <a:cubicBezTo>
                                  <a:pt x="653543" y="159238"/>
                                  <a:pt x="657377" y="155532"/>
                                  <a:pt x="661958" y="148661"/>
                                </a:cubicBezTo>
                                <a:cubicBezTo>
                                  <a:pt x="667980" y="130595"/>
                                  <a:pt x="666316" y="139270"/>
                                  <a:pt x="661958" y="106587"/>
                                </a:cubicBezTo>
                                <a:cubicBezTo>
                                  <a:pt x="661567" y="103656"/>
                                  <a:pt x="661244" y="100263"/>
                                  <a:pt x="659153" y="98172"/>
                                </a:cubicBezTo>
                                <a:cubicBezTo>
                                  <a:pt x="657062" y="96081"/>
                                  <a:pt x="653543" y="96302"/>
                                  <a:pt x="650738" y="95367"/>
                                </a:cubicBezTo>
                                <a:cubicBezTo>
                                  <a:pt x="645128" y="91627"/>
                                  <a:pt x="638676" y="88915"/>
                                  <a:pt x="633909" y="84148"/>
                                </a:cubicBezTo>
                                <a:cubicBezTo>
                                  <a:pt x="628299" y="78538"/>
                                  <a:pt x="623681" y="71718"/>
                                  <a:pt x="617080" y="67318"/>
                                </a:cubicBezTo>
                                <a:lnTo>
                                  <a:pt x="600250" y="56099"/>
                                </a:lnTo>
                                <a:cubicBezTo>
                                  <a:pt x="595180" y="56662"/>
                                  <a:pt x="572289" y="58064"/>
                                  <a:pt x="563786" y="61708"/>
                                </a:cubicBezTo>
                                <a:cubicBezTo>
                                  <a:pt x="560688" y="63036"/>
                                  <a:pt x="558177" y="65448"/>
                                  <a:pt x="555372" y="67318"/>
                                </a:cubicBezTo>
                                <a:cubicBezTo>
                                  <a:pt x="553502" y="70123"/>
                                  <a:pt x="552394" y="73627"/>
                                  <a:pt x="549762" y="75733"/>
                                </a:cubicBezTo>
                                <a:cubicBezTo>
                                  <a:pt x="542814" y="81291"/>
                                  <a:pt x="531064" y="77188"/>
                                  <a:pt x="524518" y="75733"/>
                                </a:cubicBezTo>
                                <a:cubicBezTo>
                                  <a:pt x="521632" y="75092"/>
                                  <a:pt x="518748" y="74250"/>
                                  <a:pt x="516103" y="72928"/>
                                </a:cubicBezTo>
                                <a:cubicBezTo>
                                  <a:pt x="506092" y="67923"/>
                                  <a:pt x="498293" y="57923"/>
                                  <a:pt x="490859" y="50489"/>
                                </a:cubicBezTo>
                                <a:cubicBezTo>
                                  <a:pt x="488054" y="47684"/>
                                  <a:pt x="484644" y="45375"/>
                                  <a:pt x="482444" y="42074"/>
                                </a:cubicBezTo>
                                <a:cubicBezTo>
                                  <a:pt x="480574" y="39269"/>
                                  <a:pt x="479693" y="35446"/>
                                  <a:pt x="476834" y="33659"/>
                                </a:cubicBezTo>
                                <a:cubicBezTo>
                                  <a:pt x="471820" y="30525"/>
                                  <a:pt x="464925" y="31329"/>
                                  <a:pt x="460005" y="28049"/>
                                </a:cubicBezTo>
                                <a:lnTo>
                                  <a:pt x="451590" y="22440"/>
                                </a:lnTo>
                                <a:cubicBezTo>
                                  <a:pt x="449720" y="19635"/>
                                  <a:pt x="448839" y="15812"/>
                                  <a:pt x="445980" y="14025"/>
                                </a:cubicBezTo>
                                <a:cubicBezTo>
                                  <a:pt x="440966" y="10891"/>
                                  <a:pt x="434071" y="11695"/>
                                  <a:pt x="429151" y="8415"/>
                                </a:cubicBezTo>
                                <a:cubicBezTo>
                                  <a:pt x="418276" y="1165"/>
                                  <a:pt x="423934" y="3871"/>
                                  <a:pt x="412321" y="0"/>
                                </a:cubicBezTo>
                                <a:cubicBezTo>
                                  <a:pt x="407646" y="935"/>
                                  <a:pt x="402761" y="1131"/>
                                  <a:pt x="398297" y="2805"/>
                                </a:cubicBezTo>
                                <a:cubicBezTo>
                                  <a:pt x="371439" y="12877"/>
                                  <a:pt x="416800" y="5275"/>
                                  <a:pt x="373053" y="14025"/>
                                </a:cubicBezTo>
                                <a:lnTo>
                                  <a:pt x="345004" y="19635"/>
                                </a:lnTo>
                                <a:cubicBezTo>
                                  <a:pt x="331669" y="28525"/>
                                  <a:pt x="337655" y="22047"/>
                                  <a:pt x="330979" y="42074"/>
                                </a:cubicBezTo>
                                <a:lnTo>
                                  <a:pt x="328174" y="50489"/>
                                </a:lnTo>
                                <a:cubicBezTo>
                                  <a:pt x="329109" y="69188"/>
                                  <a:pt x="328557" y="88022"/>
                                  <a:pt x="330979" y="106587"/>
                                </a:cubicBezTo>
                                <a:cubicBezTo>
                                  <a:pt x="331415" y="109930"/>
                                  <a:pt x="335081" y="111987"/>
                                  <a:pt x="336589" y="115002"/>
                                </a:cubicBezTo>
                                <a:cubicBezTo>
                                  <a:pt x="337911" y="117646"/>
                                  <a:pt x="338459" y="120611"/>
                                  <a:pt x="339394" y="123416"/>
                                </a:cubicBezTo>
                                <a:cubicBezTo>
                                  <a:pt x="337834" y="137453"/>
                                  <a:pt x="340642" y="147413"/>
                                  <a:pt x="330979" y="157075"/>
                                </a:cubicBezTo>
                                <a:cubicBezTo>
                                  <a:pt x="328595" y="159459"/>
                                  <a:pt x="325369" y="160815"/>
                                  <a:pt x="322564" y="162685"/>
                                </a:cubicBezTo>
                                <a:cubicBezTo>
                                  <a:pt x="316444" y="181044"/>
                                  <a:pt x="324943" y="163026"/>
                                  <a:pt x="311345" y="173905"/>
                                </a:cubicBezTo>
                                <a:cubicBezTo>
                                  <a:pt x="308713" y="176011"/>
                                  <a:pt x="307893" y="179729"/>
                                  <a:pt x="305735" y="182319"/>
                                </a:cubicBezTo>
                                <a:cubicBezTo>
                                  <a:pt x="297653" y="192017"/>
                                  <a:pt x="299277" y="190082"/>
                                  <a:pt x="288905" y="193539"/>
                                </a:cubicBezTo>
                                <a:cubicBezTo>
                                  <a:pt x="286100" y="195409"/>
                                  <a:pt x="283848" y="198844"/>
                                  <a:pt x="280491" y="199149"/>
                                </a:cubicBezTo>
                                <a:cubicBezTo>
                                  <a:pt x="272984" y="199831"/>
                                  <a:pt x="265502" y="197490"/>
                                  <a:pt x="258051" y="196344"/>
                                </a:cubicBezTo>
                                <a:cubicBezTo>
                                  <a:pt x="253428" y="195633"/>
                                  <a:pt x="240921" y="193388"/>
                                  <a:pt x="235612" y="190734"/>
                                </a:cubicBezTo>
                                <a:cubicBezTo>
                                  <a:pt x="213860" y="179858"/>
                                  <a:pt x="239934" y="189370"/>
                                  <a:pt x="218783" y="182319"/>
                                </a:cubicBezTo>
                                <a:cubicBezTo>
                                  <a:pt x="213846" y="167509"/>
                                  <a:pt x="217617" y="176363"/>
                                  <a:pt x="204758" y="157075"/>
                                </a:cubicBezTo>
                                <a:lnTo>
                                  <a:pt x="199148" y="148661"/>
                                </a:lnTo>
                                <a:cubicBezTo>
                                  <a:pt x="196867" y="141819"/>
                                  <a:pt x="196170" y="137267"/>
                                  <a:pt x="190734" y="131831"/>
                                </a:cubicBezTo>
                                <a:cubicBezTo>
                                  <a:pt x="188350" y="129447"/>
                                  <a:pt x="185124" y="128091"/>
                                  <a:pt x="182319" y="126221"/>
                                </a:cubicBezTo>
                                <a:cubicBezTo>
                                  <a:pt x="175268" y="105071"/>
                                  <a:pt x="185600" y="130323"/>
                                  <a:pt x="171099" y="112197"/>
                                </a:cubicBezTo>
                                <a:cubicBezTo>
                                  <a:pt x="169252" y="109888"/>
                                  <a:pt x="169730" y="106367"/>
                                  <a:pt x="168294" y="103782"/>
                                </a:cubicBezTo>
                                <a:cubicBezTo>
                                  <a:pt x="165020" y="97888"/>
                                  <a:pt x="160815" y="92563"/>
                                  <a:pt x="157075" y="86953"/>
                                </a:cubicBezTo>
                                <a:cubicBezTo>
                                  <a:pt x="155205" y="84148"/>
                                  <a:pt x="154663" y="79604"/>
                                  <a:pt x="151465" y="78538"/>
                                </a:cubicBezTo>
                                <a:lnTo>
                                  <a:pt x="143050" y="75733"/>
                                </a:lnTo>
                                <a:cubicBezTo>
                                  <a:pt x="121928" y="89815"/>
                                  <a:pt x="148768" y="73284"/>
                                  <a:pt x="123416" y="84148"/>
                                </a:cubicBezTo>
                                <a:cubicBezTo>
                                  <a:pt x="120318" y="85476"/>
                                  <a:pt x="118016" y="88250"/>
                                  <a:pt x="115001" y="89757"/>
                                </a:cubicBezTo>
                                <a:cubicBezTo>
                                  <a:pt x="110287" y="92114"/>
                                  <a:pt x="99861" y="94019"/>
                                  <a:pt x="95367" y="95367"/>
                                </a:cubicBezTo>
                                <a:cubicBezTo>
                                  <a:pt x="89703" y="97066"/>
                                  <a:pt x="78537" y="100977"/>
                                  <a:pt x="78537" y="100977"/>
                                </a:cubicBezTo>
                                <a:lnTo>
                                  <a:pt x="61708" y="117807"/>
                                </a:lnTo>
                                <a:cubicBezTo>
                                  <a:pt x="58903" y="120612"/>
                                  <a:pt x="55493" y="122921"/>
                                  <a:pt x="53293" y="126221"/>
                                </a:cubicBezTo>
                                <a:lnTo>
                                  <a:pt x="42073" y="143051"/>
                                </a:lnTo>
                                <a:cubicBezTo>
                                  <a:pt x="41138" y="167360"/>
                                  <a:pt x="42834" y="191914"/>
                                  <a:pt x="39269" y="215978"/>
                                </a:cubicBezTo>
                                <a:cubicBezTo>
                                  <a:pt x="38836" y="218903"/>
                                  <a:pt x="33163" y="216936"/>
                                  <a:pt x="30854" y="218783"/>
                                </a:cubicBezTo>
                                <a:cubicBezTo>
                                  <a:pt x="28222" y="220889"/>
                                  <a:pt x="27628" y="224814"/>
                                  <a:pt x="25244" y="227198"/>
                                </a:cubicBezTo>
                                <a:cubicBezTo>
                                  <a:pt x="22860" y="229582"/>
                                  <a:pt x="19419" y="230650"/>
                                  <a:pt x="16829" y="232808"/>
                                </a:cubicBezTo>
                                <a:cubicBezTo>
                                  <a:pt x="11512" y="237239"/>
                                  <a:pt x="5957" y="243333"/>
                                  <a:pt x="2805" y="249637"/>
                                </a:cubicBezTo>
                                <a:cubicBezTo>
                                  <a:pt x="1483" y="252282"/>
                                  <a:pt x="935" y="255247"/>
                                  <a:pt x="0" y="258052"/>
                                </a:cubicBezTo>
                                <a:lnTo>
                                  <a:pt x="8415" y="283296"/>
                                </a:lnTo>
                                <a:lnTo>
                                  <a:pt x="11219" y="291711"/>
                                </a:lnTo>
                                <a:cubicBezTo>
                                  <a:pt x="10284" y="301061"/>
                                  <a:pt x="10147" y="310525"/>
                                  <a:pt x="8415" y="319760"/>
                                </a:cubicBezTo>
                                <a:cubicBezTo>
                                  <a:pt x="7325" y="325572"/>
                                  <a:pt x="2805" y="336589"/>
                                  <a:pt x="2805" y="336589"/>
                                </a:cubicBezTo>
                                <a:cubicBezTo>
                                  <a:pt x="6007" y="359000"/>
                                  <a:pt x="9817" y="352952"/>
                                  <a:pt x="11219" y="356224"/>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57" name="Group 156"/>
                        <p:cNvGrpSpPr/>
                        <p:nvPr/>
                      </p:nvGrpSpPr>
                      <p:grpSpPr>
                        <a:xfrm>
                          <a:off x="3269336" y="281635"/>
                          <a:ext cx="2319608" cy="2910814"/>
                          <a:chOff x="3269336" y="281635"/>
                          <a:chExt cx="2319608" cy="2910814"/>
                        </a:xfrm>
                        <a:grpFill/>
                      </p:grpSpPr>
                      <p:grpSp>
                        <p:nvGrpSpPr>
                          <p:cNvPr id="158" name="Group 157"/>
                          <p:cNvGrpSpPr/>
                          <p:nvPr/>
                        </p:nvGrpSpPr>
                        <p:grpSpPr>
                          <a:xfrm>
                            <a:off x="3269336" y="281635"/>
                            <a:ext cx="2049127" cy="2910814"/>
                            <a:chOff x="3269336" y="281635"/>
                            <a:chExt cx="2049127" cy="2910814"/>
                          </a:xfrm>
                          <a:grpFill/>
                        </p:grpSpPr>
                        <p:grpSp>
                          <p:nvGrpSpPr>
                            <p:cNvPr id="160" name="Group 159"/>
                            <p:cNvGrpSpPr/>
                            <p:nvPr/>
                          </p:nvGrpSpPr>
                          <p:grpSpPr>
                            <a:xfrm>
                              <a:off x="3269336" y="281635"/>
                              <a:ext cx="2049127" cy="2267712"/>
                              <a:chOff x="3269336" y="281635"/>
                              <a:chExt cx="2049127" cy="2267712"/>
                            </a:xfrm>
                            <a:grpFill/>
                          </p:grpSpPr>
                          <p:grpSp>
                            <p:nvGrpSpPr>
                              <p:cNvPr id="167" name="Group 166"/>
                              <p:cNvGrpSpPr/>
                              <p:nvPr/>
                            </p:nvGrpSpPr>
                            <p:grpSpPr>
                              <a:xfrm>
                                <a:off x="3269336" y="281635"/>
                                <a:ext cx="2049127" cy="2267712"/>
                                <a:chOff x="3269336" y="281635"/>
                                <a:chExt cx="2049127" cy="2267712"/>
                              </a:xfrm>
                              <a:grpFill/>
                            </p:grpSpPr>
                            <p:grpSp>
                              <p:nvGrpSpPr>
                                <p:cNvPr id="177" name="Group 176"/>
                                <p:cNvGrpSpPr/>
                                <p:nvPr/>
                              </p:nvGrpSpPr>
                              <p:grpSpPr>
                                <a:xfrm>
                                  <a:off x="3269336" y="281635"/>
                                  <a:ext cx="2049127" cy="2267712"/>
                                  <a:chOff x="3269336" y="281635"/>
                                  <a:chExt cx="2049127" cy="2267712"/>
                                </a:xfrm>
                                <a:grpFill/>
                              </p:grpSpPr>
                              <p:sp>
                                <p:nvSpPr>
                                  <p:cNvPr id="179" name="Freeform 178"/>
                                  <p:cNvSpPr/>
                                  <p:nvPr/>
                                </p:nvSpPr>
                                <p:spPr>
                                  <a:xfrm>
                                    <a:off x="3269336" y="281635"/>
                                    <a:ext cx="2049127" cy="2267712"/>
                                  </a:xfrm>
                                  <a:custGeom>
                                    <a:avLst/>
                                    <a:gdLst>
                                      <a:gd name="connsiteX0" fmla="*/ 563829 w 2049127"/>
                                      <a:gd name="connsiteY0" fmla="*/ 2176272 h 2267712"/>
                                      <a:gd name="connsiteX1" fmla="*/ 563829 w 2049127"/>
                                      <a:gd name="connsiteY1" fmla="*/ 2176272 h 2267712"/>
                                      <a:gd name="connsiteX2" fmla="*/ 549198 w 2049127"/>
                                      <a:gd name="connsiteY2" fmla="*/ 2147011 h 2267712"/>
                                      <a:gd name="connsiteX3" fmla="*/ 516280 w 2049127"/>
                                      <a:gd name="connsiteY3" fmla="*/ 2128723 h 2267712"/>
                                      <a:gd name="connsiteX4" fmla="*/ 494334 w 2049127"/>
                                      <a:gd name="connsiteY4" fmla="*/ 2125066 h 2267712"/>
                                      <a:gd name="connsiteX5" fmla="*/ 497992 w 2049127"/>
                                      <a:gd name="connsiteY5" fmla="*/ 2062887 h 2267712"/>
                                      <a:gd name="connsiteX6" fmla="*/ 505307 w 2049127"/>
                                      <a:gd name="connsiteY6" fmla="*/ 2051914 h 2267712"/>
                                      <a:gd name="connsiteX7" fmla="*/ 519938 w 2049127"/>
                                      <a:gd name="connsiteY7" fmla="*/ 2015338 h 2267712"/>
                                      <a:gd name="connsiteX8" fmla="*/ 516280 w 2049127"/>
                                      <a:gd name="connsiteY8" fmla="*/ 1989735 h 2267712"/>
                                      <a:gd name="connsiteX9" fmla="*/ 497992 w 2049127"/>
                                      <a:gd name="connsiteY9" fmla="*/ 1986077 h 2267712"/>
                                      <a:gd name="connsiteX10" fmla="*/ 487019 w 2049127"/>
                                      <a:gd name="connsiteY10" fmla="*/ 1993392 h 2267712"/>
                                      <a:gd name="connsiteX11" fmla="*/ 483362 w 2049127"/>
                                      <a:gd name="connsiteY11" fmla="*/ 2004365 h 2267712"/>
                                      <a:gd name="connsiteX12" fmla="*/ 476046 w 2049127"/>
                                      <a:gd name="connsiteY12" fmla="*/ 2011680 h 2267712"/>
                                      <a:gd name="connsiteX13" fmla="*/ 468731 w 2049127"/>
                                      <a:gd name="connsiteY13" fmla="*/ 2033626 h 2267712"/>
                                      <a:gd name="connsiteX14" fmla="*/ 457758 w 2049127"/>
                                      <a:gd name="connsiteY14" fmla="*/ 2029968 h 2267712"/>
                                      <a:gd name="connsiteX15" fmla="*/ 461416 w 2049127"/>
                                      <a:gd name="connsiteY15" fmla="*/ 2070202 h 2267712"/>
                                      <a:gd name="connsiteX16" fmla="*/ 457758 w 2049127"/>
                                      <a:gd name="connsiteY16" fmla="*/ 2099463 h 2267712"/>
                                      <a:gd name="connsiteX17" fmla="*/ 454101 w 2049127"/>
                                      <a:gd name="connsiteY17" fmla="*/ 2110435 h 2267712"/>
                                      <a:gd name="connsiteX18" fmla="*/ 443128 w 2049127"/>
                                      <a:gd name="connsiteY18" fmla="*/ 2114093 h 2267712"/>
                                      <a:gd name="connsiteX19" fmla="*/ 424840 w 2049127"/>
                                      <a:gd name="connsiteY19" fmla="*/ 2132381 h 2267712"/>
                                      <a:gd name="connsiteX20" fmla="*/ 413867 w 2049127"/>
                                      <a:gd name="connsiteY20" fmla="*/ 2128723 h 2267712"/>
                                      <a:gd name="connsiteX21" fmla="*/ 395579 w 2049127"/>
                                      <a:gd name="connsiteY21" fmla="*/ 2132381 h 2267712"/>
                                      <a:gd name="connsiteX22" fmla="*/ 384606 w 2049127"/>
                                      <a:gd name="connsiteY22" fmla="*/ 2136039 h 2267712"/>
                                      <a:gd name="connsiteX23" fmla="*/ 355346 w 2049127"/>
                                      <a:gd name="connsiteY23" fmla="*/ 2139696 h 2267712"/>
                                      <a:gd name="connsiteX24" fmla="*/ 344373 w 2049127"/>
                                      <a:gd name="connsiteY24" fmla="*/ 2157984 h 2267712"/>
                                      <a:gd name="connsiteX25" fmla="*/ 351688 w 2049127"/>
                                      <a:gd name="connsiteY25" fmla="*/ 2168957 h 2267712"/>
                                      <a:gd name="connsiteX26" fmla="*/ 355346 w 2049127"/>
                                      <a:gd name="connsiteY26" fmla="*/ 2179930 h 2267712"/>
                                      <a:gd name="connsiteX27" fmla="*/ 348030 w 2049127"/>
                                      <a:gd name="connsiteY27" fmla="*/ 2187245 h 2267712"/>
                                      <a:gd name="connsiteX28" fmla="*/ 315112 w 2049127"/>
                                      <a:gd name="connsiteY28" fmla="*/ 2201875 h 2267712"/>
                                      <a:gd name="connsiteX29" fmla="*/ 285851 w 2049127"/>
                                      <a:gd name="connsiteY29" fmla="*/ 2216506 h 2267712"/>
                                      <a:gd name="connsiteX30" fmla="*/ 274878 w 2049127"/>
                                      <a:gd name="connsiteY30" fmla="*/ 2220163 h 2267712"/>
                                      <a:gd name="connsiteX31" fmla="*/ 267563 w 2049127"/>
                                      <a:gd name="connsiteY31" fmla="*/ 2227479 h 2267712"/>
                                      <a:gd name="connsiteX32" fmla="*/ 245618 w 2049127"/>
                                      <a:gd name="connsiteY32" fmla="*/ 2242109 h 2267712"/>
                                      <a:gd name="connsiteX33" fmla="*/ 227330 w 2049127"/>
                                      <a:gd name="connsiteY33" fmla="*/ 2256739 h 2267712"/>
                                      <a:gd name="connsiteX34" fmla="*/ 216357 w 2049127"/>
                                      <a:gd name="connsiteY34" fmla="*/ 2260397 h 2267712"/>
                                      <a:gd name="connsiteX35" fmla="*/ 187096 w 2049127"/>
                                      <a:gd name="connsiteY35" fmla="*/ 2260397 h 2267712"/>
                                      <a:gd name="connsiteX36" fmla="*/ 165150 w 2049127"/>
                                      <a:gd name="connsiteY36" fmla="*/ 2267712 h 2267712"/>
                                      <a:gd name="connsiteX37" fmla="*/ 117602 w 2049127"/>
                                      <a:gd name="connsiteY37" fmla="*/ 2264055 h 2267712"/>
                                      <a:gd name="connsiteX38" fmla="*/ 110286 w 2049127"/>
                                      <a:gd name="connsiteY38" fmla="*/ 2256739 h 2267712"/>
                                      <a:gd name="connsiteX39" fmla="*/ 84683 w 2049127"/>
                                      <a:gd name="connsiteY39" fmla="*/ 2245767 h 2267712"/>
                                      <a:gd name="connsiteX40" fmla="*/ 77368 w 2049127"/>
                                      <a:gd name="connsiteY40" fmla="*/ 2223821 h 2267712"/>
                                      <a:gd name="connsiteX41" fmla="*/ 55422 w 2049127"/>
                                      <a:gd name="connsiteY41" fmla="*/ 2216506 h 2267712"/>
                                      <a:gd name="connsiteX42" fmla="*/ 37134 w 2049127"/>
                                      <a:gd name="connsiteY42" fmla="*/ 2198218 h 2267712"/>
                                      <a:gd name="connsiteX43" fmla="*/ 33477 w 2049127"/>
                                      <a:gd name="connsiteY43" fmla="*/ 2187245 h 2267712"/>
                                      <a:gd name="connsiteX44" fmla="*/ 29819 w 2049127"/>
                                      <a:gd name="connsiteY44" fmla="*/ 2168957 h 2267712"/>
                                      <a:gd name="connsiteX45" fmla="*/ 18846 w 2049127"/>
                                      <a:gd name="connsiteY45" fmla="*/ 2165299 h 2267712"/>
                                      <a:gd name="connsiteX46" fmla="*/ 15189 w 2049127"/>
                                      <a:gd name="connsiteY46" fmla="*/ 2154327 h 2267712"/>
                                      <a:gd name="connsiteX47" fmla="*/ 4216 w 2049127"/>
                                      <a:gd name="connsiteY47" fmla="*/ 2136039 h 2267712"/>
                                      <a:gd name="connsiteX48" fmla="*/ 7874 w 2049127"/>
                                      <a:gd name="connsiteY48" fmla="*/ 2106778 h 2267712"/>
                                      <a:gd name="connsiteX49" fmla="*/ 15189 w 2049127"/>
                                      <a:gd name="connsiteY49" fmla="*/ 2084832 h 2267712"/>
                                      <a:gd name="connsiteX50" fmla="*/ 37134 w 2049127"/>
                                      <a:gd name="connsiteY50" fmla="*/ 2092147 h 2267712"/>
                                      <a:gd name="connsiteX51" fmla="*/ 55422 w 2049127"/>
                                      <a:gd name="connsiteY51" fmla="*/ 2106778 h 2267712"/>
                                      <a:gd name="connsiteX52" fmla="*/ 66395 w 2049127"/>
                                      <a:gd name="connsiteY52" fmla="*/ 2103120 h 2267712"/>
                                      <a:gd name="connsiteX53" fmla="*/ 81026 w 2049127"/>
                                      <a:gd name="connsiteY53" fmla="*/ 2088490 h 2267712"/>
                                      <a:gd name="connsiteX54" fmla="*/ 66395 w 2049127"/>
                                      <a:gd name="connsiteY54" fmla="*/ 2073859 h 2267712"/>
                                      <a:gd name="connsiteX55" fmla="*/ 59080 w 2049127"/>
                                      <a:gd name="connsiteY55" fmla="*/ 2062887 h 2267712"/>
                                      <a:gd name="connsiteX56" fmla="*/ 70053 w 2049127"/>
                                      <a:gd name="connsiteY56" fmla="*/ 2059229 h 2267712"/>
                                      <a:gd name="connsiteX57" fmla="*/ 77368 w 2049127"/>
                                      <a:gd name="connsiteY57" fmla="*/ 2015338 h 2267712"/>
                                      <a:gd name="connsiteX58" fmla="*/ 81026 w 2049127"/>
                                      <a:gd name="connsiteY58" fmla="*/ 2004365 h 2267712"/>
                                      <a:gd name="connsiteX59" fmla="*/ 88341 w 2049127"/>
                                      <a:gd name="connsiteY59" fmla="*/ 1989735 h 2267712"/>
                                      <a:gd name="connsiteX60" fmla="*/ 84683 w 2049127"/>
                                      <a:gd name="connsiteY60" fmla="*/ 1978762 h 2267712"/>
                                      <a:gd name="connsiteX61" fmla="*/ 55422 w 2049127"/>
                                      <a:gd name="connsiteY61" fmla="*/ 1982419 h 2267712"/>
                                      <a:gd name="connsiteX62" fmla="*/ 40792 w 2049127"/>
                                      <a:gd name="connsiteY62" fmla="*/ 1986077 h 2267712"/>
                                      <a:gd name="connsiteX63" fmla="*/ 37134 w 2049127"/>
                                      <a:gd name="connsiteY63" fmla="*/ 1997050 h 2267712"/>
                                      <a:gd name="connsiteX64" fmla="*/ 26162 w 2049127"/>
                                      <a:gd name="connsiteY64" fmla="*/ 2004365 h 2267712"/>
                                      <a:gd name="connsiteX65" fmla="*/ 11531 w 2049127"/>
                                      <a:gd name="connsiteY65" fmla="*/ 1986077 h 2267712"/>
                                      <a:gd name="connsiteX66" fmla="*/ 7874 w 2049127"/>
                                      <a:gd name="connsiteY66" fmla="*/ 1975104 h 2267712"/>
                                      <a:gd name="connsiteX67" fmla="*/ 26162 w 2049127"/>
                                      <a:gd name="connsiteY67" fmla="*/ 1953159 h 2267712"/>
                                      <a:gd name="connsiteX68" fmla="*/ 62738 w 2049127"/>
                                      <a:gd name="connsiteY68" fmla="*/ 1949501 h 2267712"/>
                                      <a:gd name="connsiteX69" fmla="*/ 66395 w 2049127"/>
                                      <a:gd name="connsiteY69" fmla="*/ 1938528 h 2267712"/>
                                      <a:gd name="connsiteX70" fmla="*/ 70053 w 2049127"/>
                                      <a:gd name="connsiteY70" fmla="*/ 1920240 h 2267712"/>
                                      <a:gd name="connsiteX71" fmla="*/ 81026 w 2049127"/>
                                      <a:gd name="connsiteY71" fmla="*/ 1916583 h 2267712"/>
                                      <a:gd name="connsiteX72" fmla="*/ 88341 w 2049127"/>
                                      <a:gd name="connsiteY72" fmla="*/ 1909267 h 2267712"/>
                                      <a:gd name="connsiteX73" fmla="*/ 102971 w 2049127"/>
                                      <a:gd name="connsiteY73" fmla="*/ 1890979 h 2267712"/>
                                      <a:gd name="connsiteX74" fmla="*/ 106629 w 2049127"/>
                                      <a:gd name="connsiteY74" fmla="*/ 1880007 h 2267712"/>
                                      <a:gd name="connsiteX75" fmla="*/ 124917 w 2049127"/>
                                      <a:gd name="connsiteY75" fmla="*/ 1865376 h 2267712"/>
                                      <a:gd name="connsiteX76" fmla="*/ 132232 w 2049127"/>
                                      <a:gd name="connsiteY76" fmla="*/ 1876349 h 2267712"/>
                                      <a:gd name="connsiteX77" fmla="*/ 135890 w 2049127"/>
                                      <a:gd name="connsiteY77" fmla="*/ 1887322 h 2267712"/>
                                      <a:gd name="connsiteX78" fmla="*/ 143205 w 2049127"/>
                                      <a:gd name="connsiteY78" fmla="*/ 1876349 h 2267712"/>
                                      <a:gd name="connsiteX79" fmla="*/ 154178 w 2049127"/>
                                      <a:gd name="connsiteY79" fmla="*/ 1865376 h 2267712"/>
                                      <a:gd name="connsiteX80" fmla="*/ 161493 w 2049127"/>
                                      <a:gd name="connsiteY80" fmla="*/ 1854403 h 2267712"/>
                                      <a:gd name="connsiteX81" fmla="*/ 183438 w 2049127"/>
                                      <a:gd name="connsiteY81" fmla="*/ 1847088 h 2267712"/>
                                      <a:gd name="connsiteX82" fmla="*/ 194411 w 2049127"/>
                                      <a:gd name="connsiteY82" fmla="*/ 1828800 h 2267712"/>
                                      <a:gd name="connsiteX83" fmla="*/ 183438 w 2049127"/>
                                      <a:gd name="connsiteY83" fmla="*/ 1821485 h 2267712"/>
                                      <a:gd name="connsiteX84" fmla="*/ 150520 w 2049127"/>
                                      <a:gd name="connsiteY84" fmla="*/ 1814170 h 2267712"/>
                                      <a:gd name="connsiteX85" fmla="*/ 117602 w 2049127"/>
                                      <a:gd name="connsiteY85" fmla="*/ 1821485 h 2267712"/>
                                      <a:gd name="connsiteX86" fmla="*/ 106629 w 2049127"/>
                                      <a:gd name="connsiteY86" fmla="*/ 1828800 h 2267712"/>
                                      <a:gd name="connsiteX87" fmla="*/ 99314 w 2049127"/>
                                      <a:gd name="connsiteY87" fmla="*/ 1839773 h 2267712"/>
                                      <a:gd name="connsiteX88" fmla="*/ 77368 w 2049127"/>
                                      <a:gd name="connsiteY88" fmla="*/ 1847088 h 2267712"/>
                                      <a:gd name="connsiteX89" fmla="*/ 62738 w 2049127"/>
                                      <a:gd name="connsiteY89" fmla="*/ 1847088 h 2267712"/>
                                      <a:gd name="connsiteX90" fmla="*/ 62738 w 2049127"/>
                                      <a:gd name="connsiteY90" fmla="*/ 1847088 h 2267712"/>
                                      <a:gd name="connsiteX91" fmla="*/ 51765 w 2049127"/>
                                      <a:gd name="connsiteY91" fmla="*/ 1843431 h 2267712"/>
                                      <a:gd name="connsiteX92" fmla="*/ 40792 w 2049127"/>
                                      <a:gd name="connsiteY92" fmla="*/ 1847088 h 2267712"/>
                                      <a:gd name="connsiteX93" fmla="*/ 44450 w 2049127"/>
                                      <a:gd name="connsiteY93" fmla="*/ 1825143 h 2267712"/>
                                      <a:gd name="connsiteX94" fmla="*/ 73710 w 2049127"/>
                                      <a:gd name="connsiteY94" fmla="*/ 1821485 h 2267712"/>
                                      <a:gd name="connsiteX95" fmla="*/ 77368 w 2049127"/>
                                      <a:gd name="connsiteY95" fmla="*/ 1810512 h 2267712"/>
                                      <a:gd name="connsiteX96" fmla="*/ 84683 w 2049127"/>
                                      <a:gd name="connsiteY96" fmla="*/ 1799539 h 2267712"/>
                                      <a:gd name="connsiteX97" fmla="*/ 81026 w 2049127"/>
                                      <a:gd name="connsiteY97" fmla="*/ 1770279 h 2267712"/>
                                      <a:gd name="connsiteX98" fmla="*/ 55422 w 2049127"/>
                                      <a:gd name="connsiteY98" fmla="*/ 1773936 h 2267712"/>
                                      <a:gd name="connsiteX99" fmla="*/ 44450 w 2049127"/>
                                      <a:gd name="connsiteY99" fmla="*/ 1777594 h 2267712"/>
                                      <a:gd name="connsiteX100" fmla="*/ 40792 w 2049127"/>
                                      <a:gd name="connsiteY100" fmla="*/ 1766621 h 2267712"/>
                                      <a:gd name="connsiteX101" fmla="*/ 62738 w 2049127"/>
                                      <a:gd name="connsiteY101" fmla="*/ 1759306 h 2267712"/>
                                      <a:gd name="connsiteX102" fmla="*/ 73710 w 2049127"/>
                                      <a:gd name="connsiteY102" fmla="*/ 1755648 h 2267712"/>
                                      <a:gd name="connsiteX103" fmla="*/ 81026 w 2049127"/>
                                      <a:gd name="connsiteY103" fmla="*/ 1748333 h 2267712"/>
                                      <a:gd name="connsiteX104" fmla="*/ 84683 w 2049127"/>
                                      <a:gd name="connsiteY104" fmla="*/ 1737360 h 2267712"/>
                                      <a:gd name="connsiteX105" fmla="*/ 55422 w 2049127"/>
                                      <a:gd name="connsiteY105" fmla="*/ 1726387 h 2267712"/>
                                      <a:gd name="connsiteX106" fmla="*/ 55422 w 2049127"/>
                                      <a:gd name="connsiteY106" fmla="*/ 1704442 h 2267712"/>
                                      <a:gd name="connsiteX107" fmla="*/ 70053 w 2049127"/>
                                      <a:gd name="connsiteY107" fmla="*/ 1711757 h 2267712"/>
                                      <a:gd name="connsiteX108" fmla="*/ 99314 w 2049127"/>
                                      <a:gd name="connsiteY108" fmla="*/ 1711757 h 2267712"/>
                                      <a:gd name="connsiteX109" fmla="*/ 157835 w 2049127"/>
                                      <a:gd name="connsiteY109" fmla="*/ 1719072 h 2267712"/>
                                      <a:gd name="connsiteX110" fmla="*/ 179781 w 2049127"/>
                                      <a:gd name="connsiteY110" fmla="*/ 1726387 h 2267712"/>
                                      <a:gd name="connsiteX111" fmla="*/ 190754 w 2049127"/>
                                      <a:gd name="connsiteY111" fmla="*/ 1730045 h 2267712"/>
                                      <a:gd name="connsiteX112" fmla="*/ 209042 w 2049127"/>
                                      <a:gd name="connsiteY112" fmla="*/ 1755648 h 2267712"/>
                                      <a:gd name="connsiteX113" fmla="*/ 220014 w 2049127"/>
                                      <a:gd name="connsiteY113" fmla="*/ 1751991 h 2267712"/>
                                      <a:gd name="connsiteX114" fmla="*/ 223672 w 2049127"/>
                                      <a:gd name="connsiteY114" fmla="*/ 1741018 h 2267712"/>
                                      <a:gd name="connsiteX115" fmla="*/ 238302 w 2049127"/>
                                      <a:gd name="connsiteY115" fmla="*/ 1737360 h 2267712"/>
                                      <a:gd name="connsiteX116" fmla="*/ 249275 w 2049127"/>
                                      <a:gd name="connsiteY116" fmla="*/ 1733703 h 2267712"/>
                                      <a:gd name="connsiteX117" fmla="*/ 267563 w 2049127"/>
                                      <a:gd name="connsiteY117" fmla="*/ 1708099 h 2267712"/>
                                      <a:gd name="connsiteX118" fmla="*/ 267563 w 2049127"/>
                                      <a:gd name="connsiteY118" fmla="*/ 1656893 h 2267712"/>
                                      <a:gd name="connsiteX119" fmla="*/ 238302 w 2049127"/>
                                      <a:gd name="connsiteY119" fmla="*/ 1664208 h 2267712"/>
                                      <a:gd name="connsiteX120" fmla="*/ 220014 w 2049127"/>
                                      <a:gd name="connsiteY120" fmla="*/ 1693469 h 2267712"/>
                                      <a:gd name="connsiteX121" fmla="*/ 212699 w 2049127"/>
                                      <a:gd name="connsiteY121" fmla="*/ 1682496 h 2267712"/>
                                      <a:gd name="connsiteX122" fmla="*/ 176123 w 2049127"/>
                                      <a:gd name="connsiteY122" fmla="*/ 1678839 h 2267712"/>
                                      <a:gd name="connsiteX123" fmla="*/ 146862 w 2049127"/>
                                      <a:gd name="connsiteY123" fmla="*/ 1675181 h 2267712"/>
                                      <a:gd name="connsiteX124" fmla="*/ 135890 w 2049127"/>
                                      <a:gd name="connsiteY124" fmla="*/ 1671523 h 2267712"/>
                                      <a:gd name="connsiteX125" fmla="*/ 88341 w 2049127"/>
                                      <a:gd name="connsiteY125" fmla="*/ 1678839 h 2267712"/>
                                      <a:gd name="connsiteX126" fmla="*/ 62738 w 2049127"/>
                                      <a:gd name="connsiteY126" fmla="*/ 1675181 h 2267712"/>
                                      <a:gd name="connsiteX127" fmla="*/ 73710 w 2049127"/>
                                      <a:gd name="connsiteY127" fmla="*/ 1667866 h 2267712"/>
                                      <a:gd name="connsiteX128" fmla="*/ 113944 w 2049127"/>
                                      <a:gd name="connsiteY128" fmla="*/ 1664208 h 2267712"/>
                                      <a:gd name="connsiteX129" fmla="*/ 106629 w 2049127"/>
                                      <a:gd name="connsiteY129" fmla="*/ 1653235 h 2267712"/>
                                      <a:gd name="connsiteX130" fmla="*/ 84683 w 2049127"/>
                                      <a:gd name="connsiteY130" fmla="*/ 1645920 h 2267712"/>
                                      <a:gd name="connsiteX131" fmla="*/ 77368 w 2049127"/>
                                      <a:gd name="connsiteY131" fmla="*/ 1634947 h 2267712"/>
                                      <a:gd name="connsiteX132" fmla="*/ 91998 w 2049127"/>
                                      <a:gd name="connsiteY132" fmla="*/ 1638605 h 2267712"/>
                                      <a:gd name="connsiteX133" fmla="*/ 113944 w 2049127"/>
                                      <a:gd name="connsiteY133" fmla="*/ 1649578 h 2267712"/>
                                      <a:gd name="connsiteX134" fmla="*/ 128574 w 2049127"/>
                                      <a:gd name="connsiteY134" fmla="*/ 1653235 h 2267712"/>
                                      <a:gd name="connsiteX135" fmla="*/ 135890 w 2049127"/>
                                      <a:gd name="connsiteY135" fmla="*/ 1645920 h 2267712"/>
                                      <a:gd name="connsiteX136" fmla="*/ 128574 w 2049127"/>
                                      <a:gd name="connsiteY136" fmla="*/ 1634947 h 2267712"/>
                                      <a:gd name="connsiteX137" fmla="*/ 117602 w 2049127"/>
                                      <a:gd name="connsiteY137" fmla="*/ 1627632 h 2267712"/>
                                      <a:gd name="connsiteX138" fmla="*/ 99314 w 2049127"/>
                                      <a:gd name="connsiteY138" fmla="*/ 1616659 h 2267712"/>
                                      <a:gd name="connsiteX139" fmla="*/ 95656 w 2049127"/>
                                      <a:gd name="connsiteY139" fmla="*/ 1605687 h 2267712"/>
                                      <a:gd name="connsiteX140" fmla="*/ 88341 w 2049127"/>
                                      <a:gd name="connsiteY140" fmla="*/ 1598371 h 2267712"/>
                                      <a:gd name="connsiteX141" fmla="*/ 81026 w 2049127"/>
                                      <a:gd name="connsiteY141" fmla="*/ 1587399 h 2267712"/>
                                      <a:gd name="connsiteX142" fmla="*/ 88341 w 2049127"/>
                                      <a:gd name="connsiteY142" fmla="*/ 1580083 h 2267712"/>
                                      <a:gd name="connsiteX143" fmla="*/ 157835 w 2049127"/>
                                      <a:gd name="connsiteY143" fmla="*/ 1580083 h 2267712"/>
                                      <a:gd name="connsiteX144" fmla="*/ 172466 w 2049127"/>
                                      <a:gd name="connsiteY144" fmla="*/ 1583741 h 2267712"/>
                                      <a:gd name="connsiteX145" fmla="*/ 198069 w 2049127"/>
                                      <a:gd name="connsiteY145" fmla="*/ 1587399 h 2267712"/>
                                      <a:gd name="connsiteX146" fmla="*/ 220014 w 2049127"/>
                                      <a:gd name="connsiteY146" fmla="*/ 1561795 h 2267712"/>
                                      <a:gd name="connsiteX147" fmla="*/ 172466 w 2049127"/>
                                      <a:gd name="connsiteY147" fmla="*/ 1558138 h 2267712"/>
                                      <a:gd name="connsiteX148" fmla="*/ 165150 w 2049127"/>
                                      <a:gd name="connsiteY148" fmla="*/ 1550823 h 2267712"/>
                                      <a:gd name="connsiteX149" fmla="*/ 154178 w 2049127"/>
                                      <a:gd name="connsiteY149" fmla="*/ 1543507 h 2267712"/>
                                      <a:gd name="connsiteX150" fmla="*/ 110286 w 2049127"/>
                                      <a:gd name="connsiteY150" fmla="*/ 1536192 h 2267712"/>
                                      <a:gd name="connsiteX151" fmla="*/ 124917 w 2049127"/>
                                      <a:gd name="connsiteY151" fmla="*/ 1521562 h 2267712"/>
                                      <a:gd name="connsiteX152" fmla="*/ 139547 w 2049127"/>
                                      <a:gd name="connsiteY152" fmla="*/ 1517904 h 2267712"/>
                                      <a:gd name="connsiteX153" fmla="*/ 165150 w 2049127"/>
                                      <a:gd name="connsiteY153" fmla="*/ 1514247 h 2267712"/>
                                      <a:gd name="connsiteX154" fmla="*/ 176123 w 2049127"/>
                                      <a:gd name="connsiteY154" fmla="*/ 1510589 h 2267712"/>
                                      <a:gd name="connsiteX155" fmla="*/ 179781 w 2049127"/>
                                      <a:gd name="connsiteY155" fmla="*/ 1495959 h 2267712"/>
                                      <a:gd name="connsiteX156" fmla="*/ 183438 w 2049127"/>
                                      <a:gd name="connsiteY156" fmla="*/ 1484986 h 2267712"/>
                                      <a:gd name="connsiteX157" fmla="*/ 201726 w 2049127"/>
                                      <a:gd name="connsiteY157" fmla="*/ 1488643 h 2267712"/>
                                      <a:gd name="connsiteX158" fmla="*/ 216357 w 2049127"/>
                                      <a:gd name="connsiteY158" fmla="*/ 1510589 h 2267712"/>
                                      <a:gd name="connsiteX159" fmla="*/ 223672 w 2049127"/>
                                      <a:gd name="connsiteY159" fmla="*/ 1499616 h 2267712"/>
                                      <a:gd name="connsiteX160" fmla="*/ 241960 w 2049127"/>
                                      <a:gd name="connsiteY160" fmla="*/ 1499616 h 2267712"/>
                                      <a:gd name="connsiteX161" fmla="*/ 249275 w 2049127"/>
                                      <a:gd name="connsiteY161" fmla="*/ 1539850 h 2267712"/>
                                      <a:gd name="connsiteX162" fmla="*/ 263906 w 2049127"/>
                                      <a:gd name="connsiteY162" fmla="*/ 1536192 h 2267712"/>
                                      <a:gd name="connsiteX163" fmla="*/ 267563 w 2049127"/>
                                      <a:gd name="connsiteY163" fmla="*/ 1525219 h 2267712"/>
                                      <a:gd name="connsiteX164" fmla="*/ 289509 w 2049127"/>
                                      <a:gd name="connsiteY164" fmla="*/ 1517904 h 2267712"/>
                                      <a:gd name="connsiteX165" fmla="*/ 282194 w 2049127"/>
                                      <a:gd name="connsiteY165" fmla="*/ 1503274 h 2267712"/>
                                      <a:gd name="connsiteX166" fmla="*/ 267563 w 2049127"/>
                                      <a:gd name="connsiteY166" fmla="*/ 1488643 h 2267712"/>
                                      <a:gd name="connsiteX167" fmla="*/ 263906 w 2049127"/>
                                      <a:gd name="connsiteY167" fmla="*/ 1477671 h 2267712"/>
                                      <a:gd name="connsiteX168" fmla="*/ 252933 w 2049127"/>
                                      <a:gd name="connsiteY168" fmla="*/ 1474013 h 2267712"/>
                                      <a:gd name="connsiteX169" fmla="*/ 230987 w 2049127"/>
                                      <a:gd name="connsiteY169" fmla="*/ 1463040 h 2267712"/>
                                      <a:gd name="connsiteX170" fmla="*/ 227330 w 2049127"/>
                                      <a:gd name="connsiteY170" fmla="*/ 1452067 h 2267712"/>
                                      <a:gd name="connsiteX171" fmla="*/ 238302 w 2049127"/>
                                      <a:gd name="connsiteY171" fmla="*/ 1455725 h 2267712"/>
                                      <a:gd name="connsiteX172" fmla="*/ 267563 w 2049127"/>
                                      <a:gd name="connsiteY172" fmla="*/ 1459383 h 2267712"/>
                                      <a:gd name="connsiteX173" fmla="*/ 293166 w 2049127"/>
                                      <a:gd name="connsiteY173" fmla="*/ 1466698 h 2267712"/>
                                      <a:gd name="connsiteX174" fmla="*/ 311454 w 2049127"/>
                                      <a:gd name="connsiteY174" fmla="*/ 1481328 h 2267712"/>
                                      <a:gd name="connsiteX175" fmla="*/ 318770 w 2049127"/>
                                      <a:gd name="connsiteY175" fmla="*/ 1474013 h 2267712"/>
                                      <a:gd name="connsiteX176" fmla="*/ 329742 w 2049127"/>
                                      <a:gd name="connsiteY176" fmla="*/ 1470355 h 2267712"/>
                                      <a:gd name="connsiteX177" fmla="*/ 348030 w 2049127"/>
                                      <a:gd name="connsiteY177" fmla="*/ 1459383 h 2267712"/>
                                      <a:gd name="connsiteX178" fmla="*/ 355346 w 2049127"/>
                                      <a:gd name="connsiteY178" fmla="*/ 1452067 h 2267712"/>
                                      <a:gd name="connsiteX179" fmla="*/ 359003 w 2049127"/>
                                      <a:gd name="connsiteY179" fmla="*/ 1441095 h 2267712"/>
                                      <a:gd name="connsiteX180" fmla="*/ 333400 w 2049127"/>
                                      <a:gd name="connsiteY180" fmla="*/ 1430122 h 2267712"/>
                                      <a:gd name="connsiteX181" fmla="*/ 322427 w 2049127"/>
                                      <a:gd name="connsiteY181" fmla="*/ 1422807 h 2267712"/>
                                      <a:gd name="connsiteX182" fmla="*/ 307797 w 2049127"/>
                                      <a:gd name="connsiteY182" fmla="*/ 1419149 h 2267712"/>
                                      <a:gd name="connsiteX183" fmla="*/ 304139 w 2049127"/>
                                      <a:gd name="connsiteY183" fmla="*/ 1408176 h 2267712"/>
                                      <a:gd name="connsiteX184" fmla="*/ 293166 w 2049127"/>
                                      <a:gd name="connsiteY184" fmla="*/ 1404519 h 2267712"/>
                                      <a:gd name="connsiteX185" fmla="*/ 285851 w 2049127"/>
                                      <a:gd name="connsiteY185" fmla="*/ 1397203 h 2267712"/>
                                      <a:gd name="connsiteX186" fmla="*/ 296824 w 2049127"/>
                                      <a:gd name="connsiteY186" fmla="*/ 1393546 h 2267712"/>
                                      <a:gd name="connsiteX187" fmla="*/ 329742 w 2049127"/>
                                      <a:gd name="connsiteY187" fmla="*/ 1415491 h 2267712"/>
                                      <a:gd name="connsiteX188" fmla="*/ 340715 w 2049127"/>
                                      <a:gd name="connsiteY188" fmla="*/ 1422807 h 2267712"/>
                                      <a:gd name="connsiteX189" fmla="*/ 362661 w 2049127"/>
                                      <a:gd name="connsiteY189" fmla="*/ 1430122 h 2267712"/>
                                      <a:gd name="connsiteX190" fmla="*/ 373634 w 2049127"/>
                                      <a:gd name="connsiteY190" fmla="*/ 1433779 h 2267712"/>
                                      <a:gd name="connsiteX191" fmla="*/ 388264 w 2049127"/>
                                      <a:gd name="connsiteY191" fmla="*/ 1433779 h 2267712"/>
                                      <a:gd name="connsiteX192" fmla="*/ 377291 w 2049127"/>
                                      <a:gd name="connsiteY192" fmla="*/ 1415491 h 2267712"/>
                                      <a:gd name="connsiteX193" fmla="*/ 369976 w 2049127"/>
                                      <a:gd name="connsiteY193" fmla="*/ 1393546 h 2267712"/>
                                      <a:gd name="connsiteX194" fmla="*/ 373634 w 2049127"/>
                                      <a:gd name="connsiteY194" fmla="*/ 1404519 h 2267712"/>
                                      <a:gd name="connsiteX195" fmla="*/ 388264 w 2049127"/>
                                      <a:gd name="connsiteY195" fmla="*/ 1441095 h 2267712"/>
                                      <a:gd name="connsiteX196" fmla="*/ 402894 w 2049127"/>
                                      <a:gd name="connsiteY196" fmla="*/ 1419149 h 2267712"/>
                                      <a:gd name="connsiteX197" fmla="*/ 417525 w 2049127"/>
                                      <a:gd name="connsiteY197" fmla="*/ 1382573 h 2267712"/>
                                      <a:gd name="connsiteX198" fmla="*/ 424840 w 2049127"/>
                                      <a:gd name="connsiteY198" fmla="*/ 1360627 h 2267712"/>
                                      <a:gd name="connsiteX199" fmla="*/ 435813 w 2049127"/>
                                      <a:gd name="connsiteY199" fmla="*/ 1353312 h 2267712"/>
                                      <a:gd name="connsiteX200" fmla="*/ 479704 w 2049127"/>
                                      <a:gd name="connsiteY200" fmla="*/ 1349655 h 2267712"/>
                                      <a:gd name="connsiteX201" fmla="*/ 501650 w 2049127"/>
                                      <a:gd name="connsiteY201" fmla="*/ 1316736 h 2267712"/>
                                      <a:gd name="connsiteX202" fmla="*/ 519938 w 2049127"/>
                                      <a:gd name="connsiteY202" fmla="*/ 1316736 h 2267712"/>
                                      <a:gd name="connsiteX203" fmla="*/ 527253 w 2049127"/>
                                      <a:gd name="connsiteY203" fmla="*/ 1349655 h 2267712"/>
                                      <a:gd name="connsiteX204" fmla="*/ 530910 w 2049127"/>
                                      <a:gd name="connsiteY204" fmla="*/ 1360627 h 2267712"/>
                                      <a:gd name="connsiteX205" fmla="*/ 545541 w 2049127"/>
                                      <a:gd name="connsiteY205" fmla="*/ 1364285 h 2267712"/>
                                      <a:gd name="connsiteX206" fmla="*/ 549198 w 2049127"/>
                                      <a:gd name="connsiteY206" fmla="*/ 1375258 h 2267712"/>
                                      <a:gd name="connsiteX207" fmla="*/ 563829 w 2049127"/>
                                      <a:gd name="connsiteY207" fmla="*/ 1367943 h 2267712"/>
                                      <a:gd name="connsiteX208" fmla="*/ 571144 w 2049127"/>
                                      <a:gd name="connsiteY208" fmla="*/ 1360627 h 2267712"/>
                                      <a:gd name="connsiteX209" fmla="*/ 604062 w 2049127"/>
                                      <a:gd name="connsiteY209" fmla="*/ 1356970 h 2267712"/>
                                      <a:gd name="connsiteX210" fmla="*/ 618693 w 2049127"/>
                                      <a:gd name="connsiteY210" fmla="*/ 1342339 h 2267712"/>
                                      <a:gd name="connsiteX211" fmla="*/ 622350 w 2049127"/>
                                      <a:gd name="connsiteY211" fmla="*/ 1331367 h 2267712"/>
                                      <a:gd name="connsiteX212" fmla="*/ 633323 w 2049127"/>
                                      <a:gd name="connsiteY212" fmla="*/ 1327709 h 2267712"/>
                                      <a:gd name="connsiteX213" fmla="*/ 655269 w 2049127"/>
                                      <a:gd name="connsiteY213" fmla="*/ 1316736 h 2267712"/>
                                      <a:gd name="connsiteX214" fmla="*/ 662584 w 2049127"/>
                                      <a:gd name="connsiteY214" fmla="*/ 1305763 h 2267712"/>
                                      <a:gd name="connsiteX215" fmla="*/ 669899 w 2049127"/>
                                      <a:gd name="connsiteY215" fmla="*/ 1283818 h 2267712"/>
                                      <a:gd name="connsiteX216" fmla="*/ 662584 w 2049127"/>
                                      <a:gd name="connsiteY216" fmla="*/ 1272845 h 2267712"/>
                                      <a:gd name="connsiteX217" fmla="*/ 673557 w 2049127"/>
                                      <a:gd name="connsiteY217" fmla="*/ 1261872 h 2267712"/>
                                      <a:gd name="connsiteX218" fmla="*/ 677214 w 2049127"/>
                                      <a:gd name="connsiteY218" fmla="*/ 1250899 h 2267712"/>
                                      <a:gd name="connsiteX219" fmla="*/ 673557 w 2049127"/>
                                      <a:gd name="connsiteY219" fmla="*/ 1239927 h 2267712"/>
                                      <a:gd name="connsiteX220" fmla="*/ 633323 w 2049127"/>
                                      <a:gd name="connsiteY220" fmla="*/ 1254557 h 2267712"/>
                                      <a:gd name="connsiteX221" fmla="*/ 611378 w 2049127"/>
                                      <a:gd name="connsiteY221" fmla="*/ 1269187 h 2267712"/>
                                      <a:gd name="connsiteX222" fmla="*/ 629666 w 2049127"/>
                                      <a:gd name="connsiteY222" fmla="*/ 1283818 h 2267712"/>
                                      <a:gd name="connsiteX223" fmla="*/ 604062 w 2049127"/>
                                      <a:gd name="connsiteY223" fmla="*/ 1298448 h 2267712"/>
                                      <a:gd name="connsiteX224" fmla="*/ 574802 w 2049127"/>
                                      <a:gd name="connsiteY224" fmla="*/ 1309421 h 2267712"/>
                                      <a:gd name="connsiteX225" fmla="*/ 563829 w 2049127"/>
                                      <a:gd name="connsiteY225" fmla="*/ 1313079 h 2267712"/>
                                      <a:gd name="connsiteX226" fmla="*/ 556514 w 2049127"/>
                                      <a:gd name="connsiteY226" fmla="*/ 1305763 h 2267712"/>
                                      <a:gd name="connsiteX227" fmla="*/ 560171 w 2049127"/>
                                      <a:gd name="connsiteY227" fmla="*/ 1294791 h 2267712"/>
                                      <a:gd name="connsiteX228" fmla="*/ 549198 w 2049127"/>
                                      <a:gd name="connsiteY228" fmla="*/ 1291133 h 2267712"/>
                                      <a:gd name="connsiteX229" fmla="*/ 534568 w 2049127"/>
                                      <a:gd name="connsiteY229" fmla="*/ 1287475 h 2267712"/>
                                      <a:gd name="connsiteX230" fmla="*/ 541883 w 2049127"/>
                                      <a:gd name="connsiteY230" fmla="*/ 1276503 h 2267712"/>
                                      <a:gd name="connsiteX231" fmla="*/ 563829 w 2049127"/>
                                      <a:gd name="connsiteY231" fmla="*/ 1269187 h 2267712"/>
                                      <a:gd name="connsiteX232" fmla="*/ 567486 w 2049127"/>
                                      <a:gd name="connsiteY232" fmla="*/ 1250899 h 2267712"/>
                                      <a:gd name="connsiteX233" fmla="*/ 574802 w 2049127"/>
                                      <a:gd name="connsiteY233" fmla="*/ 1243584 h 2267712"/>
                                      <a:gd name="connsiteX234" fmla="*/ 582117 w 2049127"/>
                                      <a:gd name="connsiteY234" fmla="*/ 1232611 h 2267712"/>
                                      <a:gd name="connsiteX235" fmla="*/ 596747 w 2049127"/>
                                      <a:gd name="connsiteY235" fmla="*/ 1214323 h 2267712"/>
                                      <a:gd name="connsiteX236" fmla="*/ 600405 w 2049127"/>
                                      <a:gd name="connsiteY236" fmla="*/ 1203351 h 2267712"/>
                                      <a:gd name="connsiteX237" fmla="*/ 607720 w 2049127"/>
                                      <a:gd name="connsiteY237" fmla="*/ 1196035 h 2267712"/>
                                      <a:gd name="connsiteX238" fmla="*/ 626008 w 2049127"/>
                                      <a:gd name="connsiteY238" fmla="*/ 1181405 h 2267712"/>
                                      <a:gd name="connsiteX239" fmla="*/ 640638 w 2049127"/>
                                      <a:gd name="connsiteY239" fmla="*/ 1159459 h 2267712"/>
                                      <a:gd name="connsiteX240" fmla="*/ 651611 w 2049127"/>
                                      <a:gd name="connsiteY240" fmla="*/ 1163117 h 2267712"/>
                                      <a:gd name="connsiteX241" fmla="*/ 655269 w 2049127"/>
                                      <a:gd name="connsiteY241" fmla="*/ 1174090 h 2267712"/>
                                      <a:gd name="connsiteX242" fmla="*/ 658926 w 2049127"/>
                                      <a:gd name="connsiteY242" fmla="*/ 1196035 h 2267712"/>
                                      <a:gd name="connsiteX243" fmla="*/ 669899 w 2049127"/>
                                      <a:gd name="connsiteY243" fmla="*/ 1199693 h 2267712"/>
                                      <a:gd name="connsiteX244" fmla="*/ 691845 w 2049127"/>
                                      <a:gd name="connsiteY244" fmla="*/ 1185063 h 2267712"/>
                                      <a:gd name="connsiteX245" fmla="*/ 702818 w 2049127"/>
                                      <a:gd name="connsiteY245" fmla="*/ 1177747 h 2267712"/>
                                      <a:gd name="connsiteX246" fmla="*/ 713790 w 2049127"/>
                                      <a:gd name="connsiteY246" fmla="*/ 1170432 h 2267712"/>
                                      <a:gd name="connsiteX247" fmla="*/ 721106 w 2049127"/>
                                      <a:gd name="connsiteY247" fmla="*/ 1163117 h 2267712"/>
                                      <a:gd name="connsiteX248" fmla="*/ 713790 w 2049127"/>
                                      <a:gd name="connsiteY248" fmla="*/ 1155802 h 2267712"/>
                                      <a:gd name="connsiteX249" fmla="*/ 713790 w 2049127"/>
                                      <a:gd name="connsiteY249" fmla="*/ 1126541 h 2267712"/>
                                      <a:gd name="connsiteX250" fmla="*/ 721106 w 2049127"/>
                                      <a:gd name="connsiteY250" fmla="*/ 1119226 h 2267712"/>
                                      <a:gd name="connsiteX251" fmla="*/ 743051 w 2049127"/>
                                      <a:gd name="connsiteY251" fmla="*/ 1093623 h 2267712"/>
                                      <a:gd name="connsiteX252" fmla="*/ 688187 w 2049127"/>
                                      <a:gd name="connsiteY252" fmla="*/ 1097280 h 2267712"/>
                                      <a:gd name="connsiteX253" fmla="*/ 710133 w 2049127"/>
                                      <a:gd name="connsiteY253" fmla="*/ 1093623 h 2267712"/>
                                      <a:gd name="connsiteX254" fmla="*/ 717448 w 2049127"/>
                                      <a:gd name="connsiteY254" fmla="*/ 1086307 h 2267712"/>
                                      <a:gd name="connsiteX255" fmla="*/ 739394 w 2049127"/>
                                      <a:gd name="connsiteY255" fmla="*/ 1075335 h 2267712"/>
                                      <a:gd name="connsiteX256" fmla="*/ 750366 w 2049127"/>
                                      <a:gd name="connsiteY256" fmla="*/ 1078992 h 2267712"/>
                                      <a:gd name="connsiteX257" fmla="*/ 764997 w 2049127"/>
                                      <a:gd name="connsiteY257" fmla="*/ 1075335 h 2267712"/>
                                      <a:gd name="connsiteX258" fmla="*/ 775970 w 2049127"/>
                                      <a:gd name="connsiteY258" fmla="*/ 1071677 h 2267712"/>
                                      <a:gd name="connsiteX259" fmla="*/ 794258 w 2049127"/>
                                      <a:gd name="connsiteY259" fmla="*/ 1057047 h 2267712"/>
                                      <a:gd name="connsiteX260" fmla="*/ 775970 w 2049127"/>
                                      <a:gd name="connsiteY260" fmla="*/ 1042416 h 2267712"/>
                                      <a:gd name="connsiteX261" fmla="*/ 779627 w 2049127"/>
                                      <a:gd name="connsiteY261" fmla="*/ 1024128 h 2267712"/>
                                      <a:gd name="connsiteX262" fmla="*/ 786942 w 2049127"/>
                                      <a:gd name="connsiteY262" fmla="*/ 1013155 h 2267712"/>
                                      <a:gd name="connsiteX263" fmla="*/ 805230 w 2049127"/>
                                      <a:gd name="connsiteY263" fmla="*/ 998525 h 2267712"/>
                                      <a:gd name="connsiteX264" fmla="*/ 808888 w 2049127"/>
                                      <a:gd name="connsiteY264" fmla="*/ 987552 h 2267712"/>
                                      <a:gd name="connsiteX265" fmla="*/ 797915 w 2049127"/>
                                      <a:gd name="connsiteY265" fmla="*/ 980237 h 2267712"/>
                                      <a:gd name="connsiteX266" fmla="*/ 812546 w 2049127"/>
                                      <a:gd name="connsiteY266" fmla="*/ 954634 h 2267712"/>
                                      <a:gd name="connsiteX267" fmla="*/ 819861 w 2049127"/>
                                      <a:gd name="connsiteY267" fmla="*/ 943661 h 2267712"/>
                                      <a:gd name="connsiteX268" fmla="*/ 827176 w 2049127"/>
                                      <a:gd name="connsiteY268" fmla="*/ 918058 h 2267712"/>
                                      <a:gd name="connsiteX269" fmla="*/ 834491 w 2049127"/>
                                      <a:gd name="connsiteY269" fmla="*/ 907085 h 2267712"/>
                                      <a:gd name="connsiteX270" fmla="*/ 830834 w 2049127"/>
                                      <a:gd name="connsiteY270" fmla="*/ 896112 h 2267712"/>
                                      <a:gd name="connsiteX271" fmla="*/ 841806 w 2049127"/>
                                      <a:gd name="connsiteY271" fmla="*/ 892455 h 2267712"/>
                                      <a:gd name="connsiteX272" fmla="*/ 874725 w 2049127"/>
                                      <a:gd name="connsiteY272" fmla="*/ 896112 h 2267712"/>
                                      <a:gd name="connsiteX273" fmla="*/ 896670 w 2049127"/>
                                      <a:gd name="connsiteY273" fmla="*/ 892455 h 2267712"/>
                                      <a:gd name="connsiteX274" fmla="*/ 903986 w 2049127"/>
                                      <a:gd name="connsiteY274" fmla="*/ 885139 h 2267712"/>
                                      <a:gd name="connsiteX275" fmla="*/ 914958 w 2049127"/>
                                      <a:gd name="connsiteY275" fmla="*/ 877824 h 2267712"/>
                                      <a:gd name="connsiteX276" fmla="*/ 918616 w 2049127"/>
                                      <a:gd name="connsiteY276" fmla="*/ 866851 h 2267712"/>
                                      <a:gd name="connsiteX277" fmla="*/ 907643 w 2049127"/>
                                      <a:gd name="connsiteY277" fmla="*/ 863194 h 2267712"/>
                                      <a:gd name="connsiteX278" fmla="*/ 893013 w 2049127"/>
                                      <a:gd name="connsiteY278" fmla="*/ 859536 h 2267712"/>
                                      <a:gd name="connsiteX279" fmla="*/ 882040 w 2049127"/>
                                      <a:gd name="connsiteY279" fmla="*/ 852221 h 2267712"/>
                                      <a:gd name="connsiteX280" fmla="*/ 878382 w 2049127"/>
                                      <a:gd name="connsiteY280" fmla="*/ 841248 h 2267712"/>
                                      <a:gd name="connsiteX281" fmla="*/ 860094 w 2049127"/>
                                      <a:gd name="connsiteY281" fmla="*/ 837591 h 2267712"/>
                                      <a:gd name="connsiteX282" fmla="*/ 871067 w 2049127"/>
                                      <a:gd name="connsiteY282" fmla="*/ 833933 h 2267712"/>
                                      <a:gd name="connsiteX283" fmla="*/ 893013 w 2049127"/>
                                      <a:gd name="connsiteY283" fmla="*/ 822960 h 2267712"/>
                                      <a:gd name="connsiteX284" fmla="*/ 896670 w 2049127"/>
                                      <a:gd name="connsiteY284" fmla="*/ 804672 h 2267712"/>
                                      <a:gd name="connsiteX285" fmla="*/ 918616 w 2049127"/>
                                      <a:gd name="connsiteY285" fmla="*/ 775411 h 2267712"/>
                                      <a:gd name="connsiteX286" fmla="*/ 893013 w 2049127"/>
                                      <a:gd name="connsiteY286" fmla="*/ 749808 h 2267712"/>
                                      <a:gd name="connsiteX287" fmla="*/ 907643 w 2049127"/>
                                      <a:gd name="connsiteY287" fmla="*/ 735178 h 2267712"/>
                                      <a:gd name="connsiteX288" fmla="*/ 925931 w 2049127"/>
                                      <a:gd name="connsiteY288" fmla="*/ 731520 h 2267712"/>
                                      <a:gd name="connsiteX289" fmla="*/ 951534 w 2049127"/>
                                      <a:gd name="connsiteY289" fmla="*/ 724205 h 2267712"/>
                                      <a:gd name="connsiteX290" fmla="*/ 980795 w 2049127"/>
                                      <a:gd name="connsiteY290" fmla="*/ 727863 h 2267712"/>
                                      <a:gd name="connsiteX291" fmla="*/ 1002741 w 2049127"/>
                                      <a:gd name="connsiteY291" fmla="*/ 735178 h 2267712"/>
                                      <a:gd name="connsiteX292" fmla="*/ 1017371 w 2049127"/>
                                      <a:gd name="connsiteY292" fmla="*/ 731520 h 2267712"/>
                                      <a:gd name="connsiteX293" fmla="*/ 1039317 w 2049127"/>
                                      <a:gd name="connsiteY293" fmla="*/ 724205 h 2267712"/>
                                      <a:gd name="connsiteX294" fmla="*/ 1057605 w 2049127"/>
                                      <a:gd name="connsiteY294" fmla="*/ 702259 h 2267712"/>
                                      <a:gd name="connsiteX295" fmla="*/ 1032002 w 2049127"/>
                                      <a:gd name="connsiteY295" fmla="*/ 691287 h 2267712"/>
                                      <a:gd name="connsiteX296" fmla="*/ 999083 w 2049127"/>
                                      <a:gd name="connsiteY296" fmla="*/ 683971 h 2267712"/>
                                      <a:gd name="connsiteX297" fmla="*/ 988110 w 2049127"/>
                                      <a:gd name="connsiteY297" fmla="*/ 687629 h 2267712"/>
                                      <a:gd name="connsiteX298" fmla="*/ 984453 w 2049127"/>
                                      <a:gd name="connsiteY298" fmla="*/ 676656 h 2267712"/>
                                      <a:gd name="connsiteX299" fmla="*/ 988110 w 2049127"/>
                                      <a:gd name="connsiteY299" fmla="*/ 665683 h 2267712"/>
                                      <a:gd name="connsiteX300" fmla="*/ 999083 w 2049127"/>
                                      <a:gd name="connsiteY300" fmla="*/ 658368 h 2267712"/>
                                      <a:gd name="connsiteX301" fmla="*/ 1021029 w 2049127"/>
                                      <a:gd name="connsiteY301" fmla="*/ 669341 h 2267712"/>
                                      <a:gd name="connsiteX302" fmla="*/ 1050290 w 2049127"/>
                                      <a:gd name="connsiteY302" fmla="*/ 665683 h 2267712"/>
                                      <a:gd name="connsiteX303" fmla="*/ 1064920 w 2049127"/>
                                      <a:gd name="connsiteY303" fmla="*/ 632765 h 2267712"/>
                                      <a:gd name="connsiteX304" fmla="*/ 1068578 w 2049127"/>
                                      <a:gd name="connsiteY304" fmla="*/ 618135 h 2267712"/>
                                      <a:gd name="connsiteX305" fmla="*/ 1064920 w 2049127"/>
                                      <a:gd name="connsiteY305" fmla="*/ 603504 h 2267712"/>
                                      <a:gd name="connsiteX306" fmla="*/ 1032002 w 2049127"/>
                                      <a:gd name="connsiteY306" fmla="*/ 607162 h 2267712"/>
                                      <a:gd name="connsiteX307" fmla="*/ 1021029 w 2049127"/>
                                      <a:gd name="connsiteY307" fmla="*/ 610819 h 2267712"/>
                                      <a:gd name="connsiteX308" fmla="*/ 1039317 w 2049127"/>
                                      <a:gd name="connsiteY308" fmla="*/ 596189 h 2267712"/>
                                      <a:gd name="connsiteX309" fmla="*/ 1061262 w 2049127"/>
                                      <a:gd name="connsiteY309" fmla="*/ 581559 h 2267712"/>
                                      <a:gd name="connsiteX310" fmla="*/ 1079550 w 2049127"/>
                                      <a:gd name="connsiteY310" fmla="*/ 552298 h 2267712"/>
                                      <a:gd name="connsiteX311" fmla="*/ 1086866 w 2049127"/>
                                      <a:gd name="connsiteY311" fmla="*/ 544983 h 2267712"/>
                                      <a:gd name="connsiteX312" fmla="*/ 1097838 w 2049127"/>
                                      <a:gd name="connsiteY312" fmla="*/ 563271 h 2267712"/>
                                      <a:gd name="connsiteX313" fmla="*/ 1101496 w 2049127"/>
                                      <a:gd name="connsiteY313" fmla="*/ 552298 h 2267712"/>
                                      <a:gd name="connsiteX314" fmla="*/ 1105154 w 2049127"/>
                                      <a:gd name="connsiteY314" fmla="*/ 530352 h 2267712"/>
                                      <a:gd name="connsiteX315" fmla="*/ 1112469 w 2049127"/>
                                      <a:gd name="connsiteY315" fmla="*/ 519379 h 2267712"/>
                                      <a:gd name="connsiteX316" fmla="*/ 1127099 w 2049127"/>
                                      <a:gd name="connsiteY316" fmla="*/ 504749 h 2267712"/>
                                      <a:gd name="connsiteX317" fmla="*/ 1163675 w 2049127"/>
                                      <a:gd name="connsiteY317" fmla="*/ 508407 h 2267712"/>
                                      <a:gd name="connsiteX318" fmla="*/ 1174648 w 2049127"/>
                                      <a:gd name="connsiteY318" fmla="*/ 512064 h 2267712"/>
                                      <a:gd name="connsiteX319" fmla="*/ 1181963 w 2049127"/>
                                      <a:gd name="connsiteY319" fmla="*/ 523037 h 2267712"/>
                                      <a:gd name="connsiteX320" fmla="*/ 1192936 w 2049127"/>
                                      <a:gd name="connsiteY320" fmla="*/ 515722 h 2267712"/>
                                      <a:gd name="connsiteX321" fmla="*/ 1196594 w 2049127"/>
                                      <a:gd name="connsiteY321" fmla="*/ 504749 h 2267712"/>
                                      <a:gd name="connsiteX322" fmla="*/ 1203909 w 2049127"/>
                                      <a:gd name="connsiteY322" fmla="*/ 493776 h 2267712"/>
                                      <a:gd name="connsiteX323" fmla="*/ 1200251 w 2049127"/>
                                      <a:gd name="connsiteY323" fmla="*/ 482803 h 2267712"/>
                                      <a:gd name="connsiteX324" fmla="*/ 1178306 w 2049127"/>
                                      <a:gd name="connsiteY324" fmla="*/ 471831 h 2267712"/>
                                      <a:gd name="connsiteX325" fmla="*/ 1160018 w 2049127"/>
                                      <a:gd name="connsiteY325" fmla="*/ 475488 h 2267712"/>
                                      <a:gd name="connsiteX326" fmla="*/ 1149045 w 2049127"/>
                                      <a:gd name="connsiteY326" fmla="*/ 479146 h 2267712"/>
                                      <a:gd name="connsiteX327" fmla="*/ 1145387 w 2049127"/>
                                      <a:gd name="connsiteY327" fmla="*/ 468173 h 2267712"/>
                                      <a:gd name="connsiteX328" fmla="*/ 1156360 w 2049127"/>
                                      <a:gd name="connsiteY328" fmla="*/ 464515 h 2267712"/>
                                      <a:gd name="connsiteX329" fmla="*/ 1181963 w 2049127"/>
                                      <a:gd name="connsiteY329" fmla="*/ 457200 h 2267712"/>
                                      <a:gd name="connsiteX330" fmla="*/ 1189278 w 2049127"/>
                                      <a:gd name="connsiteY330" fmla="*/ 446227 h 2267712"/>
                                      <a:gd name="connsiteX331" fmla="*/ 1207566 w 2049127"/>
                                      <a:gd name="connsiteY331" fmla="*/ 431597 h 2267712"/>
                                      <a:gd name="connsiteX332" fmla="*/ 1203909 w 2049127"/>
                                      <a:gd name="connsiteY332" fmla="*/ 413309 h 2267712"/>
                                      <a:gd name="connsiteX333" fmla="*/ 1203909 w 2049127"/>
                                      <a:gd name="connsiteY333" fmla="*/ 391363 h 2267712"/>
                                      <a:gd name="connsiteX334" fmla="*/ 1214882 w 2049127"/>
                                      <a:gd name="connsiteY334" fmla="*/ 387706 h 2267712"/>
                                      <a:gd name="connsiteX335" fmla="*/ 1229512 w 2049127"/>
                                      <a:gd name="connsiteY335" fmla="*/ 365760 h 2267712"/>
                                      <a:gd name="connsiteX336" fmla="*/ 1244142 w 2049127"/>
                                      <a:gd name="connsiteY336" fmla="*/ 336499 h 2267712"/>
                                      <a:gd name="connsiteX337" fmla="*/ 1258773 w 2049127"/>
                                      <a:gd name="connsiteY337" fmla="*/ 340157 h 2267712"/>
                                      <a:gd name="connsiteX338" fmla="*/ 1269746 w 2049127"/>
                                      <a:gd name="connsiteY338" fmla="*/ 347472 h 2267712"/>
                                      <a:gd name="connsiteX339" fmla="*/ 1273403 w 2049127"/>
                                      <a:gd name="connsiteY339" fmla="*/ 336499 h 2267712"/>
                                      <a:gd name="connsiteX340" fmla="*/ 1269746 w 2049127"/>
                                      <a:gd name="connsiteY340" fmla="*/ 321869 h 2267712"/>
                                      <a:gd name="connsiteX341" fmla="*/ 1273403 w 2049127"/>
                                      <a:gd name="connsiteY341" fmla="*/ 310896 h 2267712"/>
                                      <a:gd name="connsiteX342" fmla="*/ 1280718 w 2049127"/>
                                      <a:gd name="connsiteY342" fmla="*/ 325527 h 2267712"/>
                                      <a:gd name="connsiteX343" fmla="*/ 1299006 w 2049127"/>
                                      <a:gd name="connsiteY343" fmla="*/ 343815 h 2267712"/>
                                      <a:gd name="connsiteX344" fmla="*/ 1306322 w 2049127"/>
                                      <a:gd name="connsiteY344" fmla="*/ 351130 h 2267712"/>
                                      <a:gd name="connsiteX345" fmla="*/ 1320952 w 2049127"/>
                                      <a:gd name="connsiteY345" fmla="*/ 347472 h 2267712"/>
                                      <a:gd name="connsiteX346" fmla="*/ 1324610 w 2049127"/>
                                      <a:gd name="connsiteY346" fmla="*/ 321869 h 2267712"/>
                                      <a:gd name="connsiteX347" fmla="*/ 1317294 w 2049127"/>
                                      <a:gd name="connsiteY347" fmla="*/ 314554 h 2267712"/>
                                      <a:gd name="connsiteX348" fmla="*/ 1309979 w 2049127"/>
                                      <a:gd name="connsiteY348" fmla="*/ 303581 h 2267712"/>
                                      <a:gd name="connsiteX349" fmla="*/ 1313637 w 2049127"/>
                                      <a:gd name="connsiteY349" fmla="*/ 292608 h 2267712"/>
                                      <a:gd name="connsiteX350" fmla="*/ 1306322 w 2049127"/>
                                      <a:gd name="connsiteY350" fmla="*/ 281635 h 2267712"/>
                                      <a:gd name="connsiteX351" fmla="*/ 1342898 w 2049127"/>
                                      <a:gd name="connsiteY351" fmla="*/ 303581 h 2267712"/>
                                      <a:gd name="connsiteX352" fmla="*/ 1353870 w 2049127"/>
                                      <a:gd name="connsiteY352" fmla="*/ 299923 h 2267712"/>
                                      <a:gd name="connsiteX353" fmla="*/ 1357528 w 2049127"/>
                                      <a:gd name="connsiteY353" fmla="*/ 288951 h 2267712"/>
                                      <a:gd name="connsiteX354" fmla="*/ 1364843 w 2049127"/>
                                      <a:gd name="connsiteY354" fmla="*/ 230429 h 2267712"/>
                                      <a:gd name="connsiteX355" fmla="*/ 1375816 w 2049127"/>
                                      <a:gd name="connsiteY355" fmla="*/ 223114 h 2267712"/>
                                      <a:gd name="connsiteX356" fmla="*/ 1379474 w 2049127"/>
                                      <a:gd name="connsiteY356" fmla="*/ 241402 h 2267712"/>
                                      <a:gd name="connsiteX357" fmla="*/ 1375816 w 2049127"/>
                                      <a:gd name="connsiteY357" fmla="*/ 274320 h 2267712"/>
                                      <a:gd name="connsiteX358" fmla="*/ 1372158 w 2049127"/>
                                      <a:gd name="connsiteY358" fmla="*/ 285293 h 2267712"/>
                                      <a:gd name="connsiteX359" fmla="*/ 1368501 w 2049127"/>
                                      <a:gd name="connsiteY359" fmla="*/ 299923 h 2267712"/>
                                      <a:gd name="connsiteX360" fmla="*/ 1364843 w 2049127"/>
                                      <a:gd name="connsiteY360" fmla="*/ 325527 h 2267712"/>
                                      <a:gd name="connsiteX361" fmla="*/ 1368501 w 2049127"/>
                                      <a:gd name="connsiteY361" fmla="*/ 354787 h 2267712"/>
                                      <a:gd name="connsiteX362" fmla="*/ 1394104 w 2049127"/>
                                      <a:gd name="connsiteY362" fmla="*/ 336499 h 2267712"/>
                                      <a:gd name="connsiteX363" fmla="*/ 1397762 w 2049127"/>
                                      <a:gd name="connsiteY363" fmla="*/ 314554 h 2267712"/>
                                      <a:gd name="connsiteX364" fmla="*/ 1405077 w 2049127"/>
                                      <a:gd name="connsiteY364" fmla="*/ 303581 h 2267712"/>
                                      <a:gd name="connsiteX365" fmla="*/ 1408734 w 2049127"/>
                                      <a:gd name="connsiteY365" fmla="*/ 292608 h 2267712"/>
                                      <a:gd name="connsiteX366" fmla="*/ 1405077 w 2049127"/>
                                      <a:gd name="connsiteY366" fmla="*/ 281635 h 2267712"/>
                                      <a:gd name="connsiteX367" fmla="*/ 1397762 w 2049127"/>
                                      <a:gd name="connsiteY367" fmla="*/ 270663 h 2267712"/>
                                      <a:gd name="connsiteX368" fmla="*/ 1419707 w 2049127"/>
                                      <a:gd name="connsiteY368" fmla="*/ 263347 h 2267712"/>
                                      <a:gd name="connsiteX369" fmla="*/ 1430680 w 2049127"/>
                                      <a:gd name="connsiteY369" fmla="*/ 252375 h 2267712"/>
                                      <a:gd name="connsiteX370" fmla="*/ 1434338 w 2049127"/>
                                      <a:gd name="connsiteY370" fmla="*/ 241402 h 2267712"/>
                                      <a:gd name="connsiteX371" fmla="*/ 1456283 w 2049127"/>
                                      <a:gd name="connsiteY371" fmla="*/ 230429 h 2267712"/>
                                      <a:gd name="connsiteX372" fmla="*/ 1467256 w 2049127"/>
                                      <a:gd name="connsiteY372" fmla="*/ 234087 h 2267712"/>
                                      <a:gd name="connsiteX373" fmla="*/ 1478229 w 2049127"/>
                                      <a:gd name="connsiteY373" fmla="*/ 241402 h 2267712"/>
                                      <a:gd name="connsiteX374" fmla="*/ 1481886 w 2049127"/>
                                      <a:gd name="connsiteY374" fmla="*/ 230429 h 2267712"/>
                                      <a:gd name="connsiteX375" fmla="*/ 1478229 w 2049127"/>
                                      <a:gd name="connsiteY375" fmla="*/ 208483 h 2267712"/>
                                      <a:gd name="connsiteX376" fmla="*/ 1456283 w 2049127"/>
                                      <a:gd name="connsiteY376" fmla="*/ 193853 h 2267712"/>
                                      <a:gd name="connsiteX377" fmla="*/ 1467256 w 2049127"/>
                                      <a:gd name="connsiteY377" fmla="*/ 190195 h 2267712"/>
                                      <a:gd name="connsiteX378" fmla="*/ 1481886 w 2049127"/>
                                      <a:gd name="connsiteY378" fmla="*/ 193853 h 2267712"/>
                                      <a:gd name="connsiteX379" fmla="*/ 1503832 w 2049127"/>
                                      <a:gd name="connsiteY379" fmla="*/ 186538 h 2267712"/>
                                      <a:gd name="connsiteX380" fmla="*/ 1514805 w 2049127"/>
                                      <a:gd name="connsiteY380" fmla="*/ 179223 h 2267712"/>
                                      <a:gd name="connsiteX381" fmla="*/ 1536750 w 2049127"/>
                                      <a:gd name="connsiteY381" fmla="*/ 182880 h 2267712"/>
                                      <a:gd name="connsiteX382" fmla="*/ 1558696 w 2049127"/>
                                      <a:gd name="connsiteY382" fmla="*/ 208483 h 2267712"/>
                                      <a:gd name="connsiteX383" fmla="*/ 1573326 w 2049127"/>
                                      <a:gd name="connsiteY383" fmla="*/ 164592 h 2267712"/>
                                      <a:gd name="connsiteX384" fmla="*/ 1591614 w 2049127"/>
                                      <a:gd name="connsiteY384" fmla="*/ 149962 h 2267712"/>
                                      <a:gd name="connsiteX385" fmla="*/ 1595272 w 2049127"/>
                                      <a:gd name="connsiteY385" fmla="*/ 138989 h 2267712"/>
                                      <a:gd name="connsiteX386" fmla="*/ 1613560 w 2049127"/>
                                      <a:gd name="connsiteY386" fmla="*/ 117043 h 2267712"/>
                                      <a:gd name="connsiteX387" fmla="*/ 1624533 w 2049127"/>
                                      <a:gd name="connsiteY387" fmla="*/ 113386 h 2267712"/>
                                      <a:gd name="connsiteX388" fmla="*/ 1653794 w 2049127"/>
                                      <a:gd name="connsiteY388" fmla="*/ 87783 h 2267712"/>
                                      <a:gd name="connsiteX389" fmla="*/ 1646478 w 2049127"/>
                                      <a:gd name="connsiteY389" fmla="*/ 58522 h 2267712"/>
                                      <a:gd name="connsiteX390" fmla="*/ 1657451 w 2049127"/>
                                      <a:gd name="connsiteY390" fmla="*/ 29261 h 2267712"/>
                                      <a:gd name="connsiteX391" fmla="*/ 1668424 w 2049127"/>
                                      <a:gd name="connsiteY391" fmla="*/ 36576 h 2267712"/>
                                      <a:gd name="connsiteX392" fmla="*/ 1701342 w 2049127"/>
                                      <a:gd name="connsiteY392" fmla="*/ 43891 h 2267712"/>
                                      <a:gd name="connsiteX393" fmla="*/ 1697685 w 2049127"/>
                                      <a:gd name="connsiteY393" fmla="*/ 54864 h 2267712"/>
                                      <a:gd name="connsiteX394" fmla="*/ 1686712 w 2049127"/>
                                      <a:gd name="connsiteY394" fmla="*/ 62179 h 2267712"/>
                                      <a:gd name="connsiteX395" fmla="*/ 1679397 w 2049127"/>
                                      <a:gd name="connsiteY395" fmla="*/ 84125 h 2267712"/>
                                      <a:gd name="connsiteX396" fmla="*/ 1675739 w 2049127"/>
                                      <a:gd name="connsiteY396" fmla="*/ 113386 h 2267712"/>
                                      <a:gd name="connsiteX397" fmla="*/ 1675739 w 2049127"/>
                                      <a:gd name="connsiteY397" fmla="*/ 164592 h 2267712"/>
                                      <a:gd name="connsiteX398" fmla="*/ 1686712 w 2049127"/>
                                      <a:gd name="connsiteY398" fmla="*/ 171907 h 2267712"/>
                                      <a:gd name="connsiteX399" fmla="*/ 1701342 w 2049127"/>
                                      <a:gd name="connsiteY399" fmla="*/ 138989 h 2267712"/>
                                      <a:gd name="connsiteX400" fmla="*/ 1705000 w 2049127"/>
                                      <a:gd name="connsiteY400" fmla="*/ 128016 h 2267712"/>
                                      <a:gd name="connsiteX401" fmla="*/ 1715973 w 2049127"/>
                                      <a:gd name="connsiteY401" fmla="*/ 120701 h 2267712"/>
                                      <a:gd name="connsiteX402" fmla="*/ 1730603 w 2049127"/>
                                      <a:gd name="connsiteY402" fmla="*/ 98755 h 2267712"/>
                                      <a:gd name="connsiteX403" fmla="*/ 1741576 w 2049127"/>
                                      <a:gd name="connsiteY403" fmla="*/ 62179 h 2267712"/>
                                      <a:gd name="connsiteX404" fmla="*/ 1756206 w 2049127"/>
                                      <a:gd name="connsiteY404" fmla="*/ 40234 h 2267712"/>
                                      <a:gd name="connsiteX405" fmla="*/ 1759864 w 2049127"/>
                                      <a:gd name="connsiteY405" fmla="*/ 51207 h 2267712"/>
                                      <a:gd name="connsiteX406" fmla="*/ 1752549 w 2049127"/>
                                      <a:gd name="connsiteY406" fmla="*/ 91440 h 2267712"/>
                                      <a:gd name="connsiteX407" fmla="*/ 1759864 w 2049127"/>
                                      <a:gd name="connsiteY407" fmla="*/ 102413 h 2267712"/>
                                      <a:gd name="connsiteX408" fmla="*/ 1763522 w 2049127"/>
                                      <a:gd name="connsiteY408" fmla="*/ 128016 h 2267712"/>
                                      <a:gd name="connsiteX409" fmla="*/ 1778152 w 2049127"/>
                                      <a:gd name="connsiteY409" fmla="*/ 120701 h 2267712"/>
                                      <a:gd name="connsiteX410" fmla="*/ 1785467 w 2049127"/>
                                      <a:gd name="connsiteY410" fmla="*/ 98755 h 2267712"/>
                                      <a:gd name="connsiteX411" fmla="*/ 1792782 w 2049127"/>
                                      <a:gd name="connsiteY411" fmla="*/ 87783 h 2267712"/>
                                      <a:gd name="connsiteX412" fmla="*/ 1800098 w 2049127"/>
                                      <a:gd name="connsiteY412" fmla="*/ 80467 h 2267712"/>
                                      <a:gd name="connsiteX413" fmla="*/ 1807413 w 2049127"/>
                                      <a:gd name="connsiteY413" fmla="*/ 65837 h 2267712"/>
                                      <a:gd name="connsiteX414" fmla="*/ 1818386 w 2049127"/>
                                      <a:gd name="connsiteY414" fmla="*/ 43891 h 2267712"/>
                                      <a:gd name="connsiteX415" fmla="*/ 1814728 w 2049127"/>
                                      <a:gd name="connsiteY415" fmla="*/ 21946 h 2267712"/>
                                      <a:gd name="connsiteX416" fmla="*/ 1818386 w 2049127"/>
                                      <a:gd name="connsiteY416" fmla="*/ 10973 h 2267712"/>
                                      <a:gd name="connsiteX417" fmla="*/ 1840331 w 2049127"/>
                                      <a:gd name="connsiteY417" fmla="*/ 0 h 2267712"/>
                                      <a:gd name="connsiteX418" fmla="*/ 1865934 w 2049127"/>
                                      <a:gd name="connsiteY418" fmla="*/ 10973 h 2267712"/>
                                      <a:gd name="connsiteX419" fmla="*/ 1862277 w 2049127"/>
                                      <a:gd name="connsiteY419" fmla="*/ 29261 h 2267712"/>
                                      <a:gd name="connsiteX420" fmla="*/ 1851304 w 2049127"/>
                                      <a:gd name="connsiteY420" fmla="*/ 40234 h 2267712"/>
                                      <a:gd name="connsiteX421" fmla="*/ 1851304 w 2049127"/>
                                      <a:gd name="connsiteY421" fmla="*/ 106071 h 2267712"/>
                                      <a:gd name="connsiteX422" fmla="*/ 1865934 w 2049127"/>
                                      <a:gd name="connsiteY422" fmla="*/ 113386 h 2267712"/>
                                      <a:gd name="connsiteX423" fmla="*/ 1884222 w 2049127"/>
                                      <a:gd name="connsiteY423" fmla="*/ 131674 h 2267712"/>
                                      <a:gd name="connsiteX424" fmla="*/ 1891538 w 2049127"/>
                                      <a:gd name="connsiteY424" fmla="*/ 124359 h 2267712"/>
                                      <a:gd name="connsiteX425" fmla="*/ 1884222 w 2049127"/>
                                      <a:gd name="connsiteY425" fmla="*/ 91440 h 2267712"/>
                                      <a:gd name="connsiteX426" fmla="*/ 1880565 w 2049127"/>
                                      <a:gd name="connsiteY426" fmla="*/ 73152 h 2267712"/>
                                      <a:gd name="connsiteX427" fmla="*/ 1884222 w 2049127"/>
                                      <a:gd name="connsiteY427" fmla="*/ 40234 h 2267712"/>
                                      <a:gd name="connsiteX428" fmla="*/ 1887880 w 2049127"/>
                                      <a:gd name="connsiteY428" fmla="*/ 25603 h 2267712"/>
                                      <a:gd name="connsiteX429" fmla="*/ 1898853 w 2049127"/>
                                      <a:gd name="connsiteY429" fmla="*/ 21946 h 2267712"/>
                                      <a:gd name="connsiteX430" fmla="*/ 1920798 w 2049127"/>
                                      <a:gd name="connsiteY430" fmla="*/ 32919 h 2267712"/>
                                      <a:gd name="connsiteX431" fmla="*/ 1968347 w 2049127"/>
                                      <a:gd name="connsiteY431" fmla="*/ 43891 h 2267712"/>
                                      <a:gd name="connsiteX432" fmla="*/ 1975662 w 2049127"/>
                                      <a:gd name="connsiteY432" fmla="*/ 51207 h 2267712"/>
                                      <a:gd name="connsiteX433" fmla="*/ 1982978 w 2049127"/>
                                      <a:gd name="connsiteY433" fmla="*/ 62179 h 2267712"/>
                                      <a:gd name="connsiteX434" fmla="*/ 1993950 w 2049127"/>
                                      <a:gd name="connsiteY434" fmla="*/ 65837 h 2267712"/>
                                      <a:gd name="connsiteX435" fmla="*/ 2001266 w 2049127"/>
                                      <a:gd name="connsiteY435" fmla="*/ 73152 h 2267712"/>
                                      <a:gd name="connsiteX436" fmla="*/ 2019554 w 2049127"/>
                                      <a:gd name="connsiteY436" fmla="*/ 84125 h 2267712"/>
                                      <a:gd name="connsiteX437" fmla="*/ 2034184 w 2049127"/>
                                      <a:gd name="connsiteY437" fmla="*/ 106071 h 2267712"/>
                                      <a:gd name="connsiteX438" fmla="*/ 2012238 w 2049127"/>
                                      <a:gd name="connsiteY438" fmla="*/ 120701 h 2267712"/>
                                      <a:gd name="connsiteX439" fmla="*/ 1993950 w 2049127"/>
                                      <a:gd name="connsiteY439" fmla="*/ 138989 h 2267712"/>
                                      <a:gd name="connsiteX440" fmla="*/ 1972005 w 2049127"/>
                                      <a:gd name="connsiteY440" fmla="*/ 146304 h 2267712"/>
                                      <a:gd name="connsiteX441" fmla="*/ 1906168 w 2049127"/>
                                      <a:gd name="connsiteY441" fmla="*/ 142647 h 2267712"/>
                                      <a:gd name="connsiteX442" fmla="*/ 1902510 w 2049127"/>
                                      <a:gd name="connsiteY442" fmla="*/ 153619 h 2267712"/>
                                      <a:gd name="connsiteX443" fmla="*/ 1917141 w 2049127"/>
                                      <a:gd name="connsiteY443" fmla="*/ 160935 h 2267712"/>
                                      <a:gd name="connsiteX444" fmla="*/ 1961032 w 2049127"/>
                                      <a:gd name="connsiteY444" fmla="*/ 168250 h 2267712"/>
                                      <a:gd name="connsiteX445" fmla="*/ 1968347 w 2049127"/>
                                      <a:gd name="connsiteY445" fmla="*/ 190195 h 2267712"/>
                                      <a:gd name="connsiteX446" fmla="*/ 1972005 w 2049127"/>
                                      <a:gd name="connsiteY446" fmla="*/ 204826 h 2267712"/>
                                      <a:gd name="connsiteX447" fmla="*/ 1993950 w 2049127"/>
                                      <a:gd name="connsiteY447" fmla="*/ 212141 h 2267712"/>
                                      <a:gd name="connsiteX448" fmla="*/ 2004923 w 2049127"/>
                                      <a:gd name="connsiteY448" fmla="*/ 204826 h 2267712"/>
                                      <a:gd name="connsiteX449" fmla="*/ 2034184 w 2049127"/>
                                      <a:gd name="connsiteY449" fmla="*/ 215799 h 2267712"/>
                                      <a:gd name="connsiteX450" fmla="*/ 2045157 w 2049127"/>
                                      <a:gd name="connsiteY450" fmla="*/ 219456 h 2267712"/>
                                      <a:gd name="connsiteX451" fmla="*/ 2048814 w 2049127"/>
                                      <a:gd name="connsiteY451" fmla="*/ 230429 h 2267712"/>
                                      <a:gd name="connsiteX452" fmla="*/ 2026869 w 2049127"/>
                                      <a:gd name="connsiteY452" fmla="*/ 234087 h 2267712"/>
                                      <a:gd name="connsiteX453" fmla="*/ 2012238 w 2049127"/>
                                      <a:gd name="connsiteY453" fmla="*/ 237744 h 2267712"/>
                                      <a:gd name="connsiteX454" fmla="*/ 2008581 w 2049127"/>
                                      <a:gd name="connsiteY454" fmla="*/ 248717 h 2267712"/>
                                      <a:gd name="connsiteX455" fmla="*/ 1986635 w 2049127"/>
                                      <a:gd name="connsiteY455" fmla="*/ 267005 h 2267712"/>
                                      <a:gd name="connsiteX456" fmla="*/ 1972005 w 2049127"/>
                                      <a:gd name="connsiteY456" fmla="*/ 299923 h 2267712"/>
                                      <a:gd name="connsiteX457" fmla="*/ 1961032 w 2049127"/>
                                      <a:gd name="connsiteY457" fmla="*/ 303581 h 2267712"/>
                                      <a:gd name="connsiteX458" fmla="*/ 1950059 w 2049127"/>
                                      <a:gd name="connsiteY458" fmla="*/ 245059 h 2267712"/>
                                      <a:gd name="connsiteX459" fmla="*/ 1935429 w 2049127"/>
                                      <a:gd name="connsiteY459" fmla="*/ 234087 h 2267712"/>
                                      <a:gd name="connsiteX460" fmla="*/ 1920798 w 2049127"/>
                                      <a:gd name="connsiteY460" fmla="*/ 215799 h 2267712"/>
                                      <a:gd name="connsiteX461" fmla="*/ 1895195 w 2049127"/>
                                      <a:gd name="connsiteY461" fmla="*/ 208483 h 2267712"/>
                                      <a:gd name="connsiteX462" fmla="*/ 1880565 w 2049127"/>
                                      <a:gd name="connsiteY462" fmla="*/ 190195 h 2267712"/>
                                      <a:gd name="connsiteX463" fmla="*/ 1865934 w 2049127"/>
                                      <a:gd name="connsiteY463" fmla="*/ 186538 h 2267712"/>
                                      <a:gd name="connsiteX464" fmla="*/ 1854962 w 2049127"/>
                                      <a:gd name="connsiteY464" fmla="*/ 182880 h 2267712"/>
                                      <a:gd name="connsiteX465" fmla="*/ 1836674 w 2049127"/>
                                      <a:gd name="connsiteY465" fmla="*/ 186538 h 2267712"/>
                                      <a:gd name="connsiteX466" fmla="*/ 1829358 w 2049127"/>
                                      <a:gd name="connsiteY466" fmla="*/ 193853 h 2267712"/>
                                      <a:gd name="connsiteX467" fmla="*/ 1818386 w 2049127"/>
                                      <a:gd name="connsiteY467" fmla="*/ 201168 h 2267712"/>
                                      <a:gd name="connsiteX468" fmla="*/ 1800098 w 2049127"/>
                                      <a:gd name="connsiteY468" fmla="*/ 204826 h 2267712"/>
                                      <a:gd name="connsiteX469" fmla="*/ 1774494 w 2049127"/>
                                      <a:gd name="connsiteY469" fmla="*/ 197511 h 2267712"/>
                                      <a:gd name="connsiteX470" fmla="*/ 1767179 w 2049127"/>
                                      <a:gd name="connsiteY470" fmla="*/ 190195 h 2267712"/>
                                      <a:gd name="connsiteX471" fmla="*/ 1763522 w 2049127"/>
                                      <a:gd name="connsiteY471" fmla="*/ 201168 h 2267712"/>
                                      <a:gd name="connsiteX472" fmla="*/ 1756206 w 2049127"/>
                                      <a:gd name="connsiteY472" fmla="*/ 230429 h 2267712"/>
                                      <a:gd name="connsiteX473" fmla="*/ 1748891 w 2049127"/>
                                      <a:gd name="connsiteY473" fmla="*/ 241402 h 2267712"/>
                                      <a:gd name="connsiteX474" fmla="*/ 1741576 w 2049127"/>
                                      <a:gd name="connsiteY474" fmla="*/ 263347 h 2267712"/>
                                      <a:gd name="connsiteX475" fmla="*/ 1734261 w 2049127"/>
                                      <a:gd name="connsiteY475" fmla="*/ 343815 h 2267712"/>
                                      <a:gd name="connsiteX476" fmla="*/ 1730603 w 2049127"/>
                                      <a:gd name="connsiteY476" fmla="*/ 402336 h 2267712"/>
                                      <a:gd name="connsiteX477" fmla="*/ 1719630 w 2049127"/>
                                      <a:gd name="connsiteY477" fmla="*/ 413309 h 2267712"/>
                                      <a:gd name="connsiteX478" fmla="*/ 1694027 w 2049127"/>
                                      <a:gd name="connsiteY478" fmla="*/ 427939 h 2267712"/>
                                      <a:gd name="connsiteX479" fmla="*/ 1683054 w 2049127"/>
                                      <a:gd name="connsiteY479" fmla="*/ 431597 h 2267712"/>
                                      <a:gd name="connsiteX480" fmla="*/ 1679397 w 2049127"/>
                                      <a:gd name="connsiteY480" fmla="*/ 442570 h 2267712"/>
                                      <a:gd name="connsiteX481" fmla="*/ 1675739 w 2049127"/>
                                      <a:gd name="connsiteY481" fmla="*/ 457200 h 2267712"/>
                                      <a:gd name="connsiteX482" fmla="*/ 1653794 w 2049127"/>
                                      <a:gd name="connsiteY482" fmla="*/ 453543 h 2267712"/>
                                      <a:gd name="connsiteX483" fmla="*/ 1642821 w 2049127"/>
                                      <a:gd name="connsiteY483" fmla="*/ 449885 h 2267712"/>
                                      <a:gd name="connsiteX484" fmla="*/ 1620875 w 2049127"/>
                                      <a:gd name="connsiteY484" fmla="*/ 427939 h 2267712"/>
                                      <a:gd name="connsiteX485" fmla="*/ 1598930 w 2049127"/>
                                      <a:gd name="connsiteY485" fmla="*/ 431597 h 2267712"/>
                                      <a:gd name="connsiteX486" fmla="*/ 1591614 w 2049127"/>
                                      <a:gd name="connsiteY486" fmla="*/ 442570 h 2267712"/>
                                      <a:gd name="connsiteX487" fmla="*/ 1576984 w 2049127"/>
                                      <a:gd name="connsiteY487" fmla="*/ 449885 h 2267712"/>
                                      <a:gd name="connsiteX488" fmla="*/ 1562354 w 2049127"/>
                                      <a:gd name="connsiteY488" fmla="*/ 446227 h 2267712"/>
                                      <a:gd name="connsiteX489" fmla="*/ 1533093 w 2049127"/>
                                      <a:gd name="connsiteY489" fmla="*/ 424282 h 2267712"/>
                                      <a:gd name="connsiteX490" fmla="*/ 1500174 w 2049127"/>
                                      <a:gd name="connsiteY490" fmla="*/ 409651 h 2267712"/>
                                      <a:gd name="connsiteX491" fmla="*/ 1489202 w 2049127"/>
                                      <a:gd name="connsiteY491" fmla="*/ 405994 h 2267712"/>
                                      <a:gd name="connsiteX492" fmla="*/ 1478229 w 2049127"/>
                                      <a:gd name="connsiteY492" fmla="*/ 384048 h 2267712"/>
                                      <a:gd name="connsiteX493" fmla="*/ 1463598 w 2049127"/>
                                      <a:gd name="connsiteY493" fmla="*/ 351130 h 2267712"/>
                                      <a:gd name="connsiteX494" fmla="*/ 1448968 w 2049127"/>
                                      <a:gd name="connsiteY494" fmla="*/ 336499 h 2267712"/>
                                      <a:gd name="connsiteX495" fmla="*/ 1437995 w 2049127"/>
                                      <a:gd name="connsiteY495" fmla="*/ 340157 h 2267712"/>
                                      <a:gd name="connsiteX496" fmla="*/ 1434338 w 2049127"/>
                                      <a:gd name="connsiteY496" fmla="*/ 351130 h 2267712"/>
                                      <a:gd name="connsiteX497" fmla="*/ 1430680 w 2049127"/>
                                      <a:gd name="connsiteY497" fmla="*/ 369418 h 2267712"/>
                                      <a:gd name="connsiteX498" fmla="*/ 1427022 w 2049127"/>
                                      <a:gd name="connsiteY498" fmla="*/ 380391 h 2267712"/>
                                      <a:gd name="connsiteX499" fmla="*/ 1412392 w 2049127"/>
                                      <a:gd name="connsiteY499" fmla="*/ 384048 h 2267712"/>
                                      <a:gd name="connsiteX500" fmla="*/ 1375816 w 2049127"/>
                                      <a:gd name="connsiteY500" fmla="*/ 387706 h 2267712"/>
                                      <a:gd name="connsiteX501" fmla="*/ 1364843 w 2049127"/>
                                      <a:gd name="connsiteY501" fmla="*/ 438912 h 2267712"/>
                                      <a:gd name="connsiteX502" fmla="*/ 1353870 w 2049127"/>
                                      <a:gd name="connsiteY502" fmla="*/ 449885 h 2267712"/>
                                      <a:gd name="connsiteX503" fmla="*/ 1353870 w 2049127"/>
                                      <a:gd name="connsiteY503" fmla="*/ 490119 h 2267712"/>
                                      <a:gd name="connsiteX504" fmla="*/ 1361186 w 2049127"/>
                                      <a:gd name="connsiteY504" fmla="*/ 501091 h 2267712"/>
                                      <a:gd name="connsiteX505" fmla="*/ 1357528 w 2049127"/>
                                      <a:gd name="connsiteY505" fmla="*/ 519379 h 2267712"/>
                                      <a:gd name="connsiteX506" fmla="*/ 1342898 w 2049127"/>
                                      <a:gd name="connsiteY506" fmla="*/ 523037 h 2267712"/>
                                      <a:gd name="connsiteX507" fmla="*/ 1320952 w 2049127"/>
                                      <a:gd name="connsiteY507" fmla="*/ 497434 h 2267712"/>
                                      <a:gd name="connsiteX508" fmla="*/ 1288034 w 2049127"/>
                                      <a:gd name="connsiteY508" fmla="*/ 482803 h 2267712"/>
                                      <a:gd name="connsiteX509" fmla="*/ 1273403 w 2049127"/>
                                      <a:gd name="connsiteY509" fmla="*/ 479146 h 2267712"/>
                                      <a:gd name="connsiteX510" fmla="*/ 1262430 w 2049127"/>
                                      <a:gd name="connsiteY510" fmla="*/ 475488 h 2267712"/>
                                      <a:gd name="connsiteX511" fmla="*/ 1251458 w 2049127"/>
                                      <a:gd name="connsiteY511" fmla="*/ 479146 h 2267712"/>
                                      <a:gd name="connsiteX512" fmla="*/ 1244142 w 2049127"/>
                                      <a:gd name="connsiteY512" fmla="*/ 486461 h 2267712"/>
                                      <a:gd name="connsiteX513" fmla="*/ 1233170 w 2049127"/>
                                      <a:gd name="connsiteY513" fmla="*/ 493776 h 2267712"/>
                                      <a:gd name="connsiteX514" fmla="*/ 1229512 w 2049127"/>
                                      <a:gd name="connsiteY514" fmla="*/ 537667 h 2267712"/>
                                      <a:gd name="connsiteX515" fmla="*/ 1222197 w 2049127"/>
                                      <a:gd name="connsiteY515" fmla="*/ 544983 h 2267712"/>
                                      <a:gd name="connsiteX516" fmla="*/ 1200251 w 2049127"/>
                                      <a:gd name="connsiteY516" fmla="*/ 559613 h 2267712"/>
                                      <a:gd name="connsiteX517" fmla="*/ 1170990 w 2049127"/>
                                      <a:gd name="connsiteY517" fmla="*/ 555955 h 2267712"/>
                                      <a:gd name="connsiteX518" fmla="*/ 1156360 w 2049127"/>
                                      <a:gd name="connsiteY518" fmla="*/ 574243 h 2267712"/>
                                      <a:gd name="connsiteX519" fmla="*/ 1141730 w 2049127"/>
                                      <a:gd name="connsiteY519" fmla="*/ 592531 h 2267712"/>
                                      <a:gd name="connsiteX520" fmla="*/ 1138072 w 2049127"/>
                                      <a:gd name="connsiteY520" fmla="*/ 603504 h 2267712"/>
                                      <a:gd name="connsiteX521" fmla="*/ 1134414 w 2049127"/>
                                      <a:gd name="connsiteY521" fmla="*/ 618135 h 2267712"/>
                                      <a:gd name="connsiteX522" fmla="*/ 1094181 w 2049127"/>
                                      <a:gd name="connsiteY522" fmla="*/ 651053 h 2267712"/>
                                      <a:gd name="connsiteX523" fmla="*/ 1083208 w 2049127"/>
                                      <a:gd name="connsiteY523" fmla="*/ 658368 h 2267712"/>
                                      <a:gd name="connsiteX524" fmla="*/ 1086866 w 2049127"/>
                                      <a:gd name="connsiteY524" fmla="*/ 694944 h 2267712"/>
                                      <a:gd name="connsiteX525" fmla="*/ 1097838 w 2049127"/>
                                      <a:gd name="connsiteY525" fmla="*/ 702259 h 2267712"/>
                                      <a:gd name="connsiteX526" fmla="*/ 1105154 w 2049127"/>
                                      <a:gd name="connsiteY526" fmla="*/ 709575 h 2267712"/>
                                      <a:gd name="connsiteX527" fmla="*/ 1097838 w 2049127"/>
                                      <a:gd name="connsiteY527" fmla="*/ 749808 h 2267712"/>
                                      <a:gd name="connsiteX528" fmla="*/ 1079550 w 2049127"/>
                                      <a:gd name="connsiteY528" fmla="*/ 768096 h 2267712"/>
                                      <a:gd name="connsiteX529" fmla="*/ 1053947 w 2049127"/>
                                      <a:gd name="connsiteY529" fmla="*/ 786384 h 2267712"/>
                                      <a:gd name="connsiteX530" fmla="*/ 1042974 w 2049127"/>
                                      <a:gd name="connsiteY530" fmla="*/ 808330 h 2267712"/>
                                      <a:gd name="connsiteX531" fmla="*/ 1032002 w 2049127"/>
                                      <a:gd name="connsiteY531" fmla="*/ 848563 h 2267712"/>
                                      <a:gd name="connsiteX532" fmla="*/ 1028344 w 2049127"/>
                                      <a:gd name="connsiteY532" fmla="*/ 859536 h 2267712"/>
                                      <a:gd name="connsiteX533" fmla="*/ 1021029 w 2049127"/>
                                      <a:gd name="connsiteY533" fmla="*/ 888797 h 2267712"/>
                                      <a:gd name="connsiteX534" fmla="*/ 999083 w 2049127"/>
                                      <a:gd name="connsiteY534" fmla="*/ 899770 h 2267712"/>
                                      <a:gd name="connsiteX535" fmla="*/ 947877 w 2049127"/>
                                      <a:gd name="connsiteY535" fmla="*/ 910743 h 2267712"/>
                                      <a:gd name="connsiteX536" fmla="*/ 944219 w 2049127"/>
                                      <a:gd name="connsiteY536" fmla="*/ 983895 h 2267712"/>
                                      <a:gd name="connsiteX537" fmla="*/ 951534 w 2049127"/>
                                      <a:gd name="connsiteY537" fmla="*/ 991210 h 2267712"/>
                                      <a:gd name="connsiteX538" fmla="*/ 940562 w 2049127"/>
                                      <a:gd name="connsiteY538" fmla="*/ 1038759 h 2267712"/>
                                      <a:gd name="connsiteX539" fmla="*/ 933246 w 2049127"/>
                                      <a:gd name="connsiteY539" fmla="*/ 1060704 h 2267712"/>
                                      <a:gd name="connsiteX540" fmla="*/ 918616 w 2049127"/>
                                      <a:gd name="connsiteY540" fmla="*/ 1082650 h 2267712"/>
                                      <a:gd name="connsiteX541" fmla="*/ 911301 w 2049127"/>
                                      <a:gd name="connsiteY541" fmla="*/ 1104595 h 2267712"/>
                                      <a:gd name="connsiteX542" fmla="*/ 893013 w 2049127"/>
                                      <a:gd name="connsiteY542" fmla="*/ 1137514 h 2267712"/>
                                      <a:gd name="connsiteX543" fmla="*/ 882040 w 2049127"/>
                                      <a:gd name="connsiteY543" fmla="*/ 1141171 h 2267712"/>
                                      <a:gd name="connsiteX544" fmla="*/ 856437 w 2049127"/>
                                      <a:gd name="connsiteY544" fmla="*/ 1166775 h 2267712"/>
                                      <a:gd name="connsiteX545" fmla="*/ 889355 w 2049127"/>
                                      <a:gd name="connsiteY545" fmla="*/ 1203351 h 2267712"/>
                                      <a:gd name="connsiteX546" fmla="*/ 882040 w 2049127"/>
                                      <a:gd name="connsiteY546" fmla="*/ 1247242 h 2267712"/>
                                      <a:gd name="connsiteX547" fmla="*/ 874725 w 2049127"/>
                                      <a:gd name="connsiteY547" fmla="*/ 1258215 h 2267712"/>
                                      <a:gd name="connsiteX548" fmla="*/ 863752 w 2049127"/>
                                      <a:gd name="connsiteY548" fmla="*/ 1261872 h 2267712"/>
                                      <a:gd name="connsiteX549" fmla="*/ 849122 w 2049127"/>
                                      <a:gd name="connsiteY549" fmla="*/ 1258215 h 2267712"/>
                                      <a:gd name="connsiteX550" fmla="*/ 841806 w 2049127"/>
                                      <a:gd name="connsiteY550" fmla="*/ 1247242 h 2267712"/>
                                      <a:gd name="connsiteX551" fmla="*/ 816203 w 2049127"/>
                                      <a:gd name="connsiteY551" fmla="*/ 1250899 h 2267712"/>
                                      <a:gd name="connsiteX552" fmla="*/ 808888 w 2049127"/>
                                      <a:gd name="connsiteY552" fmla="*/ 1258215 h 2267712"/>
                                      <a:gd name="connsiteX553" fmla="*/ 779627 w 2049127"/>
                                      <a:gd name="connsiteY553" fmla="*/ 1265530 h 2267712"/>
                                      <a:gd name="connsiteX554" fmla="*/ 757682 w 2049127"/>
                                      <a:gd name="connsiteY554" fmla="*/ 1280160 h 2267712"/>
                                      <a:gd name="connsiteX555" fmla="*/ 743051 w 2049127"/>
                                      <a:gd name="connsiteY555" fmla="*/ 1294791 h 2267712"/>
                                      <a:gd name="connsiteX556" fmla="*/ 732078 w 2049127"/>
                                      <a:gd name="connsiteY556" fmla="*/ 1305763 h 2267712"/>
                                      <a:gd name="connsiteX557" fmla="*/ 713790 w 2049127"/>
                                      <a:gd name="connsiteY557" fmla="*/ 1320394 h 2267712"/>
                                      <a:gd name="connsiteX558" fmla="*/ 710133 w 2049127"/>
                                      <a:gd name="connsiteY558" fmla="*/ 1331367 h 2267712"/>
                                      <a:gd name="connsiteX559" fmla="*/ 706475 w 2049127"/>
                                      <a:gd name="connsiteY559" fmla="*/ 1356970 h 2267712"/>
                                      <a:gd name="connsiteX560" fmla="*/ 695502 w 2049127"/>
                                      <a:gd name="connsiteY560" fmla="*/ 1367943 h 2267712"/>
                                      <a:gd name="connsiteX561" fmla="*/ 688187 w 2049127"/>
                                      <a:gd name="connsiteY561" fmla="*/ 1378915 h 2267712"/>
                                      <a:gd name="connsiteX562" fmla="*/ 684530 w 2049127"/>
                                      <a:gd name="connsiteY562" fmla="*/ 1415491 h 2267712"/>
                                      <a:gd name="connsiteX563" fmla="*/ 691845 w 2049127"/>
                                      <a:gd name="connsiteY563" fmla="*/ 1419149 h 2267712"/>
                                      <a:gd name="connsiteX564" fmla="*/ 688187 w 2049127"/>
                                      <a:gd name="connsiteY564" fmla="*/ 1437437 h 2267712"/>
                                      <a:gd name="connsiteX565" fmla="*/ 684530 w 2049127"/>
                                      <a:gd name="connsiteY565" fmla="*/ 1481328 h 2267712"/>
                                      <a:gd name="connsiteX566" fmla="*/ 673557 w 2049127"/>
                                      <a:gd name="connsiteY566" fmla="*/ 1488643 h 2267712"/>
                                      <a:gd name="connsiteX567" fmla="*/ 669899 w 2049127"/>
                                      <a:gd name="connsiteY567" fmla="*/ 1499616 h 2267712"/>
                                      <a:gd name="connsiteX568" fmla="*/ 673557 w 2049127"/>
                                      <a:gd name="connsiteY568" fmla="*/ 1514247 h 2267712"/>
                                      <a:gd name="connsiteX569" fmla="*/ 677214 w 2049127"/>
                                      <a:gd name="connsiteY569" fmla="*/ 1525219 h 2267712"/>
                                      <a:gd name="connsiteX570" fmla="*/ 684530 w 2049127"/>
                                      <a:gd name="connsiteY570" fmla="*/ 1554480 h 2267712"/>
                                      <a:gd name="connsiteX571" fmla="*/ 691845 w 2049127"/>
                                      <a:gd name="connsiteY571" fmla="*/ 1565453 h 2267712"/>
                                      <a:gd name="connsiteX572" fmla="*/ 695502 w 2049127"/>
                                      <a:gd name="connsiteY572" fmla="*/ 1620317 h 2267712"/>
                                      <a:gd name="connsiteX573" fmla="*/ 688187 w 2049127"/>
                                      <a:gd name="connsiteY573" fmla="*/ 1631290 h 2267712"/>
                                      <a:gd name="connsiteX574" fmla="*/ 688187 w 2049127"/>
                                      <a:gd name="connsiteY574" fmla="*/ 1689811 h 2267712"/>
                                      <a:gd name="connsiteX575" fmla="*/ 695502 w 2049127"/>
                                      <a:gd name="connsiteY575" fmla="*/ 1697127 h 2267712"/>
                                      <a:gd name="connsiteX576" fmla="*/ 706475 w 2049127"/>
                                      <a:gd name="connsiteY576" fmla="*/ 1700784 h 2267712"/>
                                      <a:gd name="connsiteX577" fmla="*/ 717448 w 2049127"/>
                                      <a:gd name="connsiteY577" fmla="*/ 1711757 h 2267712"/>
                                      <a:gd name="connsiteX578" fmla="*/ 721106 w 2049127"/>
                                      <a:gd name="connsiteY578" fmla="*/ 1722730 h 2267712"/>
                                      <a:gd name="connsiteX579" fmla="*/ 728421 w 2049127"/>
                                      <a:gd name="connsiteY579" fmla="*/ 1733703 h 2267712"/>
                                      <a:gd name="connsiteX580" fmla="*/ 724763 w 2049127"/>
                                      <a:gd name="connsiteY580" fmla="*/ 1770279 h 2267712"/>
                                      <a:gd name="connsiteX581" fmla="*/ 721106 w 2049127"/>
                                      <a:gd name="connsiteY581" fmla="*/ 1781251 h 2267712"/>
                                      <a:gd name="connsiteX582" fmla="*/ 710133 w 2049127"/>
                                      <a:gd name="connsiteY582" fmla="*/ 1788567 h 2267712"/>
                                      <a:gd name="connsiteX583" fmla="*/ 684530 w 2049127"/>
                                      <a:gd name="connsiteY583" fmla="*/ 1803197 h 2267712"/>
                                      <a:gd name="connsiteX584" fmla="*/ 677214 w 2049127"/>
                                      <a:gd name="connsiteY584" fmla="*/ 1810512 h 2267712"/>
                                      <a:gd name="connsiteX585" fmla="*/ 680872 w 2049127"/>
                                      <a:gd name="connsiteY585" fmla="*/ 1869034 h 2267712"/>
                                      <a:gd name="connsiteX586" fmla="*/ 684530 w 2049127"/>
                                      <a:gd name="connsiteY586" fmla="*/ 1880007 h 2267712"/>
                                      <a:gd name="connsiteX587" fmla="*/ 688187 w 2049127"/>
                                      <a:gd name="connsiteY587" fmla="*/ 1894637 h 2267712"/>
                                      <a:gd name="connsiteX588" fmla="*/ 680872 w 2049127"/>
                                      <a:gd name="connsiteY588" fmla="*/ 1949501 h 2267712"/>
                                      <a:gd name="connsiteX589" fmla="*/ 673557 w 2049127"/>
                                      <a:gd name="connsiteY589" fmla="*/ 1960474 h 2267712"/>
                                      <a:gd name="connsiteX590" fmla="*/ 651611 w 2049127"/>
                                      <a:gd name="connsiteY590" fmla="*/ 1986077 h 2267712"/>
                                      <a:gd name="connsiteX591" fmla="*/ 622350 w 2049127"/>
                                      <a:gd name="connsiteY591" fmla="*/ 2008023 h 2267712"/>
                                      <a:gd name="connsiteX592" fmla="*/ 596747 w 2049127"/>
                                      <a:gd name="connsiteY592" fmla="*/ 2062887 h 2267712"/>
                                      <a:gd name="connsiteX593" fmla="*/ 593090 w 2049127"/>
                                      <a:gd name="connsiteY593" fmla="*/ 2106778 h 2267712"/>
                                      <a:gd name="connsiteX594" fmla="*/ 585774 w 2049127"/>
                                      <a:gd name="connsiteY594" fmla="*/ 2114093 h 2267712"/>
                                      <a:gd name="connsiteX595" fmla="*/ 582117 w 2049127"/>
                                      <a:gd name="connsiteY595" fmla="*/ 2132381 h 2267712"/>
                                      <a:gd name="connsiteX596" fmla="*/ 574802 w 2049127"/>
                                      <a:gd name="connsiteY596" fmla="*/ 2154327 h 2267712"/>
                                      <a:gd name="connsiteX597" fmla="*/ 571144 w 2049127"/>
                                      <a:gd name="connsiteY597" fmla="*/ 2165299 h 2267712"/>
                                      <a:gd name="connsiteX598" fmla="*/ 567486 w 2049127"/>
                                      <a:gd name="connsiteY598" fmla="*/ 2176272 h 2267712"/>
                                      <a:gd name="connsiteX599" fmla="*/ 563829 w 2049127"/>
                                      <a:gd name="connsiteY599" fmla="*/ 2176272 h 22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2049127" h="2267712">
                                        <a:moveTo>
                                          <a:pt x="563829" y="2176272"/>
                                        </a:moveTo>
                                        <a:lnTo>
                                          <a:pt x="563829" y="2176272"/>
                                        </a:lnTo>
                                        <a:cubicBezTo>
                                          <a:pt x="558952" y="2166518"/>
                                          <a:pt x="556179" y="2155388"/>
                                          <a:pt x="549198" y="2147011"/>
                                        </a:cubicBezTo>
                                        <a:cubicBezTo>
                                          <a:pt x="542771" y="2139298"/>
                                          <a:pt x="527381" y="2131190"/>
                                          <a:pt x="516280" y="2128723"/>
                                        </a:cubicBezTo>
                                        <a:cubicBezTo>
                                          <a:pt x="509040" y="2127114"/>
                                          <a:pt x="501649" y="2126285"/>
                                          <a:pt x="494334" y="2125066"/>
                                        </a:cubicBezTo>
                                        <a:cubicBezTo>
                                          <a:pt x="495553" y="2104340"/>
                                          <a:pt x="494912" y="2083419"/>
                                          <a:pt x="497992" y="2062887"/>
                                        </a:cubicBezTo>
                                        <a:cubicBezTo>
                                          <a:pt x="498644" y="2058540"/>
                                          <a:pt x="504150" y="2056155"/>
                                          <a:pt x="505307" y="2051914"/>
                                        </a:cubicBezTo>
                                        <a:cubicBezTo>
                                          <a:pt x="515581" y="2014244"/>
                                          <a:pt x="498071" y="2029915"/>
                                          <a:pt x="519938" y="2015338"/>
                                        </a:cubicBezTo>
                                        <a:cubicBezTo>
                                          <a:pt x="518719" y="2006804"/>
                                          <a:pt x="519006" y="1997914"/>
                                          <a:pt x="516280" y="1989735"/>
                                        </a:cubicBezTo>
                                        <a:cubicBezTo>
                                          <a:pt x="512583" y="1978644"/>
                                          <a:pt x="505144" y="1982501"/>
                                          <a:pt x="497992" y="1986077"/>
                                        </a:cubicBezTo>
                                        <a:cubicBezTo>
                                          <a:pt x="494060" y="1988043"/>
                                          <a:pt x="490677" y="1990954"/>
                                          <a:pt x="487019" y="1993392"/>
                                        </a:cubicBezTo>
                                        <a:cubicBezTo>
                                          <a:pt x="485800" y="1997050"/>
                                          <a:pt x="485346" y="2001059"/>
                                          <a:pt x="483362" y="2004365"/>
                                        </a:cubicBezTo>
                                        <a:cubicBezTo>
                                          <a:pt x="481588" y="2007322"/>
                                          <a:pt x="477588" y="2008596"/>
                                          <a:pt x="476046" y="2011680"/>
                                        </a:cubicBezTo>
                                        <a:cubicBezTo>
                                          <a:pt x="472597" y="2018577"/>
                                          <a:pt x="468731" y="2033626"/>
                                          <a:pt x="468731" y="2033626"/>
                                        </a:cubicBezTo>
                                        <a:cubicBezTo>
                                          <a:pt x="465073" y="2032407"/>
                                          <a:pt x="458514" y="2026187"/>
                                          <a:pt x="457758" y="2029968"/>
                                        </a:cubicBezTo>
                                        <a:cubicBezTo>
                                          <a:pt x="455117" y="2043173"/>
                                          <a:pt x="461416" y="2056735"/>
                                          <a:pt x="461416" y="2070202"/>
                                        </a:cubicBezTo>
                                        <a:cubicBezTo>
                                          <a:pt x="461416" y="2080032"/>
                                          <a:pt x="459516" y="2089792"/>
                                          <a:pt x="457758" y="2099463"/>
                                        </a:cubicBezTo>
                                        <a:cubicBezTo>
                                          <a:pt x="457068" y="2103256"/>
                                          <a:pt x="456827" y="2107709"/>
                                          <a:pt x="454101" y="2110435"/>
                                        </a:cubicBezTo>
                                        <a:cubicBezTo>
                                          <a:pt x="451375" y="2113161"/>
                                          <a:pt x="446786" y="2112874"/>
                                          <a:pt x="443128" y="2114093"/>
                                        </a:cubicBezTo>
                                        <a:cubicBezTo>
                                          <a:pt x="438861" y="2120494"/>
                                          <a:pt x="433985" y="2130857"/>
                                          <a:pt x="424840" y="2132381"/>
                                        </a:cubicBezTo>
                                        <a:cubicBezTo>
                                          <a:pt x="421037" y="2133015"/>
                                          <a:pt x="417525" y="2129942"/>
                                          <a:pt x="413867" y="2128723"/>
                                        </a:cubicBezTo>
                                        <a:cubicBezTo>
                                          <a:pt x="407771" y="2129942"/>
                                          <a:pt x="401610" y="2130873"/>
                                          <a:pt x="395579" y="2132381"/>
                                        </a:cubicBezTo>
                                        <a:cubicBezTo>
                                          <a:pt x="391839" y="2133316"/>
                                          <a:pt x="388399" y="2135349"/>
                                          <a:pt x="384606" y="2136039"/>
                                        </a:cubicBezTo>
                                        <a:cubicBezTo>
                                          <a:pt x="374935" y="2137797"/>
                                          <a:pt x="365099" y="2138477"/>
                                          <a:pt x="355346" y="2139696"/>
                                        </a:cubicBezTo>
                                        <a:cubicBezTo>
                                          <a:pt x="350764" y="2144278"/>
                                          <a:pt x="343016" y="2149843"/>
                                          <a:pt x="344373" y="2157984"/>
                                        </a:cubicBezTo>
                                        <a:cubicBezTo>
                                          <a:pt x="345096" y="2162320"/>
                                          <a:pt x="349722" y="2165025"/>
                                          <a:pt x="351688" y="2168957"/>
                                        </a:cubicBezTo>
                                        <a:cubicBezTo>
                                          <a:pt x="353412" y="2172406"/>
                                          <a:pt x="354127" y="2176272"/>
                                          <a:pt x="355346" y="2179930"/>
                                        </a:cubicBezTo>
                                        <a:cubicBezTo>
                                          <a:pt x="352907" y="2182368"/>
                                          <a:pt x="359003" y="2178101"/>
                                          <a:pt x="348030" y="2187245"/>
                                        </a:cubicBezTo>
                                        <a:lnTo>
                                          <a:pt x="315112" y="2201875"/>
                                        </a:lnTo>
                                        <a:cubicBezTo>
                                          <a:pt x="305358" y="2206752"/>
                                          <a:pt x="295779" y="2211994"/>
                                          <a:pt x="285851" y="2216506"/>
                                        </a:cubicBezTo>
                                        <a:cubicBezTo>
                                          <a:pt x="282341" y="2218101"/>
                                          <a:pt x="278184" y="2218179"/>
                                          <a:pt x="274878" y="2220163"/>
                                        </a:cubicBezTo>
                                        <a:cubicBezTo>
                                          <a:pt x="271921" y="2221937"/>
                                          <a:pt x="270322" y="2225410"/>
                                          <a:pt x="267563" y="2227479"/>
                                        </a:cubicBezTo>
                                        <a:cubicBezTo>
                                          <a:pt x="260530" y="2232754"/>
                                          <a:pt x="251835" y="2235893"/>
                                          <a:pt x="245618" y="2242109"/>
                                        </a:cubicBezTo>
                                        <a:cubicBezTo>
                                          <a:pt x="238815" y="2248911"/>
                                          <a:pt x="236556" y="2252126"/>
                                          <a:pt x="227330" y="2256739"/>
                                        </a:cubicBezTo>
                                        <a:cubicBezTo>
                                          <a:pt x="223882" y="2258463"/>
                                          <a:pt x="220015" y="2259178"/>
                                          <a:pt x="216357" y="2260397"/>
                                        </a:cubicBezTo>
                                        <a:cubicBezTo>
                                          <a:pt x="198622" y="2255963"/>
                                          <a:pt x="204831" y="2255076"/>
                                          <a:pt x="187096" y="2260397"/>
                                        </a:cubicBezTo>
                                        <a:cubicBezTo>
                                          <a:pt x="179710" y="2262613"/>
                                          <a:pt x="165150" y="2267712"/>
                                          <a:pt x="165150" y="2267712"/>
                                        </a:cubicBezTo>
                                        <a:cubicBezTo>
                                          <a:pt x="149301" y="2266493"/>
                                          <a:pt x="133189" y="2267173"/>
                                          <a:pt x="117602" y="2264055"/>
                                        </a:cubicBezTo>
                                        <a:cubicBezTo>
                                          <a:pt x="114220" y="2263379"/>
                                          <a:pt x="112979" y="2258893"/>
                                          <a:pt x="110286" y="2256739"/>
                                        </a:cubicBezTo>
                                        <a:cubicBezTo>
                                          <a:pt x="98805" y="2247554"/>
                                          <a:pt x="99377" y="2249440"/>
                                          <a:pt x="84683" y="2245767"/>
                                        </a:cubicBezTo>
                                        <a:cubicBezTo>
                                          <a:pt x="82245" y="2238452"/>
                                          <a:pt x="84683" y="2226259"/>
                                          <a:pt x="77368" y="2223821"/>
                                        </a:cubicBezTo>
                                        <a:lnTo>
                                          <a:pt x="55422" y="2216506"/>
                                        </a:lnTo>
                                        <a:cubicBezTo>
                                          <a:pt x="44451" y="2209192"/>
                                          <a:pt x="43229" y="2210409"/>
                                          <a:pt x="37134" y="2198218"/>
                                        </a:cubicBezTo>
                                        <a:cubicBezTo>
                                          <a:pt x="35410" y="2194770"/>
                                          <a:pt x="34412" y="2190985"/>
                                          <a:pt x="33477" y="2187245"/>
                                        </a:cubicBezTo>
                                        <a:cubicBezTo>
                                          <a:pt x="31969" y="2181214"/>
                                          <a:pt x="33267" y="2174130"/>
                                          <a:pt x="29819" y="2168957"/>
                                        </a:cubicBezTo>
                                        <a:cubicBezTo>
                                          <a:pt x="27680" y="2165749"/>
                                          <a:pt x="22504" y="2166518"/>
                                          <a:pt x="18846" y="2165299"/>
                                        </a:cubicBezTo>
                                        <a:cubicBezTo>
                                          <a:pt x="17627" y="2161642"/>
                                          <a:pt x="17172" y="2157633"/>
                                          <a:pt x="15189" y="2154327"/>
                                        </a:cubicBezTo>
                                        <a:cubicBezTo>
                                          <a:pt x="125" y="2129219"/>
                                          <a:pt x="14580" y="2167125"/>
                                          <a:pt x="4216" y="2136039"/>
                                        </a:cubicBezTo>
                                        <a:cubicBezTo>
                                          <a:pt x="5435" y="2126285"/>
                                          <a:pt x="5814" y="2116389"/>
                                          <a:pt x="7874" y="2106778"/>
                                        </a:cubicBezTo>
                                        <a:cubicBezTo>
                                          <a:pt x="9490" y="2099238"/>
                                          <a:pt x="15189" y="2084832"/>
                                          <a:pt x="15189" y="2084832"/>
                                        </a:cubicBezTo>
                                        <a:cubicBezTo>
                                          <a:pt x="22504" y="2087270"/>
                                          <a:pt x="31682" y="2086695"/>
                                          <a:pt x="37134" y="2092147"/>
                                        </a:cubicBezTo>
                                        <a:cubicBezTo>
                                          <a:pt x="47558" y="2102571"/>
                                          <a:pt x="41580" y="2097550"/>
                                          <a:pt x="55422" y="2106778"/>
                                        </a:cubicBezTo>
                                        <a:cubicBezTo>
                                          <a:pt x="59080" y="2105559"/>
                                          <a:pt x="63669" y="2105846"/>
                                          <a:pt x="66395" y="2103120"/>
                                        </a:cubicBezTo>
                                        <a:cubicBezTo>
                                          <a:pt x="85901" y="2083614"/>
                                          <a:pt x="51767" y="2098241"/>
                                          <a:pt x="81026" y="2088490"/>
                                        </a:cubicBezTo>
                                        <a:cubicBezTo>
                                          <a:pt x="88072" y="2067349"/>
                                          <a:pt x="86169" y="2085158"/>
                                          <a:pt x="66395" y="2073859"/>
                                        </a:cubicBezTo>
                                        <a:cubicBezTo>
                                          <a:pt x="62579" y="2071678"/>
                                          <a:pt x="61518" y="2066544"/>
                                          <a:pt x="59080" y="2062887"/>
                                        </a:cubicBezTo>
                                        <a:cubicBezTo>
                                          <a:pt x="62738" y="2061668"/>
                                          <a:pt x="66845" y="2061368"/>
                                          <a:pt x="70053" y="2059229"/>
                                        </a:cubicBezTo>
                                        <a:cubicBezTo>
                                          <a:pt x="89480" y="2046277"/>
                                          <a:pt x="80215" y="2040959"/>
                                          <a:pt x="77368" y="2015338"/>
                                        </a:cubicBezTo>
                                        <a:cubicBezTo>
                                          <a:pt x="78587" y="2011680"/>
                                          <a:pt x="79507" y="2007909"/>
                                          <a:pt x="81026" y="2004365"/>
                                        </a:cubicBezTo>
                                        <a:cubicBezTo>
                                          <a:pt x="83174" y="1999354"/>
                                          <a:pt x="87570" y="1995132"/>
                                          <a:pt x="88341" y="1989735"/>
                                        </a:cubicBezTo>
                                        <a:cubicBezTo>
                                          <a:pt x="88886" y="1985918"/>
                                          <a:pt x="85902" y="1982420"/>
                                          <a:pt x="84683" y="1978762"/>
                                        </a:cubicBezTo>
                                        <a:cubicBezTo>
                                          <a:pt x="74929" y="1979981"/>
                                          <a:pt x="65118" y="1980803"/>
                                          <a:pt x="55422" y="1982419"/>
                                        </a:cubicBezTo>
                                        <a:cubicBezTo>
                                          <a:pt x="50464" y="1983245"/>
                                          <a:pt x="44717" y="1982937"/>
                                          <a:pt x="40792" y="1986077"/>
                                        </a:cubicBezTo>
                                        <a:cubicBezTo>
                                          <a:pt x="37781" y="1988486"/>
                                          <a:pt x="39543" y="1994039"/>
                                          <a:pt x="37134" y="1997050"/>
                                        </a:cubicBezTo>
                                        <a:cubicBezTo>
                                          <a:pt x="34388" y="2000482"/>
                                          <a:pt x="29819" y="2001927"/>
                                          <a:pt x="26162" y="2004365"/>
                                        </a:cubicBezTo>
                                        <a:cubicBezTo>
                                          <a:pt x="19357" y="1997561"/>
                                          <a:pt x="16145" y="1995307"/>
                                          <a:pt x="11531" y="1986077"/>
                                        </a:cubicBezTo>
                                        <a:cubicBezTo>
                                          <a:pt x="9807" y="1982629"/>
                                          <a:pt x="-11024" y="1981200"/>
                                          <a:pt x="7874" y="1975104"/>
                                        </a:cubicBezTo>
                                        <a:lnTo>
                                          <a:pt x="26162" y="1953159"/>
                                        </a:lnTo>
                                        <a:cubicBezTo>
                                          <a:pt x="38354" y="1951940"/>
                                          <a:pt x="51223" y="1953689"/>
                                          <a:pt x="62738" y="1949501"/>
                                        </a:cubicBezTo>
                                        <a:cubicBezTo>
                                          <a:pt x="66361" y="1948183"/>
                                          <a:pt x="65460" y="1942268"/>
                                          <a:pt x="66395" y="1938528"/>
                                        </a:cubicBezTo>
                                        <a:cubicBezTo>
                                          <a:pt x="67903" y="1932497"/>
                                          <a:pt x="66604" y="1925413"/>
                                          <a:pt x="70053" y="1920240"/>
                                        </a:cubicBezTo>
                                        <a:cubicBezTo>
                                          <a:pt x="72192" y="1917032"/>
                                          <a:pt x="77368" y="1917802"/>
                                          <a:pt x="81026" y="1916583"/>
                                        </a:cubicBezTo>
                                        <a:cubicBezTo>
                                          <a:pt x="83464" y="1914144"/>
                                          <a:pt x="86187" y="1911960"/>
                                          <a:pt x="88341" y="1909267"/>
                                        </a:cubicBezTo>
                                        <a:cubicBezTo>
                                          <a:pt x="106797" y="1886196"/>
                                          <a:pt x="85308" y="1908644"/>
                                          <a:pt x="102971" y="1890979"/>
                                        </a:cubicBezTo>
                                        <a:cubicBezTo>
                                          <a:pt x="104190" y="1887322"/>
                                          <a:pt x="104645" y="1883313"/>
                                          <a:pt x="106629" y="1880007"/>
                                        </a:cubicBezTo>
                                        <a:cubicBezTo>
                                          <a:pt x="110105" y="1874214"/>
                                          <a:pt x="119930" y="1868700"/>
                                          <a:pt x="124917" y="1865376"/>
                                        </a:cubicBezTo>
                                        <a:cubicBezTo>
                                          <a:pt x="127355" y="1869034"/>
                                          <a:pt x="130266" y="1872417"/>
                                          <a:pt x="132232" y="1876349"/>
                                        </a:cubicBezTo>
                                        <a:cubicBezTo>
                                          <a:pt x="133956" y="1879798"/>
                                          <a:pt x="132034" y="1887322"/>
                                          <a:pt x="135890" y="1887322"/>
                                        </a:cubicBezTo>
                                        <a:cubicBezTo>
                                          <a:pt x="140286" y="1887322"/>
                                          <a:pt x="140391" y="1879726"/>
                                          <a:pt x="143205" y="1876349"/>
                                        </a:cubicBezTo>
                                        <a:cubicBezTo>
                                          <a:pt x="146516" y="1872375"/>
                                          <a:pt x="150867" y="1869350"/>
                                          <a:pt x="154178" y="1865376"/>
                                        </a:cubicBezTo>
                                        <a:cubicBezTo>
                                          <a:pt x="156992" y="1861999"/>
                                          <a:pt x="157765" y="1856733"/>
                                          <a:pt x="161493" y="1854403"/>
                                        </a:cubicBezTo>
                                        <a:cubicBezTo>
                                          <a:pt x="168032" y="1850316"/>
                                          <a:pt x="183438" y="1847088"/>
                                          <a:pt x="183438" y="1847088"/>
                                        </a:cubicBezTo>
                                        <a:cubicBezTo>
                                          <a:pt x="186806" y="1843720"/>
                                          <a:pt x="197125" y="1835584"/>
                                          <a:pt x="194411" y="1828800"/>
                                        </a:cubicBezTo>
                                        <a:cubicBezTo>
                                          <a:pt x="192778" y="1824719"/>
                                          <a:pt x="187370" y="1823451"/>
                                          <a:pt x="183438" y="1821485"/>
                                        </a:cubicBezTo>
                                        <a:cubicBezTo>
                                          <a:pt x="174431" y="1816981"/>
                                          <a:pt x="158955" y="1815576"/>
                                          <a:pt x="150520" y="1814170"/>
                                        </a:cubicBezTo>
                                        <a:cubicBezTo>
                                          <a:pt x="142085" y="1815576"/>
                                          <a:pt x="126609" y="1816981"/>
                                          <a:pt x="117602" y="1821485"/>
                                        </a:cubicBezTo>
                                        <a:cubicBezTo>
                                          <a:pt x="113670" y="1823451"/>
                                          <a:pt x="110287" y="1826362"/>
                                          <a:pt x="106629" y="1828800"/>
                                        </a:cubicBezTo>
                                        <a:cubicBezTo>
                                          <a:pt x="104191" y="1832458"/>
                                          <a:pt x="103042" y="1837443"/>
                                          <a:pt x="99314" y="1839773"/>
                                        </a:cubicBezTo>
                                        <a:cubicBezTo>
                                          <a:pt x="92775" y="1843860"/>
                                          <a:pt x="77368" y="1847088"/>
                                          <a:pt x="77368" y="1847088"/>
                                        </a:cubicBezTo>
                                        <a:cubicBezTo>
                                          <a:pt x="67615" y="1876349"/>
                                          <a:pt x="72491" y="1876349"/>
                                          <a:pt x="62738" y="1847088"/>
                                        </a:cubicBezTo>
                                        <a:lnTo>
                                          <a:pt x="62738" y="1847088"/>
                                        </a:lnTo>
                                        <a:lnTo>
                                          <a:pt x="51765" y="1843431"/>
                                        </a:lnTo>
                                        <a:cubicBezTo>
                                          <a:pt x="48107" y="1844650"/>
                                          <a:pt x="42224" y="1850668"/>
                                          <a:pt x="40792" y="1847088"/>
                                        </a:cubicBezTo>
                                        <a:cubicBezTo>
                                          <a:pt x="38038" y="1840202"/>
                                          <a:pt x="38596" y="1829696"/>
                                          <a:pt x="44450" y="1825143"/>
                                        </a:cubicBezTo>
                                        <a:cubicBezTo>
                                          <a:pt x="52209" y="1819108"/>
                                          <a:pt x="63957" y="1822704"/>
                                          <a:pt x="73710" y="1821485"/>
                                        </a:cubicBezTo>
                                        <a:cubicBezTo>
                                          <a:pt x="74929" y="1817827"/>
                                          <a:pt x="75644" y="1813961"/>
                                          <a:pt x="77368" y="1810512"/>
                                        </a:cubicBezTo>
                                        <a:cubicBezTo>
                                          <a:pt x="79334" y="1806580"/>
                                          <a:pt x="84285" y="1803917"/>
                                          <a:pt x="84683" y="1799539"/>
                                        </a:cubicBezTo>
                                        <a:cubicBezTo>
                                          <a:pt x="85573" y="1789750"/>
                                          <a:pt x="82245" y="1780032"/>
                                          <a:pt x="81026" y="1770279"/>
                                        </a:cubicBezTo>
                                        <a:cubicBezTo>
                                          <a:pt x="72491" y="1771498"/>
                                          <a:pt x="63876" y="1772245"/>
                                          <a:pt x="55422" y="1773936"/>
                                        </a:cubicBezTo>
                                        <a:cubicBezTo>
                                          <a:pt x="51642" y="1774692"/>
                                          <a:pt x="47898" y="1779318"/>
                                          <a:pt x="44450" y="1777594"/>
                                        </a:cubicBezTo>
                                        <a:cubicBezTo>
                                          <a:pt x="41001" y="1775870"/>
                                          <a:pt x="42011" y="1770279"/>
                                          <a:pt x="40792" y="1766621"/>
                                        </a:cubicBezTo>
                                        <a:lnTo>
                                          <a:pt x="62738" y="1759306"/>
                                        </a:lnTo>
                                        <a:lnTo>
                                          <a:pt x="73710" y="1755648"/>
                                        </a:lnTo>
                                        <a:cubicBezTo>
                                          <a:pt x="76149" y="1753210"/>
                                          <a:pt x="79252" y="1751290"/>
                                          <a:pt x="81026" y="1748333"/>
                                        </a:cubicBezTo>
                                        <a:cubicBezTo>
                                          <a:pt x="83010" y="1745027"/>
                                          <a:pt x="86115" y="1740940"/>
                                          <a:pt x="84683" y="1737360"/>
                                        </a:cubicBezTo>
                                        <a:cubicBezTo>
                                          <a:pt x="81407" y="1729171"/>
                                          <a:pt x="59820" y="1727267"/>
                                          <a:pt x="55422" y="1726387"/>
                                        </a:cubicBezTo>
                                        <a:cubicBezTo>
                                          <a:pt x="54812" y="1724558"/>
                                          <a:pt x="46279" y="1706271"/>
                                          <a:pt x="55422" y="1704442"/>
                                        </a:cubicBezTo>
                                        <a:cubicBezTo>
                                          <a:pt x="60769" y="1703373"/>
                                          <a:pt x="53594" y="1714805"/>
                                          <a:pt x="70053" y="1711757"/>
                                        </a:cubicBezTo>
                                        <a:lnTo>
                                          <a:pt x="99314" y="1711757"/>
                                        </a:lnTo>
                                        <a:cubicBezTo>
                                          <a:pt x="128747" y="1714210"/>
                                          <a:pt x="135628" y="1712410"/>
                                          <a:pt x="157835" y="1719072"/>
                                        </a:cubicBezTo>
                                        <a:cubicBezTo>
                                          <a:pt x="165221" y="1721288"/>
                                          <a:pt x="172466" y="1723949"/>
                                          <a:pt x="179781" y="1726387"/>
                                        </a:cubicBezTo>
                                        <a:lnTo>
                                          <a:pt x="190754" y="1730045"/>
                                        </a:lnTo>
                                        <a:cubicBezTo>
                                          <a:pt x="199288" y="1755649"/>
                                          <a:pt x="190754" y="1749553"/>
                                          <a:pt x="209042" y="1755648"/>
                                        </a:cubicBezTo>
                                        <a:cubicBezTo>
                                          <a:pt x="212699" y="1754429"/>
                                          <a:pt x="217288" y="1754717"/>
                                          <a:pt x="220014" y="1751991"/>
                                        </a:cubicBezTo>
                                        <a:cubicBezTo>
                                          <a:pt x="222740" y="1749265"/>
                                          <a:pt x="220661" y="1743427"/>
                                          <a:pt x="223672" y="1741018"/>
                                        </a:cubicBezTo>
                                        <a:cubicBezTo>
                                          <a:pt x="227597" y="1737878"/>
                                          <a:pt x="233469" y="1738741"/>
                                          <a:pt x="238302" y="1737360"/>
                                        </a:cubicBezTo>
                                        <a:cubicBezTo>
                                          <a:pt x="242009" y="1736301"/>
                                          <a:pt x="245617" y="1734922"/>
                                          <a:pt x="249275" y="1733703"/>
                                        </a:cubicBezTo>
                                        <a:cubicBezTo>
                                          <a:pt x="266632" y="1716346"/>
                                          <a:pt x="261725" y="1725615"/>
                                          <a:pt x="267563" y="1708099"/>
                                        </a:cubicBezTo>
                                        <a:cubicBezTo>
                                          <a:pt x="268052" y="1704185"/>
                                          <a:pt x="275922" y="1663859"/>
                                          <a:pt x="267563" y="1656893"/>
                                        </a:cubicBezTo>
                                        <a:cubicBezTo>
                                          <a:pt x="265042" y="1654792"/>
                                          <a:pt x="243050" y="1662626"/>
                                          <a:pt x="238302" y="1664208"/>
                                        </a:cubicBezTo>
                                        <a:cubicBezTo>
                                          <a:pt x="229597" y="1690324"/>
                                          <a:pt x="237403" y="1681877"/>
                                          <a:pt x="220014" y="1693469"/>
                                        </a:cubicBezTo>
                                        <a:cubicBezTo>
                                          <a:pt x="217576" y="1689811"/>
                                          <a:pt x="216869" y="1683886"/>
                                          <a:pt x="212699" y="1682496"/>
                                        </a:cubicBezTo>
                                        <a:cubicBezTo>
                                          <a:pt x="201075" y="1678621"/>
                                          <a:pt x="188301" y="1680192"/>
                                          <a:pt x="176123" y="1678839"/>
                                        </a:cubicBezTo>
                                        <a:cubicBezTo>
                                          <a:pt x="166354" y="1677754"/>
                                          <a:pt x="156616" y="1676400"/>
                                          <a:pt x="146862" y="1675181"/>
                                        </a:cubicBezTo>
                                        <a:cubicBezTo>
                                          <a:pt x="143205" y="1673962"/>
                                          <a:pt x="139745" y="1671523"/>
                                          <a:pt x="135890" y="1671523"/>
                                        </a:cubicBezTo>
                                        <a:cubicBezTo>
                                          <a:pt x="114825" y="1671523"/>
                                          <a:pt x="106010" y="1674421"/>
                                          <a:pt x="88341" y="1678839"/>
                                        </a:cubicBezTo>
                                        <a:cubicBezTo>
                                          <a:pt x="79807" y="1677620"/>
                                          <a:pt x="69635" y="1680354"/>
                                          <a:pt x="62738" y="1675181"/>
                                        </a:cubicBezTo>
                                        <a:cubicBezTo>
                                          <a:pt x="59221" y="1672544"/>
                                          <a:pt x="69412" y="1668787"/>
                                          <a:pt x="73710" y="1667866"/>
                                        </a:cubicBezTo>
                                        <a:cubicBezTo>
                                          <a:pt x="86878" y="1665044"/>
                                          <a:pt x="100533" y="1665427"/>
                                          <a:pt x="113944" y="1664208"/>
                                        </a:cubicBezTo>
                                        <a:cubicBezTo>
                                          <a:pt x="111506" y="1660550"/>
                                          <a:pt x="110357" y="1655565"/>
                                          <a:pt x="106629" y="1653235"/>
                                        </a:cubicBezTo>
                                        <a:cubicBezTo>
                                          <a:pt x="100090" y="1649148"/>
                                          <a:pt x="84683" y="1645920"/>
                                          <a:pt x="84683" y="1645920"/>
                                        </a:cubicBezTo>
                                        <a:cubicBezTo>
                                          <a:pt x="82245" y="1642262"/>
                                          <a:pt x="74260" y="1638055"/>
                                          <a:pt x="77368" y="1634947"/>
                                        </a:cubicBezTo>
                                        <a:cubicBezTo>
                                          <a:pt x="80922" y="1631393"/>
                                          <a:pt x="87165" y="1637224"/>
                                          <a:pt x="91998" y="1638605"/>
                                        </a:cubicBezTo>
                                        <a:cubicBezTo>
                                          <a:pt x="122830" y="1647415"/>
                                          <a:pt x="81875" y="1635835"/>
                                          <a:pt x="113944" y="1649578"/>
                                        </a:cubicBezTo>
                                        <a:cubicBezTo>
                                          <a:pt x="118564" y="1651558"/>
                                          <a:pt x="123697" y="1652016"/>
                                          <a:pt x="128574" y="1653235"/>
                                        </a:cubicBezTo>
                                        <a:cubicBezTo>
                                          <a:pt x="131013" y="1650797"/>
                                          <a:pt x="135890" y="1649369"/>
                                          <a:pt x="135890" y="1645920"/>
                                        </a:cubicBezTo>
                                        <a:cubicBezTo>
                                          <a:pt x="135890" y="1641524"/>
                                          <a:pt x="131683" y="1638056"/>
                                          <a:pt x="128574" y="1634947"/>
                                        </a:cubicBezTo>
                                        <a:cubicBezTo>
                                          <a:pt x="125466" y="1631839"/>
                                          <a:pt x="121034" y="1630378"/>
                                          <a:pt x="117602" y="1627632"/>
                                        </a:cubicBezTo>
                                        <a:cubicBezTo>
                                          <a:pt x="103258" y="1616157"/>
                                          <a:pt x="118367" y="1623011"/>
                                          <a:pt x="99314" y="1616659"/>
                                        </a:cubicBezTo>
                                        <a:cubicBezTo>
                                          <a:pt x="98095" y="1613002"/>
                                          <a:pt x="97640" y="1608993"/>
                                          <a:pt x="95656" y="1605687"/>
                                        </a:cubicBezTo>
                                        <a:cubicBezTo>
                                          <a:pt x="93882" y="1602730"/>
                                          <a:pt x="90495" y="1601064"/>
                                          <a:pt x="88341" y="1598371"/>
                                        </a:cubicBezTo>
                                        <a:cubicBezTo>
                                          <a:pt x="85595" y="1594939"/>
                                          <a:pt x="83464" y="1591056"/>
                                          <a:pt x="81026" y="1587399"/>
                                        </a:cubicBezTo>
                                        <a:cubicBezTo>
                                          <a:pt x="83464" y="1584960"/>
                                          <a:pt x="85384" y="1581857"/>
                                          <a:pt x="88341" y="1580083"/>
                                        </a:cubicBezTo>
                                        <a:cubicBezTo>
                                          <a:pt x="105973" y="1569504"/>
                                          <a:pt x="155709" y="1579950"/>
                                          <a:pt x="157835" y="1580083"/>
                                        </a:cubicBezTo>
                                        <a:cubicBezTo>
                                          <a:pt x="162712" y="1581302"/>
                                          <a:pt x="174904" y="1586179"/>
                                          <a:pt x="172466" y="1583741"/>
                                        </a:cubicBezTo>
                                        <a:lnTo>
                                          <a:pt x="198069" y="1587399"/>
                                        </a:lnTo>
                                        <a:cubicBezTo>
                                          <a:pt x="205384" y="1578864"/>
                                          <a:pt x="227416" y="1570254"/>
                                          <a:pt x="220014" y="1561795"/>
                                        </a:cubicBezTo>
                                        <a:cubicBezTo>
                                          <a:pt x="209546" y="1549832"/>
                                          <a:pt x="188053" y="1561255"/>
                                          <a:pt x="172466" y="1558138"/>
                                        </a:cubicBezTo>
                                        <a:cubicBezTo>
                                          <a:pt x="169084" y="1557462"/>
                                          <a:pt x="167843" y="1552977"/>
                                          <a:pt x="165150" y="1550823"/>
                                        </a:cubicBezTo>
                                        <a:cubicBezTo>
                                          <a:pt x="161718" y="1548077"/>
                                          <a:pt x="158110" y="1545473"/>
                                          <a:pt x="154178" y="1543507"/>
                                        </a:cubicBezTo>
                                        <a:cubicBezTo>
                                          <a:pt x="141927" y="1537381"/>
                                          <a:pt x="120703" y="1537350"/>
                                          <a:pt x="110286" y="1536192"/>
                                        </a:cubicBezTo>
                                        <a:cubicBezTo>
                                          <a:pt x="147901" y="1523656"/>
                                          <a:pt x="97055" y="1543853"/>
                                          <a:pt x="124917" y="1521562"/>
                                        </a:cubicBezTo>
                                        <a:cubicBezTo>
                                          <a:pt x="128842" y="1518422"/>
                                          <a:pt x="134601" y="1518803"/>
                                          <a:pt x="139547" y="1517904"/>
                                        </a:cubicBezTo>
                                        <a:cubicBezTo>
                                          <a:pt x="148029" y="1516362"/>
                                          <a:pt x="156616" y="1515466"/>
                                          <a:pt x="165150" y="1514247"/>
                                        </a:cubicBezTo>
                                        <a:cubicBezTo>
                                          <a:pt x="168808" y="1513028"/>
                                          <a:pt x="173714" y="1513600"/>
                                          <a:pt x="176123" y="1510589"/>
                                        </a:cubicBezTo>
                                        <a:cubicBezTo>
                                          <a:pt x="179263" y="1506664"/>
                                          <a:pt x="178400" y="1500792"/>
                                          <a:pt x="179781" y="1495959"/>
                                        </a:cubicBezTo>
                                        <a:cubicBezTo>
                                          <a:pt x="180840" y="1492252"/>
                                          <a:pt x="182219" y="1488644"/>
                                          <a:pt x="183438" y="1484986"/>
                                        </a:cubicBezTo>
                                        <a:cubicBezTo>
                                          <a:pt x="189534" y="1486205"/>
                                          <a:pt x="197330" y="1484247"/>
                                          <a:pt x="201726" y="1488643"/>
                                        </a:cubicBezTo>
                                        <a:cubicBezTo>
                                          <a:pt x="232625" y="1519541"/>
                                          <a:pt x="183061" y="1499489"/>
                                          <a:pt x="216357" y="1510589"/>
                                        </a:cubicBezTo>
                                        <a:cubicBezTo>
                                          <a:pt x="218795" y="1506931"/>
                                          <a:pt x="216966" y="1487424"/>
                                          <a:pt x="223672" y="1499616"/>
                                        </a:cubicBezTo>
                                        <a:lnTo>
                                          <a:pt x="241960" y="1499616"/>
                                        </a:lnTo>
                                        <a:cubicBezTo>
                                          <a:pt x="240718" y="1510797"/>
                                          <a:pt x="227961" y="1536806"/>
                                          <a:pt x="249275" y="1539850"/>
                                        </a:cubicBezTo>
                                        <a:cubicBezTo>
                                          <a:pt x="254252" y="1540561"/>
                                          <a:pt x="259029" y="1537411"/>
                                          <a:pt x="263906" y="1536192"/>
                                        </a:cubicBezTo>
                                        <a:cubicBezTo>
                                          <a:pt x="265125" y="1532534"/>
                                          <a:pt x="264426" y="1527460"/>
                                          <a:pt x="267563" y="1525219"/>
                                        </a:cubicBezTo>
                                        <a:cubicBezTo>
                                          <a:pt x="273838" y="1520737"/>
                                          <a:pt x="289509" y="1517904"/>
                                          <a:pt x="289509" y="1517904"/>
                                        </a:cubicBezTo>
                                        <a:cubicBezTo>
                                          <a:pt x="295885" y="1498771"/>
                                          <a:pt x="295323" y="1512652"/>
                                          <a:pt x="282194" y="1503274"/>
                                        </a:cubicBezTo>
                                        <a:cubicBezTo>
                                          <a:pt x="276582" y="1499265"/>
                                          <a:pt x="267563" y="1488643"/>
                                          <a:pt x="267563" y="1488643"/>
                                        </a:cubicBezTo>
                                        <a:cubicBezTo>
                                          <a:pt x="266344" y="1484986"/>
                                          <a:pt x="266632" y="1480397"/>
                                          <a:pt x="263906" y="1477671"/>
                                        </a:cubicBezTo>
                                        <a:cubicBezTo>
                                          <a:pt x="261180" y="1474945"/>
                                          <a:pt x="256382" y="1475737"/>
                                          <a:pt x="252933" y="1474013"/>
                                        </a:cubicBezTo>
                                        <a:cubicBezTo>
                                          <a:pt x="224571" y="1459832"/>
                                          <a:pt x="258568" y="1472235"/>
                                          <a:pt x="230987" y="1463040"/>
                                        </a:cubicBezTo>
                                        <a:cubicBezTo>
                                          <a:pt x="229768" y="1459382"/>
                                          <a:pt x="224604" y="1454793"/>
                                          <a:pt x="227330" y="1452067"/>
                                        </a:cubicBezTo>
                                        <a:cubicBezTo>
                                          <a:pt x="230056" y="1449341"/>
                                          <a:pt x="234509" y="1455035"/>
                                          <a:pt x="238302" y="1455725"/>
                                        </a:cubicBezTo>
                                        <a:cubicBezTo>
                                          <a:pt x="247973" y="1457484"/>
                                          <a:pt x="257867" y="1457767"/>
                                          <a:pt x="267563" y="1459383"/>
                                        </a:cubicBezTo>
                                        <a:cubicBezTo>
                                          <a:pt x="276757" y="1460915"/>
                                          <a:pt x="284463" y="1463796"/>
                                          <a:pt x="293166" y="1466698"/>
                                        </a:cubicBezTo>
                                        <a:cubicBezTo>
                                          <a:pt x="296350" y="1469881"/>
                                          <a:pt x="306842" y="1481328"/>
                                          <a:pt x="311454" y="1481328"/>
                                        </a:cubicBezTo>
                                        <a:cubicBezTo>
                                          <a:pt x="314903" y="1481328"/>
                                          <a:pt x="315813" y="1475787"/>
                                          <a:pt x="318770" y="1474013"/>
                                        </a:cubicBezTo>
                                        <a:cubicBezTo>
                                          <a:pt x="322076" y="1472029"/>
                                          <a:pt x="326085" y="1471574"/>
                                          <a:pt x="329742" y="1470355"/>
                                        </a:cubicBezTo>
                                        <a:cubicBezTo>
                                          <a:pt x="348283" y="1451817"/>
                                          <a:pt x="324286" y="1473630"/>
                                          <a:pt x="348030" y="1459383"/>
                                        </a:cubicBezTo>
                                        <a:cubicBezTo>
                                          <a:pt x="350987" y="1457609"/>
                                          <a:pt x="352907" y="1454506"/>
                                          <a:pt x="355346" y="1452067"/>
                                        </a:cubicBezTo>
                                        <a:cubicBezTo>
                                          <a:pt x="356565" y="1448410"/>
                                          <a:pt x="359759" y="1444875"/>
                                          <a:pt x="359003" y="1441095"/>
                                        </a:cubicBezTo>
                                        <a:cubicBezTo>
                                          <a:pt x="357051" y="1431334"/>
                                          <a:pt x="337479" y="1430938"/>
                                          <a:pt x="333400" y="1430122"/>
                                        </a:cubicBezTo>
                                        <a:cubicBezTo>
                                          <a:pt x="329742" y="1427684"/>
                                          <a:pt x="326467" y="1424539"/>
                                          <a:pt x="322427" y="1422807"/>
                                        </a:cubicBezTo>
                                        <a:cubicBezTo>
                                          <a:pt x="317807" y="1420827"/>
                                          <a:pt x="311722" y="1422289"/>
                                          <a:pt x="307797" y="1419149"/>
                                        </a:cubicBezTo>
                                        <a:cubicBezTo>
                                          <a:pt x="304786" y="1416740"/>
                                          <a:pt x="306865" y="1410902"/>
                                          <a:pt x="304139" y="1408176"/>
                                        </a:cubicBezTo>
                                        <a:cubicBezTo>
                                          <a:pt x="301413" y="1405450"/>
                                          <a:pt x="296824" y="1405738"/>
                                          <a:pt x="293166" y="1404519"/>
                                        </a:cubicBezTo>
                                        <a:cubicBezTo>
                                          <a:pt x="290728" y="1402080"/>
                                          <a:pt x="284760" y="1400475"/>
                                          <a:pt x="285851" y="1397203"/>
                                        </a:cubicBezTo>
                                        <a:cubicBezTo>
                                          <a:pt x="287070" y="1393545"/>
                                          <a:pt x="293166" y="1392327"/>
                                          <a:pt x="296824" y="1393546"/>
                                        </a:cubicBezTo>
                                        <a:cubicBezTo>
                                          <a:pt x="296828" y="1393547"/>
                                          <a:pt x="324254" y="1411832"/>
                                          <a:pt x="329742" y="1415491"/>
                                        </a:cubicBezTo>
                                        <a:cubicBezTo>
                                          <a:pt x="333400" y="1417930"/>
                                          <a:pt x="336544" y="1421417"/>
                                          <a:pt x="340715" y="1422807"/>
                                        </a:cubicBezTo>
                                        <a:lnTo>
                                          <a:pt x="362661" y="1430122"/>
                                        </a:lnTo>
                                        <a:lnTo>
                                          <a:pt x="373634" y="1433779"/>
                                        </a:lnTo>
                                        <a:cubicBezTo>
                                          <a:pt x="376885" y="1437030"/>
                                          <a:pt x="385013" y="1450037"/>
                                          <a:pt x="388264" y="1433779"/>
                                        </a:cubicBezTo>
                                        <a:cubicBezTo>
                                          <a:pt x="389846" y="1425867"/>
                                          <a:pt x="381669" y="1419869"/>
                                          <a:pt x="377291" y="1415491"/>
                                        </a:cubicBezTo>
                                        <a:lnTo>
                                          <a:pt x="369976" y="1393546"/>
                                        </a:lnTo>
                                        <a:cubicBezTo>
                                          <a:pt x="368757" y="1389888"/>
                                          <a:pt x="372699" y="1400779"/>
                                          <a:pt x="373634" y="1404519"/>
                                        </a:cubicBezTo>
                                        <a:cubicBezTo>
                                          <a:pt x="381785" y="1437125"/>
                                          <a:pt x="373841" y="1426670"/>
                                          <a:pt x="388264" y="1441095"/>
                                        </a:cubicBezTo>
                                        <a:cubicBezTo>
                                          <a:pt x="393141" y="1433780"/>
                                          <a:pt x="401803" y="1427873"/>
                                          <a:pt x="402894" y="1419149"/>
                                        </a:cubicBezTo>
                                        <a:cubicBezTo>
                                          <a:pt x="407097" y="1385526"/>
                                          <a:pt x="398373" y="1395340"/>
                                          <a:pt x="417525" y="1382573"/>
                                        </a:cubicBezTo>
                                        <a:cubicBezTo>
                                          <a:pt x="419963" y="1375258"/>
                                          <a:pt x="418424" y="1364904"/>
                                          <a:pt x="424840" y="1360627"/>
                                        </a:cubicBezTo>
                                        <a:cubicBezTo>
                                          <a:pt x="428498" y="1358189"/>
                                          <a:pt x="431881" y="1355278"/>
                                          <a:pt x="435813" y="1353312"/>
                                        </a:cubicBezTo>
                                        <a:cubicBezTo>
                                          <a:pt x="450067" y="1346186"/>
                                          <a:pt x="463219" y="1349655"/>
                                          <a:pt x="479704" y="1349655"/>
                                        </a:cubicBezTo>
                                        <a:lnTo>
                                          <a:pt x="501650" y="1316736"/>
                                        </a:lnTo>
                                        <a:lnTo>
                                          <a:pt x="519938" y="1316736"/>
                                        </a:lnTo>
                                        <a:cubicBezTo>
                                          <a:pt x="522376" y="1327709"/>
                                          <a:pt x="524527" y="1338750"/>
                                          <a:pt x="527253" y="1349655"/>
                                        </a:cubicBezTo>
                                        <a:cubicBezTo>
                                          <a:pt x="528188" y="1353395"/>
                                          <a:pt x="527900" y="1358219"/>
                                          <a:pt x="530910" y="1360627"/>
                                        </a:cubicBezTo>
                                        <a:cubicBezTo>
                                          <a:pt x="534836" y="1363767"/>
                                          <a:pt x="540664" y="1363066"/>
                                          <a:pt x="545541" y="1364285"/>
                                        </a:cubicBezTo>
                                        <a:cubicBezTo>
                                          <a:pt x="546760" y="1367943"/>
                                          <a:pt x="546472" y="1372532"/>
                                          <a:pt x="549198" y="1375258"/>
                                        </a:cubicBezTo>
                                        <a:cubicBezTo>
                                          <a:pt x="562608" y="1388668"/>
                                          <a:pt x="560172" y="1374039"/>
                                          <a:pt x="563829" y="1367943"/>
                                        </a:cubicBezTo>
                                        <a:cubicBezTo>
                                          <a:pt x="565603" y="1364986"/>
                                          <a:pt x="567817" y="1361534"/>
                                          <a:pt x="571144" y="1360627"/>
                                        </a:cubicBezTo>
                                        <a:cubicBezTo>
                                          <a:pt x="581795" y="1357722"/>
                                          <a:pt x="593089" y="1358189"/>
                                          <a:pt x="604062" y="1356970"/>
                                        </a:cubicBezTo>
                                        <a:cubicBezTo>
                                          <a:pt x="608939" y="1352093"/>
                                          <a:pt x="616512" y="1348882"/>
                                          <a:pt x="618693" y="1342339"/>
                                        </a:cubicBezTo>
                                        <a:cubicBezTo>
                                          <a:pt x="619912" y="1338682"/>
                                          <a:pt x="619624" y="1334093"/>
                                          <a:pt x="622350" y="1331367"/>
                                        </a:cubicBezTo>
                                        <a:cubicBezTo>
                                          <a:pt x="625076" y="1328641"/>
                                          <a:pt x="629874" y="1329433"/>
                                          <a:pt x="633323" y="1327709"/>
                                        </a:cubicBezTo>
                                        <a:cubicBezTo>
                                          <a:pt x="661685" y="1313528"/>
                                          <a:pt x="627688" y="1325931"/>
                                          <a:pt x="655269" y="1316736"/>
                                        </a:cubicBezTo>
                                        <a:cubicBezTo>
                                          <a:pt x="657707" y="1313078"/>
                                          <a:pt x="660799" y="1309780"/>
                                          <a:pt x="662584" y="1305763"/>
                                        </a:cubicBezTo>
                                        <a:cubicBezTo>
                                          <a:pt x="665716" y="1298717"/>
                                          <a:pt x="669899" y="1283818"/>
                                          <a:pt x="669899" y="1283818"/>
                                        </a:cubicBezTo>
                                        <a:cubicBezTo>
                                          <a:pt x="667461" y="1280160"/>
                                          <a:pt x="661861" y="1277181"/>
                                          <a:pt x="662584" y="1272845"/>
                                        </a:cubicBezTo>
                                        <a:cubicBezTo>
                                          <a:pt x="663434" y="1267743"/>
                                          <a:pt x="670688" y="1266176"/>
                                          <a:pt x="673557" y="1261872"/>
                                        </a:cubicBezTo>
                                        <a:cubicBezTo>
                                          <a:pt x="675696" y="1258664"/>
                                          <a:pt x="675995" y="1254557"/>
                                          <a:pt x="677214" y="1250899"/>
                                        </a:cubicBezTo>
                                        <a:cubicBezTo>
                                          <a:pt x="675995" y="1247242"/>
                                          <a:pt x="677320" y="1240763"/>
                                          <a:pt x="673557" y="1239927"/>
                                        </a:cubicBezTo>
                                        <a:cubicBezTo>
                                          <a:pt x="643536" y="1233256"/>
                                          <a:pt x="648945" y="1242406"/>
                                          <a:pt x="633323" y="1254557"/>
                                        </a:cubicBezTo>
                                        <a:cubicBezTo>
                                          <a:pt x="626383" y="1259954"/>
                                          <a:pt x="611378" y="1269187"/>
                                          <a:pt x="611378" y="1269187"/>
                                        </a:cubicBezTo>
                                        <a:cubicBezTo>
                                          <a:pt x="612630" y="1270022"/>
                                          <a:pt x="620522" y="1285037"/>
                                          <a:pt x="629666" y="1283818"/>
                                        </a:cubicBezTo>
                                        <a:lnTo>
                                          <a:pt x="604062" y="1298448"/>
                                        </a:lnTo>
                                        <a:lnTo>
                                          <a:pt x="574802" y="1309421"/>
                                        </a:lnTo>
                                        <a:cubicBezTo>
                                          <a:pt x="571179" y="1310739"/>
                                          <a:pt x="567610" y="1313835"/>
                                          <a:pt x="563829" y="1313079"/>
                                        </a:cubicBezTo>
                                        <a:cubicBezTo>
                                          <a:pt x="560447" y="1312403"/>
                                          <a:pt x="558952" y="1308202"/>
                                          <a:pt x="556514" y="1305763"/>
                                        </a:cubicBezTo>
                                        <a:cubicBezTo>
                                          <a:pt x="557733" y="1302106"/>
                                          <a:pt x="561895" y="1298239"/>
                                          <a:pt x="560171" y="1294791"/>
                                        </a:cubicBezTo>
                                        <a:cubicBezTo>
                                          <a:pt x="558447" y="1291343"/>
                                          <a:pt x="552905" y="1292192"/>
                                          <a:pt x="549198" y="1291133"/>
                                        </a:cubicBezTo>
                                        <a:cubicBezTo>
                                          <a:pt x="544365" y="1289752"/>
                                          <a:pt x="539445" y="1288694"/>
                                          <a:pt x="534568" y="1287475"/>
                                        </a:cubicBezTo>
                                        <a:cubicBezTo>
                                          <a:pt x="537006" y="1283818"/>
                                          <a:pt x="538156" y="1278833"/>
                                          <a:pt x="541883" y="1276503"/>
                                        </a:cubicBezTo>
                                        <a:cubicBezTo>
                                          <a:pt x="548422" y="1272416"/>
                                          <a:pt x="563829" y="1269187"/>
                                          <a:pt x="563829" y="1269187"/>
                                        </a:cubicBezTo>
                                        <a:cubicBezTo>
                                          <a:pt x="565048" y="1263091"/>
                                          <a:pt x="565037" y="1256613"/>
                                          <a:pt x="567486" y="1250899"/>
                                        </a:cubicBezTo>
                                        <a:cubicBezTo>
                                          <a:pt x="568844" y="1247729"/>
                                          <a:pt x="572648" y="1246277"/>
                                          <a:pt x="574802" y="1243584"/>
                                        </a:cubicBezTo>
                                        <a:cubicBezTo>
                                          <a:pt x="577548" y="1240151"/>
                                          <a:pt x="579679" y="1236269"/>
                                          <a:pt x="582117" y="1232611"/>
                                        </a:cubicBezTo>
                                        <a:cubicBezTo>
                                          <a:pt x="591308" y="1205036"/>
                                          <a:pt x="577841" y="1237954"/>
                                          <a:pt x="596747" y="1214323"/>
                                        </a:cubicBezTo>
                                        <a:cubicBezTo>
                                          <a:pt x="599155" y="1211313"/>
                                          <a:pt x="598421" y="1206657"/>
                                          <a:pt x="600405" y="1203351"/>
                                        </a:cubicBezTo>
                                        <a:cubicBezTo>
                                          <a:pt x="602179" y="1200394"/>
                                          <a:pt x="605566" y="1198728"/>
                                          <a:pt x="607720" y="1196035"/>
                                        </a:cubicBezTo>
                                        <a:cubicBezTo>
                                          <a:pt x="619751" y="1180996"/>
                                          <a:pt x="608604" y="1187207"/>
                                          <a:pt x="626008" y="1181405"/>
                                        </a:cubicBezTo>
                                        <a:cubicBezTo>
                                          <a:pt x="628749" y="1173184"/>
                                          <a:pt x="630365" y="1162883"/>
                                          <a:pt x="640638" y="1159459"/>
                                        </a:cubicBezTo>
                                        <a:lnTo>
                                          <a:pt x="651611" y="1163117"/>
                                        </a:lnTo>
                                        <a:cubicBezTo>
                                          <a:pt x="652830" y="1166775"/>
                                          <a:pt x="654433" y="1170326"/>
                                          <a:pt x="655269" y="1174090"/>
                                        </a:cubicBezTo>
                                        <a:cubicBezTo>
                                          <a:pt x="656878" y="1181329"/>
                                          <a:pt x="655247" y="1189596"/>
                                          <a:pt x="658926" y="1196035"/>
                                        </a:cubicBezTo>
                                        <a:cubicBezTo>
                                          <a:pt x="660839" y="1199383"/>
                                          <a:pt x="666241" y="1198474"/>
                                          <a:pt x="669899" y="1199693"/>
                                        </a:cubicBezTo>
                                        <a:lnTo>
                                          <a:pt x="691845" y="1185063"/>
                                        </a:lnTo>
                                        <a:lnTo>
                                          <a:pt x="702818" y="1177747"/>
                                        </a:lnTo>
                                        <a:cubicBezTo>
                                          <a:pt x="706475" y="1175309"/>
                                          <a:pt x="710682" y="1173540"/>
                                          <a:pt x="713790" y="1170432"/>
                                        </a:cubicBezTo>
                                        <a:lnTo>
                                          <a:pt x="721106" y="1163117"/>
                                        </a:lnTo>
                                        <a:cubicBezTo>
                                          <a:pt x="718667" y="1160679"/>
                                          <a:pt x="715564" y="1158759"/>
                                          <a:pt x="713790" y="1155802"/>
                                        </a:cubicBezTo>
                                        <a:cubicBezTo>
                                          <a:pt x="708118" y="1146348"/>
                                          <a:pt x="709457" y="1136650"/>
                                          <a:pt x="713790" y="1126541"/>
                                        </a:cubicBezTo>
                                        <a:cubicBezTo>
                                          <a:pt x="715148" y="1123371"/>
                                          <a:pt x="675386" y="1124712"/>
                                          <a:pt x="721106" y="1119226"/>
                                        </a:cubicBezTo>
                                        <a:lnTo>
                                          <a:pt x="743051" y="1093623"/>
                                        </a:lnTo>
                                        <a:cubicBezTo>
                                          <a:pt x="724763" y="1094842"/>
                                          <a:pt x="706516" y="1097280"/>
                                          <a:pt x="688187" y="1097280"/>
                                        </a:cubicBezTo>
                                        <a:cubicBezTo>
                                          <a:pt x="680771" y="1097280"/>
                                          <a:pt x="703189" y="1096227"/>
                                          <a:pt x="710133" y="1093623"/>
                                        </a:cubicBezTo>
                                        <a:cubicBezTo>
                                          <a:pt x="713362" y="1092412"/>
                                          <a:pt x="714755" y="1088461"/>
                                          <a:pt x="717448" y="1086307"/>
                                        </a:cubicBezTo>
                                        <a:cubicBezTo>
                                          <a:pt x="727576" y="1078204"/>
                                          <a:pt x="727805" y="1079197"/>
                                          <a:pt x="739394" y="1075335"/>
                                        </a:cubicBezTo>
                                        <a:cubicBezTo>
                                          <a:pt x="743051" y="1076554"/>
                                          <a:pt x="746511" y="1078992"/>
                                          <a:pt x="750366" y="1078992"/>
                                        </a:cubicBezTo>
                                        <a:cubicBezTo>
                                          <a:pt x="755393" y="1078992"/>
                                          <a:pt x="760163" y="1076716"/>
                                          <a:pt x="764997" y="1075335"/>
                                        </a:cubicBezTo>
                                        <a:cubicBezTo>
                                          <a:pt x="768704" y="1074276"/>
                                          <a:pt x="772522" y="1073401"/>
                                          <a:pt x="775970" y="1071677"/>
                                        </a:cubicBezTo>
                                        <a:cubicBezTo>
                                          <a:pt x="785196" y="1067064"/>
                                          <a:pt x="787455" y="1063849"/>
                                          <a:pt x="794258" y="1057047"/>
                                        </a:cubicBezTo>
                                        <a:cubicBezTo>
                                          <a:pt x="803553" y="1029158"/>
                                          <a:pt x="795384" y="1065713"/>
                                          <a:pt x="775970" y="1042416"/>
                                        </a:cubicBezTo>
                                        <a:cubicBezTo>
                                          <a:pt x="771990" y="1037640"/>
                                          <a:pt x="777444" y="1029949"/>
                                          <a:pt x="779627" y="1024128"/>
                                        </a:cubicBezTo>
                                        <a:cubicBezTo>
                                          <a:pt x="781170" y="1020012"/>
                                          <a:pt x="784196" y="1016588"/>
                                          <a:pt x="786942" y="1013155"/>
                                        </a:cubicBezTo>
                                        <a:cubicBezTo>
                                          <a:pt x="792897" y="1005712"/>
                                          <a:pt x="797086" y="1003955"/>
                                          <a:pt x="805230" y="998525"/>
                                        </a:cubicBezTo>
                                        <a:cubicBezTo>
                                          <a:pt x="806449" y="994867"/>
                                          <a:pt x="810320" y="991132"/>
                                          <a:pt x="808888" y="987552"/>
                                        </a:cubicBezTo>
                                        <a:cubicBezTo>
                                          <a:pt x="807255" y="983470"/>
                                          <a:pt x="798981" y="984502"/>
                                          <a:pt x="797915" y="980237"/>
                                        </a:cubicBezTo>
                                        <a:cubicBezTo>
                                          <a:pt x="792303" y="957789"/>
                                          <a:pt x="799686" y="958920"/>
                                          <a:pt x="812546" y="954634"/>
                                        </a:cubicBezTo>
                                        <a:cubicBezTo>
                                          <a:pt x="814984" y="950976"/>
                                          <a:pt x="817895" y="947593"/>
                                          <a:pt x="819861" y="943661"/>
                                        </a:cubicBezTo>
                                        <a:cubicBezTo>
                                          <a:pt x="826973" y="929435"/>
                                          <a:pt x="820150" y="934452"/>
                                          <a:pt x="827176" y="918058"/>
                                        </a:cubicBezTo>
                                        <a:cubicBezTo>
                                          <a:pt x="828908" y="914018"/>
                                          <a:pt x="832053" y="910743"/>
                                          <a:pt x="834491" y="907085"/>
                                        </a:cubicBezTo>
                                        <a:cubicBezTo>
                                          <a:pt x="833272" y="903427"/>
                                          <a:pt x="829110" y="899560"/>
                                          <a:pt x="830834" y="896112"/>
                                        </a:cubicBezTo>
                                        <a:cubicBezTo>
                                          <a:pt x="832558" y="892664"/>
                                          <a:pt x="837951" y="892455"/>
                                          <a:pt x="841806" y="892455"/>
                                        </a:cubicBezTo>
                                        <a:cubicBezTo>
                                          <a:pt x="852847" y="892455"/>
                                          <a:pt x="863752" y="894893"/>
                                          <a:pt x="874725" y="896112"/>
                                        </a:cubicBezTo>
                                        <a:cubicBezTo>
                                          <a:pt x="882040" y="894893"/>
                                          <a:pt x="889726" y="895059"/>
                                          <a:pt x="896670" y="892455"/>
                                        </a:cubicBezTo>
                                        <a:cubicBezTo>
                                          <a:pt x="899899" y="891244"/>
                                          <a:pt x="901293" y="887293"/>
                                          <a:pt x="903986" y="885139"/>
                                        </a:cubicBezTo>
                                        <a:cubicBezTo>
                                          <a:pt x="907418" y="882393"/>
                                          <a:pt x="911301" y="880262"/>
                                          <a:pt x="914958" y="877824"/>
                                        </a:cubicBezTo>
                                        <a:cubicBezTo>
                                          <a:pt x="916177" y="874166"/>
                                          <a:pt x="920340" y="870300"/>
                                          <a:pt x="918616" y="866851"/>
                                        </a:cubicBezTo>
                                        <a:cubicBezTo>
                                          <a:pt x="916892" y="863403"/>
                                          <a:pt x="911350" y="864253"/>
                                          <a:pt x="907643" y="863194"/>
                                        </a:cubicBezTo>
                                        <a:cubicBezTo>
                                          <a:pt x="902810" y="861813"/>
                                          <a:pt x="897890" y="860755"/>
                                          <a:pt x="893013" y="859536"/>
                                        </a:cubicBezTo>
                                        <a:cubicBezTo>
                                          <a:pt x="889355" y="857098"/>
                                          <a:pt x="884786" y="855654"/>
                                          <a:pt x="882040" y="852221"/>
                                        </a:cubicBezTo>
                                        <a:cubicBezTo>
                                          <a:pt x="879631" y="849210"/>
                                          <a:pt x="881590" y="843387"/>
                                          <a:pt x="878382" y="841248"/>
                                        </a:cubicBezTo>
                                        <a:cubicBezTo>
                                          <a:pt x="873209" y="837800"/>
                                          <a:pt x="866190" y="838810"/>
                                          <a:pt x="860094" y="837591"/>
                                        </a:cubicBezTo>
                                        <a:cubicBezTo>
                                          <a:pt x="863752" y="836372"/>
                                          <a:pt x="867618" y="835657"/>
                                          <a:pt x="871067" y="833933"/>
                                        </a:cubicBezTo>
                                        <a:cubicBezTo>
                                          <a:pt x="899429" y="819752"/>
                                          <a:pt x="865432" y="832155"/>
                                          <a:pt x="893013" y="822960"/>
                                        </a:cubicBezTo>
                                        <a:cubicBezTo>
                                          <a:pt x="897441" y="809674"/>
                                          <a:pt x="896670" y="815842"/>
                                          <a:pt x="896670" y="804672"/>
                                        </a:cubicBezTo>
                                        <a:lnTo>
                                          <a:pt x="918616" y="775411"/>
                                        </a:lnTo>
                                        <a:cubicBezTo>
                                          <a:pt x="910082" y="766877"/>
                                          <a:pt x="899223" y="760157"/>
                                          <a:pt x="893013" y="749808"/>
                                        </a:cubicBezTo>
                                        <a:cubicBezTo>
                                          <a:pt x="886651" y="739205"/>
                                          <a:pt x="904250" y="736026"/>
                                          <a:pt x="907643" y="735178"/>
                                        </a:cubicBezTo>
                                        <a:cubicBezTo>
                                          <a:pt x="913674" y="733670"/>
                                          <a:pt x="919862" y="732869"/>
                                          <a:pt x="925931" y="731520"/>
                                        </a:cubicBezTo>
                                        <a:cubicBezTo>
                                          <a:pt x="939719" y="728456"/>
                                          <a:pt x="939308" y="728281"/>
                                          <a:pt x="951534" y="724205"/>
                                        </a:cubicBezTo>
                                        <a:cubicBezTo>
                                          <a:pt x="961288" y="725424"/>
                                          <a:pt x="971184" y="725803"/>
                                          <a:pt x="980795" y="727863"/>
                                        </a:cubicBezTo>
                                        <a:cubicBezTo>
                                          <a:pt x="988335" y="729479"/>
                                          <a:pt x="1002741" y="735178"/>
                                          <a:pt x="1002741" y="735178"/>
                                        </a:cubicBezTo>
                                        <a:cubicBezTo>
                                          <a:pt x="1007618" y="733959"/>
                                          <a:pt x="1012556" y="732964"/>
                                          <a:pt x="1017371" y="731520"/>
                                        </a:cubicBezTo>
                                        <a:cubicBezTo>
                                          <a:pt x="1024757" y="729304"/>
                                          <a:pt x="1039317" y="724205"/>
                                          <a:pt x="1039317" y="724205"/>
                                        </a:cubicBezTo>
                                        <a:cubicBezTo>
                                          <a:pt x="1047407" y="716115"/>
                                          <a:pt x="1050290" y="707136"/>
                                          <a:pt x="1057605" y="702259"/>
                                        </a:cubicBezTo>
                                        <a:lnTo>
                                          <a:pt x="1032002" y="691287"/>
                                        </a:lnTo>
                                        <a:cubicBezTo>
                                          <a:pt x="1021029" y="688848"/>
                                          <a:pt x="1010285" y="684905"/>
                                          <a:pt x="999083" y="683971"/>
                                        </a:cubicBezTo>
                                        <a:cubicBezTo>
                                          <a:pt x="995241" y="683651"/>
                                          <a:pt x="991559" y="689353"/>
                                          <a:pt x="988110" y="687629"/>
                                        </a:cubicBezTo>
                                        <a:cubicBezTo>
                                          <a:pt x="984662" y="685905"/>
                                          <a:pt x="985672" y="680314"/>
                                          <a:pt x="984453" y="676656"/>
                                        </a:cubicBezTo>
                                        <a:cubicBezTo>
                                          <a:pt x="985672" y="672998"/>
                                          <a:pt x="985702" y="668694"/>
                                          <a:pt x="988110" y="665683"/>
                                        </a:cubicBezTo>
                                        <a:cubicBezTo>
                                          <a:pt x="990856" y="662250"/>
                                          <a:pt x="994747" y="659091"/>
                                          <a:pt x="999083" y="658368"/>
                                        </a:cubicBezTo>
                                        <a:cubicBezTo>
                                          <a:pt x="1005140" y="657359"/>
                                          <a:pt x="1017208" y="666794"/>
                                          <a:pt x="1021029" y="669341"/>
                                        </a:cubicBezTo>
                                        <a:cubicBezTo>
                                          <a:pt x="1030783" y="668122"/>
                                          <a:pt x="1043339" y="672634"/>
                                          <a:pt x="1050290" y="665683"/>
                                        </a:cubicBezTo>
                                        <a:cubicBezTo>
                                          <a:pt x="1097853" y="618120"/>
                                          <a:pt x="1027587" y="645210"/>
                                          <a:pt x="1064920" y="632765"/>
                                        </a:cubicBezTo>
                                        <a:cubicBezTo>
                                          <a:pt x="1066139" y="627888"/>
                                          <a:pt x="1066330" y="622631"/>
                                          <a:pt x="1068578" y="618135"/>
                                        </a:cubicBezTo>
                                        <a:cubicBezTo>
                                          <a:pt x="1075093" y="605105"/>
                                          <a:pt x="1083744" y="616053"/>
                                          <a:pt x="1064920" y="603504"/>
                                        </a:cubicBezTo>
                                        <a:cubicBezTo>
                                          <a:pt x="1053947" y="604723"/>
                                          <a:pt x="1042892" y="605347"/>
                                          <a:pt x="1032002" y="607162"/>
                                        </a:cubicBezTo>
                                        <a:cubicBezTo>
                                          <a:pt x="1028199" y="607796"/>
                                          <a:pt x="1022753" y="614267"/>
                                          <a:pt x="1021029" y="610819"/>
                                        </a:cubicBezTo>
                                        <a:cubicBezTo>
                                          <a:pt x="1016034" y="600830"/>
                                          <a:pt x="1036848" y="597561"/>
                                          <a:pt x="1039317" y="596189"/>
                                        </a:cubicBezTo>
                                        <a:cubicBezTo>
                                          <a:pt x="1047002" y="591919"/>
                                          <a:pt x="1061262" y="581559"/>
                                          <a:pt x="1061262" y="581559"/>
                                        </a:cubicBezTo>
                                        <a:cubicBezTo>
                                          <a:pt x="1071816" y="549899"/>
                                          <a:pt x="1061109" y="567051"/>
                                          <a:pt x="1079550" y="552298"/>
                                        </a:cubicBezTo>
                                        <a:cubicBezTo>
                                          <a:pt x="1082243" y="550144"/>
                                          <a:pt x="1084427" y="547421"/>
                                          <a:pt x="1086866" y="544983"/>
                                        </a:cubicBezTo>
                                        <a:cubicBezTo>
                                          <a:pt x="1087124" y="545756"/>
                                          <a:pt x="1091813" y="565279"/>
                                          <a:pt x="1097838" y="563271"/>
                                        </a:cubicBezTo>
                                        <a:cubicBezTo>
                                          <a:pt x="1101496" y="562052"/>
                                          <a:pt x="1100660" y="556062"/>
                                          <a:pt x="1101496" y="552298"/>
                                        </a:cubicBezTo>
                                        <a:cubicBezTo>
                                          <a:pt x="1103105" y="545058"/>
                                          <a:pt x="1102809" y="537388"/>
                                          <a:pt x="1105154" y="530352"/>
                                        </a:cubicBezTo>
                                        <a:cubicBezTo>
                                          <a:pt x="1106544" y="526182"/>
                                          <a:pt x="1081380" y="509625"/>
                                          <a:pt x="1112469" y="519379"/>
                                        </a:cubicBezTo>
                                        <a:lnTo>
                                          <a:pt x="1127099" y="504749"/>
                                        </a:lnTo>
                                        <a:cubicBezTo>
                                          <a:pt x="1139291" y="505968"/>
                                          <a:pt x="1151565" y="506544"/>
                                          <a:pt x="1163675" y="508407"/>
                                        </a:cubicBezTo>
                                        <a:cubicBezTo>
                                          <a:pt x="1167486" y="508993"/>
                                          <a:pt x="1171637" y="509656"/>
                                          <a:pt x="1174648" y="512064"/>
                                        </a:cubicBezTo>
                                        <a:cubicBezTo>
                                          <a:pt x="1178081" y="514810"/>
                                          <a:pt x="1179525" y="519379"/>
                                          <a:pt x="1181963" y="523037"/>
                                        </a:cubicBezTo>
                                        <a:cubicBezTo>
                                          <a:pt x="1185621" y="520599"/>
                                          <a:pt x="1190190" y="519155"/>
                                          <a:pt x="1192936" y="515722"/>
                                        </a:cubicBezTo>
                                        <a:cubicBezTo>
                                          <a:pt x="1195345" y="512711"/>
                                          <a:pt x="1194870" y="508198"/>
                                          <a:pt x="1196594" y="504749"/>
                                        </a:cubicBezTo>
                                        <a:cubicBezTo>
                                          <a:pt x="1198560" y="500817"/>
                                          <a:pt x="1201471" y="497434"/>
                                          <a:pt x="1203909" y="493776"/>
                                        </a:cubicBezTo>
                                        <a:cubicBezTo>
                                          <a:pt x="1202690" y="490118"/>
                                          <a:pt x="1202660" y="485814"/>
                                          <a:pt x="1200251" y="482803"/>
                                        </a:cubicBezTo>
                                        <a:cubicBezTo>
                                          <a:pt x="1195094" y="476357"/>
                                          <a:pt x="1185534" y="474240"/>
                                          <a:pt x="1178306" y="471831"/>
                                        </a:cubicBezTo>
                                        <a:cubicBezTo>
                                          <a:pt x="1172210" y="473050"/>
                                          <a:pt x="1166049" y="473980"/>
                                          <a:pt x="1160018" y="475488"/>
                                        </a:cubicBezTo>
                                        <a:cubicBezTo>
                                          <a:pt x="1156278" y="476423"/>
                                          <a:pt x="1152494" y="480870"/>
                                          <a:pt x="1149045" y="479146"/>
                                        </a:cubicBezTo>
                                        <a:cubicBezTo>
                                          <a:pt x="1145596" y="477422"/>
                                          <a:pt x="1146606" y="471831"/>
                                          <a:pt x="1145387" y="468173"/>
                                        </a:cubicBezTo>
                                        <a:cubicBezTo>
                                          <a:pt x="1149045" y="466954"/>
                                          <a:pt x="1152653" y="465574"/>
                                          <a:pt x="1156360" y="464515"/>
                                        </a:cubicBezTo>
                                        <a:cubicBezTo>
                                          <a:pt x="1188509" y="455330"/>
                                          <a:pt x="1155653" y="465971"/>
                                          <a:pt x="1181963" y="457200"/>
                                        </a:cubicBezTo>
                                        <a:cubicBezTo>
                                          <a:pt x="1184401" y="453542"/>
                                          <a:pt x="1186532" y="449660"/>
                                          <a:pt x="1189278" y="446227"/>
                                        </a:cubicBezTo>
                                        <a:cubicBezTo>
                                          <a:pt x="1195233" y="438784"/>
                                          <a:pt x="1199422" y="437027"/>
                                          <a:pt x="1207566" y="431597"/>
                                        </a:cubicBezTo>
                                        <a:cubicBezTo>
                                          <a:pt x="1206347" y="425501"/>
                                          <a:pt x="1205417" y="419340"/>
                                          <a:pt x="1203909" y="413309"/>
                                        </a:cubicBezTo>
                                        <a:cubicBezTo>
                                          <a:pt x="1201958" y="405506"/>
                                          <a:pt x="1196105" y="399166"/>
                                          <a:pt x="1203909" y="391363"/>
                                        </a:cubicBezTo>
                                        <a:cubicBezTo>
                                          <a:pt x="1206635" y="388637"/>
                                          <a:pt x="1211224" y="388925"/>
                                          <a:pt x="1214882" y="387706"/>
                                        </a:cubicBezTo>
                                        <a:cubicBezTo>
                                          <a:pt x="1219759" y="380391"/>
                                          <a:pt x="1226732" y="374101"/>
                                          <a:pt x="1229512" y="365760"/>
                                        </a:cubicBezTo>
                                        <a:cubicBezTo>
                                          <a:pt x="1237918" y="340543"/>
                                          <a:pt x="1231375" y="349268"/>
                                          <a:pt x="1244142" y="336499"/>
                                        </a:cubicBezTo>
                                        <a:cubicBezTo>
                                          <a:pt x="1249019" y="337718"/>
                                          <a:pt x="1254152" y="338177"/>
                                          <a:pt x="1258773" y="340157"/>
                                        </a:cubicBezTo>
                                        <a:cubicBezTo>
                                          <a:pt x="1262813" y="341889"/>
                                          <a:pt x="1265481" y="348538"/>
                                          <a:pt x="1269746" y="347472"/>
                                        </a:cubicBezTo>
                                        <a:cubicBezTo>
                                          <a:pt x="1273486" y="346537"/>
                                          <a:pt x="1272184" y="340157"/>
                                          <a:pt x="1273403" y="336499"/>
                                        </a:cubicBezTo>
                                        <a:cubicBezTo>
                                          <a:pt x="1272184" y="331622"/>
                                          <a:pt x="1269746" y="326896"/>
                                          <a:pt x="1269746" y="321869"/>
                                        </a:cubicBezTo>
                                        <a:cubicBezTo>
                                          <a:pt x="1269746" y="318014"/>
                                          <a:pt x="1269745" y="309677"/>
                                          <a:pt x="1273403" y="310896"/>
                                        </a:cubicBezTo>
                                        <a:cubicBezTo>
                                          <a:pt x="1278576" y="312621"/>
                                          <a:pt x="1277370" y="321223"/>
                                          <a:pt x="1280718" y="325527"/>
                                        </a:cubicBezTo>
                                        <a:cubicBezTo>
                                          <a:pt x="1286011" y="332332"/>
                                          <a:pt x="1292910" y="337719"/>
                                          <a:pt x="1299006" y="343815"/>
                                        </a:cubicBezTo>
                                        <a:lnTo>
                                          <a:pt x="1306322" y="351130"/>
                                        </a:lnTo>
                                        <a:cubicBezTo>
                                          <a:pt x="1311199" y="349911"/>
                                          <a:pt x="1316770" y="350260"/>
                                          <a:pt x="1320952" y="347472"/>
                                        </a:cubicBezTo>
                                        <a:cubicBezTo>
                                          <a:pt x="1331114" y="340697"/>
                                          <a:pt x="1329266" y="331181"/>
                                          <a:pt x="1324610" y="321869"/>
                                        </a:cubicBezTo>
                                        <a:cubicBezTo>
                                          <a:pt x="1323068" y="318785"/>
                                          <a:pt x="1319448" y="317247"/>
                                          <a:pt x="1317294" y="314554"/>
                                        </a:cubicBezTo>
                                        <a:cubicBezTo>
                                          <a:pt x="1314548" y="311121"/>
                                          <a:pt x="1312417" y="307239"/>
                                          <a:pt x="1309979" y="303581"/>
                                        </a:cubicBezTo>
                                        <a:cubicBezTo>
                                          <a:pt x="1311198" y="299923"/>
                                          <a:pt x="1303883" y="295046"/>
                                          <a:pt x="1313637" y="292608"/>
                                        </a:cubicBezTo>
                                        <a:lnTo>
                                          <a:pt x="1306322" y="281635"/>
                                        </a:lnTo>
                                        <a:cubicBezTo>
                                          <a:pt x="1308500" y="283191"/>
                                          <a:pt x="1331740" y="303581"/>
                                          <a:pt x="1342898" y="303581"/>
                                        </a:cubicBezTo>
                                        <a:cubicBezTo>
                                          <a:pt x="1346753" y="303581"/>
                                          <a:pt x="1350213" y="301142"/>
                                          <a:pt x="1353870" y="299923"/>
                                        </a:cubicBezTo>
                                        <a:cubicBezTo>
                                          <a:pt x="1355089" y="296266"/>
                                          <a:pt x="1356927" y="292759"/>
                                          <a:pt x="1357528" y="288951"/>
                                        </a:cubicBezTo>
                                        <a:cubicBezTo>
                                          <a:pt x="1360594" y="269532"/>
                                          <a:pt x="1359581" y="249371"/>
                                          <a:pt x="1364843" y="230429"/>
                                        </a:cubicBezTo>
                                        <a:cubicBezTo>
                                          <a:pt x="1366020" y="226193"/>
                                          <a:pt x="1372158" y="225552"/>
                                          <a:pt x="1375816" y="223114"/>
                                        </a:cubicBezTo>
                                        <a:cubicBezTo>
                                          <a:pt x="1377035" y="229210"/>
                                          <a:pt x="1379474" y="235185"/>
                                          <a:pt x="1379474" y="241402"/>
                                        </a:cubicBezTo>
                                        <a:cubicBezTo>
                                          <a:pt x="1379474" y="252442"/>
                                          <a:pt x="1377631" y="263430"/>
                                          <a:pt x="1375816" y="274320"/>
                                        </a:cubicBezTo>
                                        <a:cubicBezTo>
                                          <a:pt x="1375182" y="278123"/>
                                          <a:pt x="1373217" y="281586"/>
                                          <a:pt x="1372158" y="285293"/>
                                        </a:cubicBezTo>
                                        <a:cubicBezTo>
                                          <a:pt x="1370777" y="290126"/>
                                          <a:pt x="1369400" y="294977"/>
                                          <a:pt x="1368501" y="299923"/>
                                        </a:cubicBezTo>
                                        <a:cubicBezTo>
                                          <a:pt x="1366959" y="308405"/>
                                          <a:pt x="1366062" y="316992"/>
                                          <a:pt x="1364843" y="325527"/>
                                        </a:cubicBezTo>
                                        <a:cubicBezTo>
                                          <a:pt x="1366062" y="335280"/>
                                          <a:pt x="1361551" y="347837"/>
                                          <a:pt x="1368501" y="354787"/>
                                        </a:cubicBezTo>
                                        <a:cubicBezTo>
                                          <a:pt x="1378344" y="364630"/>
                                          <a:pt x="1391534" y="340354"/>
                                          <a:pt x="1394104" y="336499"/>
                                        </a:cubicBezTo>
                                        <a:cubicBezTo>
                                          <a:pt x="1395323" y="329184"/>
                                          <a:pt x="1395417" y="321589"/>
                                          <a:pt x="1397762" y="314554"/>
                                        </a:cubicBezTo>
                                        <a:cubicBezTo>
                                          <a:pt x="1399152" y="310384"/>
                                          <a:pt x="1403111" y="307513"/>
                                          <a:pt x="1405077" y="303581"/>
                                        </a:cubicBezTo>
                                        <a:cubicBezTo>
                                          <a:pt x="1406801" y="300133"/>
                                          <a:pt x="1407515" y="296266"/>
                                          <a:pt x="1408734" y="292608"/>
                                        </a:cubicBezTo>
                                        <a:cubicBezTo>
                                          <a:pt x="1407515" y="288950"/>
                                          <a:pt x="1406801" y="285083"/>
                                          <a:pt x="1405077" y="281635"/>
                                        </a:cubicBezTo>
                                        <a:cubicBezTo>
                                          <a:pt x="1403111" y="277703"/>
                                          <a:pt x="1395016" y="274095"/>
                                          <a:pt x="1397762" y="270663"/>
                                        </a:cubicBezTo>
                                        <a:cubicBezTo>
                                          <a:pt x="1402579" y="264642"/>
                                          <a:pt x="1419707" y="263347"/>
                                          <a:pt x="1419707" y="263347"/>
                                        </a:cubicBezTo>
                                        <a:cubicBezTo>
                                          <a:pt x="1423365" y="259690"/>
                                          <a:pt x="1427811" y="256679"/>
                                          <a:pt x="1430680" y="252375"/>
                                        </a:cubicBezTo>
                                        <a:cubicBezTo>
                                          <a:pt x="1432819" y="249167"/>
                                          <a:pt x="1431929" y="244413"/>
                                          <a:pt x="1434338" y="241402"/>
                                        </a:cubicBezTo>
                                        <a:cubicBezTo>
                                          <a:pt x="1439494" y="234956"/>
                                          <a:pt x="1449055" y="232839"/>
                                          <a:pt x="1456283" y="230429"/>
                                        </a:cubicBezTo>
                                        <a:cubicBezTo>
                                          <a:pt x="1459941" y="231648"/>
                                          <a:pt x="1463807" y="232363"/>
                                          <a:pt x="1467256" y="234087"/>
                                        </a:cubicBezTo>
                                        <a:cubicBezTo>
                                          <a:pt x="1471188" y="236053"/>
                                          <a:pt x="1473964" y="242468"/>
                                          <a:pt x="1478229" y="241402"/>
                                        </a:cubicBezTo>
                                        <a:cubicBezTo>
                                          <a:pt x="1481969" y="240467"/>
                                          <a:pt x="1480667" y="234087"/>
                                          <a:pt x="1481886" y="230429"/>
                                        </a:cubicBezTo>
                                        <a:cubicBezTo>
                                          <a:pt x="1480667" y="223114"/>
                                          <a:pt x="1482482" y="214559"/>
                                          <a:pt x="1478229" y="208483"/>
                                        </a:cubicBezTo>
                                        <a:cubicBezTo>
                                          <a:pt x="1473187" y="201280"/>
                                          <a:pt x="1456283" y="193853"/>
                                          <a:pt x="1456283" y="193853"/>
                                        </a:cubicBezTo>
                                        <a:cubicBezTo>
                                          <a:pt x="1459941" y="192634"/>
                                          <a:pt x="1463400" y="190195"/>
                                          <a:pt x="1467256" y="190195"/>
                                        </a:cubicBezTo>
                                        <a:cubicBezTo>
                                          <a:pt x="1472283" y="190195"/>
                                          <a:pt x="1476884" y="194353"/>
                                          <a:pt x="1481886" y="193853"/>
                                        </a:cubicBezTo>
                                        <a:cubicBezTo>
                                          <a:pt x="1489559" y="193086"/>
                                          <a:pt x="1503832" y="186538"/>
                                          <a:pt x="1503832" y="186538"/>
                                        </a:cubicBezTo>
                                        <a:cubicBezTo>
                                          <a:pt x="1507490" y="184100"/>
                                          <a:pt x="1510436" y="179709"/>
                                          <a:pt x="1514805" y="179223"/>
                                        </a:cubicBezTo>
                                        <a:cubicBezTo>
                                          <a:pt x="1522176" y="178404"/>
                                          <a:pt x="1530117" y="179564"/>
                                          <a:pt x="1536750" y="182880"/>
                                        </a:cubicBezTo>
                                        <a:cubicBezTo>
                                          <a:pt x="1545619" y="187314"/>
                                          <a:pt x="1553208" y="200252"/>
                                          <a:pt x="1558696" y="208483"/>
                                        </a:cubicBezTo>
                                        <a:cubicBezTo>
                                          <a:pt x="1584357" y="199931"/>
                                          <a:pt x="1562641" y="210891"/>
                                          <a:pt x="1573326" y="164592"/>
                                        </a:cubicBezTo>
                                        <a:cubicBezTo>
                                          <a:pt x="1574273" y="160487"/>
                                          <a:pt x="1589853" y="151136"/>
                                          <a:pt x="1591614" y="149962"/>
                                        </a:cubicBezTo>
                                        <a:cubicBezTo>
                                          <a:pt x="1592833" y="146304"/>
                                          <a:pt x="1593548" y="142438"/>
                                          <a:pt x="1595272" y="138989"/>
                                        </a:cubicBezTo>
                                        <a:cubicBezTo>
                                          <a:pt x="1598646" y="132241"/>
                                          <a:pt x="1607492" y="121088"/>
                                          <a:pt x="1613560" y="117043"/>
                                        </a:cubicBezTo>
                                        <a:cubicBezTo>
                                          <a:pt x="1616768" y="114904"/>
                                          <a:pt x="1620875" y="114605"/>
                                          <a:pt x="1624533" y="113386"/>
                                        </a:cubicBezTo>
                                        <a:cubicBezTo>
                                          <a:pt x="1641951" y="87257"/>
                                          <a:pt x="1628800" y="98756"/>
                                          <a:pt x="1653794" y="87783"/>
                                        </a:cubicBezTo>
                                        <a:lnTo>
                                          <a:pt x="1646478" y="58522"/>
                                        </a:lnTo>
                                        <a:cubicBezTo>
                                          <a:pt x="1650136" y="48768"/>
                                          <a:pt x="1650085" y="36627"/>
                                          <a:pt x="1657451" y="29261"/>
                                        </a:cubicBezTo>
                                        <a:cubicBezTo>
                                          <a:pt x="1660559" y="26153"/>
                                          <a:pt x="1664492" y="34610"/>
                                          <a:pt x="1668424" y="36576"/>
                                        </a:cubicBezTo>
                                        <a:cubicBezTo>
                                          <a:pt x="1677430" y="41079"/>
                                          <a:pt x="1692908" y="42486"/>
                                          <a:pt x="1701342" y="43891"/>
                                        </a:cubicBezTo>
                                        <a:cubicBezTo>
                                          <a:pt x="1700123" y="47549"/>
                                          <a:pt x="1700093" y="51853"/>
                                          <a:pt x="1697685" y="54864"/>
                                        </a:cubicBezTo>
                                        <a:cubicBezTo>
                                          <a:pt x="1694939" y="58297"/>
                                          <a:pt x="1689042" y="58451"/>
                                          <a:pt x="1686712" y="62179"/>
                                        </a:cubicBezTo>
                                        <a:cubicBezTo>
                                          <a:pt x="1682625" y="68718"/>
                                          <a:pt x="1679397" y="84125"/>
                                          <a:pt x="1679397" y="84125"/>
                                        </a:cubicBezTo>
                                        <a:cubicBezTo>
                                          <a:pt x="1678178" y="93879"/>
                                          <a:pt x="1677038" y="103643"/>
                                          <a:pt x="1675739" y="113386"/>
                                        </a:cubicBezTo>
                                        <a:cubicBezTo>
                                          <a:pt x="1673489" y="130265"/>
                                          <a:pt x="1668237" y="147713"/>
                                          <a:pt x="1675739" y="164592"/>
                                        </a:cubicBezTo>
                                        <a:cubicBezTo>
                                          <a:pt x="1677524" y="168609"/>
                                          <a:pt x="1683054" y="169469"/>
                                          <a:pt x="1686712" y="171907"/>
                                        </a:cubicBezTo>
                                        <a:cubicBezTo>
                                          <a:pt x="1698305" y="154518"/>
                                          <a:pt x="1692636" y="165106"/>
                                          <a:pt x="1701342" y="138989"/>
                                        </a:cubicBezTo>
                                        <a:cubicBezTo>
                                          <a:pt x="1702561" y="135331"/>
                                          <a:pt x="1701792" y="130155"/>
                                          <a:pt x="1705000" y="128016"/>
                                        </a:cubicBezTo>
                                        <a:lnTo>
                                          <a:pt x="1715973" y="120701"/>
                                        </a:lnTo>
                                        <a:cubicBezTo>
                                          <a:pt x="1720850" y="113386"/>
                                          <a:pt x="1728470" y="107284"/>
                                          <a:pt x="1730603" y="98755"/>
                                        </a:cubicBezTo>
                                        <a:cubicBezTo>
                                          <a:pt x="1732647" y="90578"/>
                                          <a:pt x="1738016" y="67519"/>
                                          <a:pt x="1741576" y="62179"/>
                                        </a:cubicBezTo>
                                        <a:lnTo>
                                          <a:pt x="1756206" y="40234"/>
                                        </a:lnTo>
                                        <a:cubicBezTo>
                                          <a:pt x="1757425" y="43892"/>
                                          <a:pt x="1759864" y="47351"/>
                                          <a:pt x="1759864" y="51207"/>
                                        </a:cubicBezTo>
                                        <a:cubicBezTo>
                                          <a:pt x="1759864" y="71882"/>
                                          <a:pt x="1757691" y="76010"/>
                                          <a:pt x="1752549" y="91440"/>
                                        </a:cubicBezTo>
                                        <a:cubicBezTo>
                                          <a:pt x="1754987" y="95098"/>
                                          <a:pt x="1758601" y="98202"/>
                                          <a:pt x="1759864" y="102413"/>
                                        </a:cubicBezTo>
                                        <a:cubicBezTo>
                                          <a:pt x="1762341" y="110670"/>
                                          <a:pt x="1757426" y="121920"/>
                                          <a:pt x="1763522" y="128016"/>
                                        </a:cubicBezTo>
                                        <a:cubicBezTo>
                                          <a:pt x="1767377" y="131871"/>
                                          <a:pt x="1773275" y="123139"/>
                                          <a:pt x="1778152" y="120701"/>
                                        </a:cubicBezTo>
                                        <a:cubicBezTo>
                                          <a:pt x="1780590" y="113386"/>
                                          <a:pt x="1781190" y="105171"/>
                                          <a:pt x="1785467" y="98755"/>
                                        </a:cubicBezTo>
                                        <a:cubicBezTo>
                                          <a:pt x="1787905" y="95098"/>
                                          <a:pt x="1790036" y="91215"/>
                                          <a:pt x="1792782" y="87783"/>
                                        </a:cubicBezTo>
                                        <a:cubicBezTo>
                                          <a:pt x="1794936" y="85090"/>
                                          <a:pt x="1798185" y="83337"/>
                                          <a:pt x="1800098" y="80467"/>
                                        </a:cubicBezTo>
                                        <a:cubicBezTo>
                                          <a:pt x="1803122" y="75930"/>
                                          <a:pt x="1804708" y="70571"/>
                                          <a:pt x="1807413" y="65837"/>
                                        </a:cubicBezTo>
                                        <a:cubicBezTo>
                                          <a:pt x="1818758" y="45984"/>
                                          <a:pt x="1811679" y="64009"/>
                                          <a:pt x="1818386" y="43891"/>
                                        </a:cubicBezTo>
                                        <a:cubicBezTo>
                                          <a:pt x="1817167" y="36576"/>
                                          <a:pt x="1814728" y="29362"/>
                                          <a:pt x="1814728" y="21946"/>
                                        </a:cubicBezTo>
                                        <a:cubicBezTo>
                                          <a:pt x="1814728" y="18090"/>
                                          <a:pt x="1815977" y="13984"/>
                                          <a:pt x="1818386" y="10973"/>
                                        </a:cubicBezTo>
                                        <a:cubicBezTo>
                                          <a:pt x="1823542" y="4527"/>
                                          <a:pt x="1833103" y="2410"/>
                                          <a:pt x="1840331" y="0"/>
                                        </a:cubicBezTo>
                                        <a:cubicBezTo>
                                          <a:pt x="1844117" y="946"/>
                                          <a:pt x="1863991" y="4173"/>
                                          <a:pt x="1865934" y="10973"/>
                                        </a:cubicBezTo>
                                        <a:cubicBezTo>
                                          <a:pt x="1867642" y="16951"/>
                                          <a:pt x="1865057" y="23701"/>
                                          <a:pt x="1862277" y="29261"/>
                                        </a:cubicBezTo>
                                        <a:cubicBezTo>
                                          <a:pt x="1859964" y="33888"/>
                                          <a:pt x="1854962" y="36576"/>
                                          <a:pt x="1851304" y="40234"/>
                                        </a:cubicBezTo>
                                        <a:cubicBezTo>
                                          <a:pt x="1848227" y="61767"/>
                                          <a:pt x="1842982" y="84433"/>
                                          <a:pt x="1851304" y="106071"/>
                                        </a:cubicBezTo>
                                        <a:cubicBezTo>
                                          <a:pt x="1853261" y="111160"/>
                                          <a:pt x="1861057" y="110948"/>
                                          <a:pt x="1865934" y="113386"/>
                                        </a:cubicBezTo>
                                        <a:cubicBezTo>
                                          <a:pt x="1874469" y="138988"/>
                                          <a:pt x="1865935" y="137769"/>
                                          <a:pt x="1884222" y="131674"/>
                                        </a:cubicBezTo>
                                        <a:cubicBezTo>
                                          <a:pt x="1886661" y="129236"/>
                                          <a:pt x="1891110" y="127781"/>
                                          <a:pt x="1891538" y="124359"/>
                                        </a:cubicBezTo>
                                        <a:cubicBezTo>
                                          <a:pt x="1893216" y="110937"/>
                                          <a:pt x="1887122" y="103040"/>
                                          <a:pt x="1884222" y="91440"/>
                                        </a:cubicBezTo>
                                        <a:cubicBezTo>
                                          <a:pt x="1882714" y="85409"/>
                                          <a:pt x="1881784" y="79248"/>
                                          <a:pt x="1880565" y="73152"/>
                                        </a:cubicBezTo>
                                        <a:cubicBezTo>
                                          <a:pt x="1881784" y="62179"/>
                                          <a:pt x="1882543" y="51146"/>
                                          <a:pt x="1884222" y="40234"/>
                                        </a:cubicBezTo>
                                        <a:cubicBezTo>
                                          <a:pt x="1884986" y="35265"/>
                                          <a:pt x="1884740" y="29528"/>
                                          <a:pt x="1887880" y="25603"/>
                                        </a:cubicBezTo>
                                        <a:cubicBezTo>
                                          <a:pt x="1890289" y="22592"/>
                                          <a:pt x="1895195" y="23165"/>
                                          <a:pt x="1898853" y="21946"/>
                                        </a:cubicBezTo>
                                        <a:cubicBezTo>
                                          <a:pt x="1938862" y="35280"/>
                                          <a:pt x="1878268" y="14016"/>
                                          <a:pt x="1920798" y="32919"/>
                                        </a:cubicBezTo>
                                        <a:cubicBezTo>
                                          <a:pt x="1939822" y="41375"/>
                                          <a:pt x="1947521" y="40916"/>
                                          <a:pt x="1968347" y="43891"/>
                                        </a:cubicBezTo>
                                        <a:cubicBezTo>
                                          <a:pt x="1970785" y="46330"/>
                                          <a:pt x="1973508" y="48514"/>
                                          <a:pt x="1975662" y="51207"/>
                                        </a:cubicBezTo>
                                        <a:cubicBezTo>
                                          <a:pt x="1978408" y="54639"/>
                                          <a:pt x="1979545" y="59433"/>
                                          <a:pt x="1982978" y="62179"/>
                                        </a:cubicBezTo>
                                        <a:cubicBezTo>
                                          <a:pt x="1985988" y="64587"/>
                                          <a:pt x="1990293" y="64618"/>
                                          <a:pt x="1993950" y="65837"/>
                                        </a:cubicBezTo>
                                        <a:cubicBezTo>
                                          <a:pt x="1996389" y="68275"/>
                                          <a:pt x="1998309" y="71378"/>
                                          <a:pt x="2001266" y="73152"/>
                                        </a:cubicBezTo>
                                        <a:cubicBezTo>
                                          <a:pt x="2015583" y="81742"/>
                                          <a:pt x="2009446" y="70648"/>
                                          <a:pt x="2019554" y="84125"/>
                                        </a:cubicBezTo>
                                        <a:cubicBezTo>
                                          <a:pt x="2024829" y="91158"/>
                                          <a:pt x="2034184" y="106071"/>
                                          <a:pt x="2034184" y="106071"/>
                                        </a:cubicBezTo>
                                        <a:cubicBezTo>
                                          <a:pt x="2026869" y="110948"/>
                                          <a:pt x="2018455" y="114484"/>
                                          <a:pt x="2012238" y="120701"/>
                                        </a:cubicBezTo>
                                        <a:cubicBezTo>
                                          <a:pt x="2006142" y="126797"/>
                                          <a:pt x="2002129" y="136263"/>
                                          <a:pt x="1993950" y="138989"/>
                                        </a:cubicBezTo>
                                        <a:lnTo>
                                          <a:pt x="1972005" y="146304"/>
                                        </a:lnTo>
                                        <a:cubicBezTo>
                                          <a:pt x="1936131" y="134347"/>
                                          <a:pt x="1957743" y="138349"/>
                                          <a:pt x="1906168" y="142647"/>
                                        </a:cubicBezTo>
                                        <a:cubicBezTo>
                                          <a:pt x="1904949" y="146304"/>
                                          <a:pt x="1900526" y="150313"/>
                                          <a:pt x="1902510" y="153619"/>
                                        </a:cubicBezTo>
                                        <a:cubicBezTo>
                                          <a:pt x="1905315" y="158295"/>
                                          <a:pt x="1912129" y="158787"/>
                                          <a:pt x="1917141" y="160935"/>
                                        </a:cubicBezTo>
                                        <a:cubicBezTo>
                                          <a:pt x="1932150" y="167367"/>
                                          <a:pt x="1942718" y="166215"/>
                                          <a:pt x="1961032" y="168250"/>
                                        </a:cubicBezTo>
                                        <a:cubicBezTo>
                                          <a:pt x="1963470" y="175565"/>
                                          <a:pt x="1966477" y="182715"/>
                                          <a:pt x="1968347" y="190195"/>
                                        </a:cubicBezTo>
                                        <a:cubicBezTo>
                                          <a:pt x="1969566" y="195072"/>
                                          <a:pt x="1968188" y="201554"/>
                                          <a:pt x="1972005" y="204826"/>
                                        </a:cubicBezTo>
                                        <a:cubicBezTo>
                                          <a:pt x="1977859" y="209844"/>
                                          <a:pt x="1993950" y="212141"/>
                                          <a:pt x="1993950" y="212141"/>
                                        </a:cubicBezTo>
                                        <a:cubicBezTo>
                                          <a:pt x="1997608" y="209703"/>
                                          <a:pt x="2000554" y="205311"/>
                                          <a:pt x="2004923" y="204826"/>
                                        </a:cubicBezTo>
                                        <a:cubicBezTo>
                                          <a:pt x="2035566" y="201421"/>
                                          <a:pt x="2019163" y="206786"/>
                                          <a:pt x="2034184" y="215799"/>
                                        </a:cubicBezTo>
                                        <a:cubicBezTo>
                                          <a:pt x="2037490" y="217783"/>
                                          <a:pt x="2041499" y="218237"/>
                                          <a:pt x="2045157" y="219456"/>
                                        </a:cubicBezTo>
                                        <a:cubicBezTo>
                                          <a:pt x="2046376" y="223114"/>
                                          <a:pt x="2050246" y="226849"/>
                                          <a:pt x="2048814" y="230429"/>
                                        </a:cubicBezTo>
                                        <a:cubicBezTo>
                                          <a:pt x="2043810" y="242941"/>
                                          <a:pt x="2033964" y="236452"/>
                                          <a:pt x="2026869" y="234087"/>
                                        </a:cubicBezTo>
                                        <a:cubicBezTo>
                                          <a:pt x="2021992" y="235306"/>
                                          <a:pt x="2016163" y="234604"/>
                                          <a:pt x="2012238" y="237744"/>
                                        </a:cubicBezTo>
                                        <a:cubicBezTo>
                                          <a:pt x="2009227" y="240152"/>
                                          <a:pt x="2010494" y="245370"/>
                                          <a:pt x="2008581" y="248717"/>
                                        </a:cubicBezTo>
                                        <a:cubicBezTo>
                                          <a:pt x="1999203" y="265128"/>
                                          <a:pt x="2000919" y="262243"/>
                                          <a:pt x="1986635" y="267005"/>
                                        </a:cubicBezTo>
                                        <a:cubicBezTo>
                                          <a:pt x="1984400" y="273711"/>
                                          <a:pt x="1979909" y="293600"/>
                                          <a:pt x="1972005" y="299923"/>
                                        </a:cubicBezTo>
                                        <a:cubicBezTo>
                                          <a:pt x="1968994" y="302332"/>
                                          <a:pt x="1964690" y="302362"/>
                                          <a:pt x="1961032" y="303581"/>
                                        </a:cubicBezTo>
                                        <a:cubicBezTo>
                                          <a:pt x="1938531" y="269828"/>
                                          <a:pt x="1977083" y="331536"/>
                                          <a:pt x="1950059" y="245059"/>
                                        </a:cubicBezTo>
                                        <a:cubicBezTo>
                                          <a:pt x="1948241" y="239241"/>
                                          <a:pt x="1940306" y="237744"/>
                                          <a:pt x="1935429" y="234087"/>
                                        </a:cubicBezTo>
                                        <a:cubicBezTo>
                                          <a:pt x="1932105" y="229100"/>
                                          <a:pt x="1926591" y="219275"/>
                                          <a:pt x="1920798" y="215799"/>
                                        </a:cubicBezTo>
                                        <a:cubicBezTo>
                                          <a:pt x="1917048" y="213549"/>
                                          <a:pt x="1897930" y="209167"/>
                                          <a:pt x="1895195" y="208483"/>
                                        </a:cubicBezTo>
                                        <a:cubicBezTo>
                                          <a:pt x="1892612" y="204609"/>
                                          <a:pt x="1885775" y="192800"/>
                                          <a:pt x="1880565" y="190195"/>
                                        </a:cubicBezTo>
                                        <a:cubicBezTo>
                                          <a:pt x="1876069" y="187947"/>
                                          <a:pt x="1870768" y="187919"/>
                                          <a:pt x="1865934" y="186538"/>
                                        </a:cubicBezTo>
                                        <a:cubicBezTo>
                                          <a:pt x="1862227" y="185479"/>
                                          <a:pt x="1858619" y="184099"/>
                                          <a:pt x="1854962" y="182880"/>
                                        </a:cubicBezTo>
                                        <a:cubicBezTo>
                                          <a:pt x="1848866" y="184099"/>
                                          <a:pt x="1842388" y="184089"/>
                                          <a:pt x="1836674" y="186538"/>
                                        </a:cubicBezTo>
                                        <a:cubicBezTo>
                                          <a:pt x="1833504" y="187896"/>
                                          <a:pt x="1832051" y="191699"/>
                                          <a:pt x="1829358" y="193853"/>
                                        </a:cubicBezTo>
                                        <a:cubicBezTo>
                                          <a:pt x="1825926" y="196599"/>
                                          <a:pt x="1822502" y="199625"/>
                                          <a:pt x="1818386" y="201168"/>
                                        </a:cubicBezTo>
                                        <a:cubicBezTo>
                                          <a:pt x="1812565" y="203351"/>
                                          <a:pt x="1806194" y="203607"/>
                                          <a:pt x="1800098" y="204826"/>
                                        </a:cubicBezTo>
                                        <a:cubicBezTo>
                                          <a:pt x="1791563" y="202388"/>
                                          <a:pt x="1782605" y="201116"/>
                                          <a:pt x="1774494" y="197511"/>
                                        </a:cubicBezTo>
                                        <a:cubicBezTo>
                                          <a:pt x="1771343" y="196110"/>
                                          <a:pt x="1770451" y="189105"/>
                                          <a:pt x="1767179" y="190195"/>
                                        </a:cubicBezTo>
                                        <a:cubicBezTo>
                                          <a:pt x="1763521" y="191414"/>
                                          <a:pt x="1764457" y="197428"/>
                                          <a:pt x="1763522" y="201168"/>
                                        </a:cubicBezTo>
                                        <a:cubicBezTo>
                                          <a:pt x="1761435" y="209516"/>
                                          <a:pt x="1760387" y="222067"/>
                                          <a:pt x="1756206" y="230429"/>
                                        </a:cubicBezTo>
                                        <a:cubicBezTo>
                                          <a:pt x="1754240" y="234361"/>
                                          <a:pt x="1751329" y="237744"/>
                                          <a:pt x="1748891" y="241402"/>
                                        </a:cubicBezTo>
                                        <a:cubicBezTo>
                                          <a:pt x="1746453" y="248717"/>
                                          <a:pt x="1742004" y="255648"/>
                                          <a:pt x="1741576" y="263347"/>
                                        </a:cubicBezTo>
                                        <a:cubicBezTo>
                                          <a:pt x="1737639" y="334203"/>
                                          <a:pt x="1743248" y="307860"/>
                                          <a:pt x="1734261" y="343815"/>
                                        </a:cubicBezTo>
                                        <a:cubicBezTo>
                                          <a:pt x="1733042" y="363322"/>
                                          <a:pt x="1734630" y="383210"/>
                                          <a:pt x="1730603" y="402336"/>
                                        </a:cubicBezTo>
                                        <a:cubicBezTo>
                                          <a:pt x="1729537" y="407398"/>
                                          <a:pt x="1723604" y="409997"/>
                                          <a:pt x="1719630" y="413309"/>
                                        </a:cubicBezTo>
                                        <a:cubicBezTo>
                                          <a:pt x="1713146" y="418712"/>
                                          <a:pt x="1701395" y="424781"/>
                                          <a:pt x="1694027" y="427939"/>
                                        </a:cubicBezTo>
                                        <a:cubicBezTo>
                                          <a:pt x="1690483" y="429458"/>
                                          <a:pt x="1686712" y="430378"/>
                                          <a:pt x="1683054" y="431597"/>
                                        </a:cubicBezTo>
                                        <a:cubicBezTo>
                                          <a:pt x="1681835" y="435255"/>
                                          <a:pt x="1680456" y="438863"/>
                                          <a:pt x="1679397" y="442570"/>
                                        </a:cubicBezTo>
                                        <a:cubicBezTo>
                                          <a:pt x="1678016" y="447403"/>
                                          <a:pt x="1680359" y="455220"/>
                                          <a:pt x="1675739" y="457200"/>
                                        </a:cubicBezTo>
                                        <a:cubicBezTo>
                                          <a:pt x="1668923" y="460121"/>
                                          <a:pt x="1661109" y="454762"/>
                                          <a:pt x="1653794" y="453543"/>
                                        </a:cubicBezTo>
                                        <a:cubicBezTo>
                                          <a:pt x="1650136" y="452324"/>
                                          <a:pt x="1645864" y="452252"/>
                                          <a:pt x="1642821" y="449885"/>
                                        </a:cubicBezTo>
                                        <a:cubicBezTo>
                                          <a:pt x="1634655" y="443533"/>
                                          <a:pt x="1620875" y="427939"/>
                                          <a:pt x="1620875" y="427939"/>
                                        </a:cubicBezTo>
                                        <a:cubicBezTo>
                                          <a:pt x="1613560" y="429158"/>
                                          <a:pt x="1605563" y="428280"/>
                                          <a:pt x="1598930" y="431597"/>
                                        </a:cubicBezTo>
                                        <a:cubicBezTo>
                                          <a:pt x="1594998" y="433563"/>
                                          <a:pt x="1594991" y="439756"/>
                                          <a:pt x="1591614" y="442570"/>
                                        </a:cubicBezTo>
                                        <a:cubicBezTo>
                                          <a:pt x="1587425" y="446060"/>
                                          <a:pt x="1581861" y="447447"/>
                                          <a:pt x="1576984" y="449885"/>
                                        </a:cubicBezTo>
                                        <a:cubicBezTo>
                                          <a:pt x="1572107" y="448666"/>
                                          <a:pt x="1566537" y="449015"/>
                                          <a:pt x="1562354" y="446227"/>
                                        </a:cubicBezTo>
                                        <a:cubicBezTo>
                                          <a:pt x="1520332" y="418211"/>
                                          <a:pt x="1561640" y="433796"/>
                                          <a:pt x="1533093" y="424282"/>
                                        </a:cubicBezTo>
                                        <a:cubicBezTo>
                                          <a:pt x="1515705" y="412690"/>
                                          <a:pt x="1526289" y="418356"/>
                                          <a:pt x="1500174" y="409651"/>
                                        </a:cubicBezTo>
                                        <a:lnTo>
                                          <a:pt x="1489202" y="405994"/>
                                        </a:lnTo>
                                        <a:cubicBezTo>
                                          <a:pt x="1475859" y="365969"/>
                                          <a:pt x="1497140" y="426598"/>
                                          <a:pt x="1478229" y="384048"/>
                                        </a:cubicBezTo>
                                        <a:cubicBezTo>
                                          <a:pt x="1469751" y="364973"/>
                                          <a:pt x="1475062" y="364504"/>
                                          <a:pt x="1463598" y="351130"/>
                                        </a:cubicBezTo>
                                        <a:cubicBezTo>
                                          <a:pt x="1459110" y="345893"/>
                                          <a:pt x="1453845" y="341376"/>
                                          <a:pt x="1448968" y="336499"/>
                                        </a:cubicBezTo>
                                        <a:cubicBezTo>
                                          <a:pt x="1445310" y="337718"/>
                                          <a:pt x="1440721" y="337431"/>
                                          <a:pt x="1437995" y="340157"/>
                                        </a:cubicBezTo>
                                        <a:cubicBezTo>
                                          <a:pt x="1435269" y="342883"/>
                                          <a:pt x="1435273" y="347390"/>
                                          <a:pt x="1434338" y="351130"/>
                                        </a:cubicBezTo>
                                        <a:cubicBezTo>
                                          <a:pt x="1432830" y="357161"/>
                                          <a:pt x="1432188" y="363387"/>
                                          <a:pt x="1430680" y="369418"/>
                                        </a:cubicBezTo>
                                        <a:cubicBezTo>
                                          <a:pt x="1429745" y="373158"/>
                                          <a:pt x="1430033" y="377982"/>
                                          <a:pt x="1427022" y="380391"/>
                                        </a:cubicBezTo>
                                        <a:cubicBezTo>
                                          <a:pt x="1423097" y="383531"/>
                                          <a:pt x="1417368" y="383337"/>
                                          <a:pt x="1412392" y="384048"/>
                                        </a:cubicBezTo>
                                        <a:cubicBezTo>
                                          <a:pt x="1400262" y="385781"/>
                                          <a:pt x="1388008" y="386487"/>
                                          <a:pt x="1375816" y="387706"/>
                                        </a:cubicBezTo>
                                        <a:cubicBezTo>
                                          <a:pt x="1373147" y="417063"/>
                                          <a:pt x="1379175" y="421714"/>
                                          <a:pt x="1364843" y="438912"/>
                                        </a:cubicBezTo>
                                        <a:cubicBezTo>
                                          <a:pt x="1361532" y="442886"/>
                                          <a:pt x="1357528" y="446227"/>
                                          <a:pt x="1353870" y="449885"/>
                                        </a:cubicBezTo>
                                        <a:cubicBezTo>
                                          <a:pt x="1348160" y="467019"/>
                                          <a:pt x="1347046" y="465100"/>
                                          <a:pt x="1353870" y="490119"/>
                                        </a:cubicBezTo>
                                        <a:cubicBezTo>
                                          <a:pt x="1355027" y="494360"/>
                                          <a:pt x="1358747" y="497434"/>
                                          <a:pt x="1361186" y="501091"/>
                                        </a:cubicBezTo>
                                        <a:cubicBezTo>
                                          <a:pt x="1359967" y="507187"/>
                                          <a:pt x="1361508" y="514603"/>
                                          <a:pt x="1357528" y="519379"/>
                                        </a:cubicBezTo>
                                        <a:cubicBezTo>
                                          <a:pt x="1354310" y="523241"/>
                                          <a:pt x="1343508" y="513893"/>
                                          <a:pt x="1342898" y="523037"/>
                                        </a:cubicBezTo>
                                        <a:lnTo>
                                          <a:pt x="1320952" y="497434"/>
                                        </a:lnTo>
                                        <a:cubicBezTo>
                                          <a:pt x="1309979" y="492557"/>
                                          <a:pt x="1299241" y="487113"/>
                                          <a:pt x="1288034" y="482803"/>
                                        </a:cubicBezTo>
                                        <a:cubicBezTo>
                                          <a:pt x="1283342" y="480998"/>
                                          <a:pt x="1278237" y="480527"/>
                                          <a:pt x="1273403" y="479146"/>
                                        </a:cubicBezTo>
                                        <a:cubicBezTo>
                                          <a:pt x="1269696" y="478087"/>
                                          <a:pt x="1266088" y="476707"/>
                                          <a:pt x="1262430" y="475488"/>
                                        </a:cubicBezTo>
                                        <a:cubicBezTo>
                                          <a:pt x="1258773" y="476707"/>
                                          <a:pt x="1254764" y="477162"/>
                                          <a:pt x="1251458" y="479146"/>
                                        </a:cubicBezTo>
                                        <a:cubicBezTo>
                                          <a:pt x="1248501" y="480920"/>
                                          <a:pt x="1246835" y="484307"/>
                                          <a:pt x="1244142" y="486461"/>
                                        </a:cubicBezTo>
                                        <a:cubicBezTo>
                                          <a:pt x="1240710" y="489207"/>
                                          <a:pt x="1236827" y="491338"/>
                                          <a:pt x="1233170" y="493776"/>
                                        </a:cubicBezTo>
                                        <a:cubicBezTo>
                                          <a:pt x="1231951" y="508406"/>
                                          <a:pt x="1232588" y="523312"/>
                                          <a:pt x="1229512" y="537667"/>
                                        </a:cubicBezTo>
                                        <a:cubicBezTo>
                                          <a:pt x="1228789" y="541039"/>
                                          <a:pt x="1224956" y="542914"/>
                                          <a:pt x="1222197" y="544983"/>
                                        </a:cubicBezTo>
                                        <a:cubicBezTo>
                                          <a:pt x="1215164" y="550258"/>
                                          <a:pt x="1200251" y="559613"/>
                                          <a:pt x="1200251" y="559613"/>
                                        </a:cubicBezTo>
                                        <a:cubicBezTo>
                                          <a:pt x="1190497" y="558394"/>
                                          <a:pt x="1180771" y="554977"/>
                                          <a:pt x="1170990" y="555955"/>
                                        </a:cubicBezTo>
                                        <a:cubicBezTo>
                                          <a:pt x="1167152" y="556339"/>
                                          <a:pt x="1157195" y="573200"/>
                                          <a:pt x="1156360" y="574243"/>
                                        </a:cubicBezTo>
                                        <a:cubicBezTo>
                                          <a:pt x="1147291" y="585580"/>
                                          <a:pt x="1149233" y="577526"/>
                                          <a:pt x="1141730" y="592531"/>
                                        </a:cubicBezTo>
                                        <a:cubicBezTo>
                                          <a:pt x="1140006" y="595979"/>
                                          <a:pt x="1139131" y="599797"/>
                                          <a:pt x="1138072" y="603504"/>
                                        </a:cubicBezTo>
                                        <a:cubicBezTo>
                                          <a:pt x="1136691" y="608338"/>
                                          <a:pt x="1137203" y="613952"/>
                                          <a:pt x="1134414" y="618135"/>
                                        </a:cubicBezTo>
                                        <a:cubicBezTo>
                                          <a:pt x="1124612" y="632837"/>
                                          <a:pt x="1108305" y="641637"/>
                                          <a:pt x="1094181" y="651053"/>
                                        </a:cubicBezTo>
                                        <a:lnTo>
                                          <a:pt x="1083208" y="658368"/>
                                        </a:lnTo>
                                        <a:cubicBezTo>
                                          <a:pt x="1078031" y="673897"/>
                                          <a:pt x="1075525" y="674530"/>
                                          <a:pt x="1086866" y="694944"/>
                                        </a:cubicBezTo>
                                        <a:cubicBezTo>
                                          <a:pt x="1089001" y="698786"/>
                                          <a:pt x="1094406" y="699513"/>
                                          <a:pt x="1097838" y="702259"/>
                                        </a:cubicBezTo>
                                        <a:cubicBezTo>
                                          <a:pt x="1100531" y="704413"/>
                                          <a:pt x="1102715" y="707136"/>
                                          <a:pt x="1105154" y="709575"/>
                                        </a:cubicBezTo>
                                        <a:cubicBezTo>
                                          <a:pt x="1102715" y="722986"/>
                                          <a:pt x="1101583" y="736702"/>
                                          <a:pt x="1097838" y="749808"/>
                                        </a:cubicBezTo>
                                        <a:cubicBezTo>
                                          <a:pt x="1094485" y="761545"/>
                                          <a:pt x="1087781" y="761237"/>
                                          <a:pt x="1079550" y="768096"/>
                                        </a:cubicBezTo>
                                        <a:cubicBezTo>
                                          <a:pt x="1057307" y="786632"/>
                                          <a:pt x="1081021" y="772848"/>
                                          <a:pt x="1053947" y="786384"/>
                                        </a:cubicBezTo>
                                        <a:cubicBezTo>
                                          <a:pt x="1040615" y="826387"/>
                                          <a:pt x="1061875" y="765804"/>
                                          <a:pt x="1042974" y="808330"/>
                                        </a:cubicBezTo>
                                        <a:cubicBezTo>
                                          <a:pt x="1034005" y="828509"/>
                                          <a:pt x="1036919" y="828893"/>
                                          <a:pt x="1032002" y="848563"/>
                                        </a:cubicBezTo>
                                        <a:cubicBezTo>
                                          <a:pt x="1031067" y="852303"/>
                                          <a:pt x="1029279" y="855796"/>
                                          <a:pt x="1028344" y="859536"/>
                                        </a:cubicBezTo>
                                        <a:cubicBezTo>
                                          <a:pt x="1028097" y="860525"/>
                                          <a:pt x="1024067" y="884999"/>
                                          <a:pt x="1021029" y="888797"/>
                                        </a:cubicBezTo>
                                        <a:cubicBezTo>
                                          <a:pt x="1014918" y="896436"/>
                                          <a:pt x="1007148" y="896313"/>
                                          <a:pt x="999083" y="899770"/>
                                        </a:cubicBezTo>
                                        <a:cubicBezTo>
                                          <a:pt x="967932" y="913121"/>
                                          <a:pt x="1002378" y="905292"/>
                                          <a:pt x="947877" y="910743"/>
                                        </a:cubicBezTo>
                                        <a:cubicBezTo>
                                          <a:pt x="937664" y="941378"/>
                                          <a:pt x="944219" y="917860"/>
                                          <a:pt x="944219" y="983895"/>
                                        </a:cubicBezTo>
                                        <a:lnTo>
                                          <a:pt x="951534" y="991210"/>
                                        </a:lnTo>
                                        <a:cubicBezTo>
                                          <a:pt x="945368" y="1046712"/>
                                          <a:pt x="953756" y="1005776"/>
                                          <a:pt x="940562" y="1038759"/>
                                        </a:cubicBezTo>
                                        <a:cubicBezTo>
                                          <a:pt x="937698" y="1045918"/>
                                          <a:pt x="937523" y="1054288"/>
                                          <a:pt x="933246" y="1060704"/>
                                        </a:cubicBezTo>
                                        <a:cubicBezTo>
                                          <a:pt x="928369" y="1068019"/>
                                          <a:pt x="921396" y="1074309"/>
                                          <a:pt x="918616" y="1082650"/>
                                        </a:cubicBezTo>
                                        <a:lnTo>
                                          <a:pt x="911301" y="1104595"/>
                                        </a:lnTo>
                                        <a:cubicBezTo>
                                          <a:pt x="908081" y="1114256"/>
                                          <a:pt x="902443" y="1134371"/>
                                          <a:pt x="893013" y="1137514"/>
                                        </a:cubicBezTo>
                                        <a:lnTo>
                                          <a:pt x="882040" y="1141171"/>
                                        </a:lnTo>
                                        <a:cubicBezTo>
                                          <a:pt x="856886" y="1157941"/>
                                          <a:pt x="855218" y="1155802"/>
                                          <a:pt x="856437" y="1166775"/>
                                        </a:cubicBezTo>
                                        <a:lnTo>
                                          <a:pt x="889355" y="1203351"/>
                                        </a:lnTo>
                                        <a:cubicBezTo>
                                          <a:pt x="888196" y="1213788"/>
                                          <a:pt x="888169" y="1234985"/>
                                          <a:pt x="882040" y="1247242"/>
                                        </a:cubicBezTo>
                                        <a:cubicBezTo>
                                          <a:pt x="880074" y="1251174"/>
                                          <a:pt x="878158" y="1255469"/>
                                          <a:pt x="874725" y="1258215"/>
                                        </a:cubicBezTo>
                                        <a:cubicBezTo>
                                          <a:pt x="871714" y="1260623"/>
                                          <a:pt x="867410" y="1260653"/>
                                          <a:pt x="863752" y="1261872"/>
                                        </a:cubicBezTo>
                                        <a:cubicBezTo>
                                          <a:pt x="858875" y="1260653"/>
                                          <a:pt x="853305" y="1261003"/>
                                          <a:pt x="849122" y="1258215"/>
                                        </a:cubicBezTo>
                                        <a:cubicBezTo>
                                          <a:pt x="845464" y="1255777"/>
                                          <a:pt x="846097" y="1248196"/>
                                          <a:pt x="841806" y="1247242"/>
                                        </a:cubicBezTo>
                                        <a:cubicBezTo>
                                          <a:pt x="833390" y="1245372"/>
                                          <a:pt x="824737" y="1249680"/>
                                          <a:pt x="816203" y="1250899"/>
                                        </a:cubicBezTo>
                                        <a:cubicBezTo>
                                          <a:pt x="813765" y="1253338"/>
                                          <a:pt x="811845" y="1256441"/>
                                          <a:pt x="808888" y="1258215"/>
                                        </a:cubicBezTo>
                                        <a:cubicBezTo>
                                          <a:pt x="803268" y="1261587"/>
                                          <a:pt x="783555" y="1264744"/>
                                          <a:pt x="779627" y="1265530"/>
                                        </a:cubicBezTo>
                                        <a:cubicBezTo>
                                          <a:pt x="772312" y="1270407"/>
                                          <a:pt x="763899" y="1273943"/>
                                          <a:pt x="757682" y="1280160"/>
                                        </a:cubicBezTo>
                                        <a:lnTo>
                                          <a:pt x="743051" y="1294791"/>
                                        </a:lnTo>
                                        <a:cubicBezTo>
                                          <a:pt x="739393" y="1298448"/>
                                          <a:pt x="736382" y="1302893"/>
                                          <a:pt x="732078" y="1305763"/>
                                        </a:cubicBezTo>
                                        <a:cubicBezTo>
                                          <a:pt x="718237" y="1314992"/>
                                          <a:pt x="724215" y="1309971"/>
                                          <a:pt x="713790" y="1320394"/>
                                        </a:cubicBezTo>
                                        <a:cubicBezTo>
                                          <a:pt x="712571" y="1324052"/>
                                          <a:pt x="710889" y="1327586"/>
                                          <a:pt x="710133" y="1331367"/>
                                        </a:cubicBezTo>
                                        <a:cubicBezTo>
                                          <a:pt x="708442" y="1339821"/>
                                          <a:pt x="709677" y="1348966"/>
                                          <a:pt x="706475" y="1356970"/>
                                        </a:cubicBezTo>
                                        <a:cubicBezTo>
                                          <a:pt x="704554" y="1361773"/>
                                          <a:pt x="698814" y="1363969"/>
                                          <a:pt x="695502" y="1367943"/>
                                        </a:cubicBezTo>
                                        <a:cubicBezTo>
                                          <a:pt x="692688" y="1371320"/>
                                          <a:pt x="690625" y="1375258"/>
                                          <a:pt x="688187" y="1378915"/>
                                        </a:cubicBezTo>
                                        <a:cubicBezTo>
                                          <a:pt x="683522" y="1392912"/>
                                          <a:pt x="676238" y="1401671"/>
                                          <a:pt x="684530" y="1415491"/>
                                        </a:cubicBezTo>
                                        <a:cubicBezTo>
                                          <a:pt x="685933" y="1417829"/>
                                          <a:pt x="689407" y="1417930"/>
                                          <a:pt x="691845" y="1419149"/>
                                        </a:cubicBezTo>
                                        <a:lnTo>
                                          <a:pt x="688187" y="1437437"/>
                                        </a:lnTo>
                                        <a:cubicBezTo>
                                          <a:pt x="686968" y="1452067"/>
                                          <a:pt x="688563" y="1467212"/>
                                          <a:pt x="684530" y="1481328"/>
                                        </a:cubicBezTo>
                                        <a:cubicBezTo>
                                          <a:pt x="683322" y="1485555"/>
                                          <a:pt x="676303" y="1485210"/>
                                          <a:pt x="673557" y="1488643"/>
                                        </a:cubicBezTo>
                                        <a:cubicBezTo>
                                          <a:pt x="671148" y="1491654"/>
                                          <a:pt x="671118" y="1495958"/>
                                          <a:pt x="669899" y="1499616"/>
                                        </a:cubicBezTo>
                                        <a:cubicBezTo>
                                          <a:pt x="671118" y="1504493"/>
                                          <a:pt x="672176" y="1509413"/>
                                          <a:pt x="673557" y="1514247"/>
                                        </a:cubicBezTo>
                                        <a:cubicBezTo>
                                          <a:pt x="674616" y="1517954"/>
                                          <a:pt x="676279" y="1521479"/>
                                          <a:pt x="677214" y="1525219"/>
                                        </a:cubicBezTo>
                                        <a:cubicBezTo>
                                          <a:pt x="679301" y="1533568"/>
                                          <a:pt x="680349" y="1546118"/>
                                          <a:pt x="684530" y="1554480"/>
                                        </a:cubicBezTo>
                                        <a:cubicBezTo>
                                          <a:pt x="686496" y="1558412"/>
                                          <a:pt x="689407" y="1561795"/>
                                          <a:pt x="691845" y="1565453"/>
                                        </a:cubicBezTo>
                                        <a:cubicBezTo>
                                          <a:pt x="700402" y="1591124"/>
                                          <a:pt x="703232" y="1589397"/>
                                          <a:pt x="695502" y="1620317"/>
                                        </a:cubicBezTo>
                                        <a:cubicBezTo>
                                          <a:pt x="694436" y="1624582"/>
                                          <a:pt x="690625" y="1627632"/>
                                          <a:pt x="688187" y="1631290"/>
                                        </a:cubicBezTo>
                                        <a:cubicBezTo>
                                          <a:pt x="680463" y="1654467"/>
                                          <a:pt x="680281" y="1650280"/>
                                          <a:pt x="688187" y="1689811"/>
                                        </a:cubicBezTo>
                                        <a:cubicBezTo>
                                          <a:pt x="688863" y="1693193"/>
                                          <a:pt x="692545" y="1695353"/>
                                          <a:pt x="695502" y="1697127"/>
                                        </a:cubicBezTo>
                                        <a:cubicBezTo>
                                          <a:pt x="698808" y="1699111"/>
                                          <a:pt x="702817" y="1699565"/>
                                          <a:pt x="706475" y="1700784"/>
                                        </a:cubicBezTo>
                                        <a:cubicBezTo>
                                          <a:pt x="710133" y="1704442"/>
                                          <a:pt x="714579" y="1707453"/>
                                          <a:pt x="717448" y="1711757"/>
                                        </a:cubicBezTo>
                                        <a:cubicBezTo>
                                          <a:pt x="719587" y="1714965"/>
                                          <a:pt x="719382" y="1719281"/>
                                          <a:pt x="721106" y="1722730"/>
                                        </a:cubicBezTo>
                                        <a:cubicBezTo>
                                          <a:pt x="723072" y="1726662"/>
                                          <a:pt x="725983" y="1730045"/>
                                          <a:pt x="728421" y="1733703"/>
                                        </a:cubicBezTo>
                                        <a:cubicBezTo>
                                          <a:pt x="727202" y="1745895"/>
                                          <a:pt x="726626" y="1758169"/>
                                          <a:pt x="724763" y="1770279"/>
                                        </a:cubicBezTo>
                                        <a:cubicBezTo>
                                          <a:pt x="724177" y="1774089"/>
                                          <a:pt x="723514" y="1778241"/>
                                          <a:pt x="721106" y="1781251"/>
                                        </a:cubicBezTo>
                                        <a:cubicBezTo>
                                          <a:pt x="718360" y="1784684"/>
                                          <a:pt x="713510" y="1785753"/>
                                          <a:pt x="710133" y="1788567"/>
                                        </a:cubicBezTo>
                                        <a:cubicBezTo>
                                          <a:pt x="691456" y="1804131"/>
                                          <a:pt x="708210" y="1797276"/>
                                          <a:pt x="684530" y="1803197"/>
                                        </a:cubicBezTo>
                                        <a:cubicBezTo>
                                          <a:pt x="682091" y="1805635"/>
                                          <a:pt x="677405" y="1807069"/>
                                          <a:pt x="677214" y="1810512"/>
                                        </a:cubicBezTo>
                                        <a:cubicBezTo>
                                          <a:pt x="676130" y="1830027"/>
                                          <a:pt x="678826" y="1849596"/>
                                          <a:pt x="680872" y="1869034"/>
                                        </a:cubicBezTo>
                                        <a:cubicBezTo>
                                          <a:pt x="681276" y="1872868"/>
                                          <a:pt x="683471" y="1876300"/>
                                          <a:pt x="684530" y="1880007"/>
                                        </a:cubicBezTo>
                                        <a:cubicBezTo>
                                          <a:pt x="685911" y="1884840"/>
                                          <a:pt x="686968" y="1889760"/>
                                          <a:pt x="688187" y="1894637"/>
                                        </a:cubicBezTo>
                                        <a:cubicBezTo>
                                          <a:pt x="687369" y="1904452"/>
                                          <a:pt x="688343" y="1934559"/>
                                          <a:pt x="680872" y="1949501"/>
                                        </a:cubicBezTo>
                                        <a:cubicBezTo>
                                          <a:pt x="678906" y="1953433"/>
                                          <a:pt x="678434" y="1950720"/>
                                          <a:pt x="673557" y="1960474"/>
                                        </a:cubicBezTo>
                                        <a:lnTo>
                                          <a:pt x="651611" y="1986077"/>
                                        </a:lnTo>
                                        <a:lnTo>
                                          <a:pt x="622350" y="2008023"/>
                                        </a:lnTo>
                                        <a:cubicBezTo>
                                          <a:pt x="598681" y="2055363"/>
                                          <a:pt x="605578" y="2036396"/>
                                          <a:pt x="596747" y="2062887"/>
                                        </a:cubicBezTo>
                                        <a:cubicBezTo>
                                          <a:pt x="595528" y="2077517"/>
                                          <a:pt x="596166" y="2092423"/>
                                          <a:pt x="593090" y="2106778"/>
                                        </a:cubicBezTo>
                                        <a:cubicBezTo>
                                          <a:pt x="592367" y="2110150"/>
                                          <a:pt x="587132" y="2110923"/>
                                          <a:pt x="585774" y="2114093"/>
                                        </a:cubicBezTo>
                                        <a:cubicBezTo>
                                          <a:pt x="583325" y="2119807"/>
                                          <a:pt x="583753" y="2126383"/>
                                          <a:pt x="582117" y="2132381"/>
                                        </a:cubicBezTo>
                                        <a:cubicBezTo>
                                          <a:pt x="580088" y="2139820"/>
                                          <a:pt x="577241" y="2147012"/>
                                          <a:pt x="574802" y="2154327"/>
                                        </a:cubicBezTo>
                                        <a:lnTo>
                                          <a:pt x="571144" y="2165299"/>
                                        </a:lnTo>
                                        <a:cubicBezTo>
                                          <a:pt x="569925" y="2168957"/>
                                          <a:pt x="571342" y="2176272"/>
                                          <a:pt x="567486" y="2176272"/>
                                        </a:cubicBezTo>
                                        <a:lnTo>
                                          <a:pt x="563829" y="2176272"/>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0" name="Freeform 179"/>
                                  <p:cNvSpPr/>
                                  <p:nvPr/>
                                </p:nvSpPr>
                                <p:spPr>
                                  <a:xfrm>
                                    <a:off x="4421872" y="563270"/>
                                    <a:ext cx="47715" cy="102413"/>
                                  </a:xfrm>
                                  <a:custGeom>
                                    <a:avLst/>
                                    <a:gdLst>
                                      <a:gd name="connsiteX0" fmla="*/ 36742 w 47715"/>
                                      <a:gd name="connsiteY0" fmla="*/ 0 h 102413"/>
                                      <a:gd name="connsiteX1" fmla="*/ 36742 w 47715"/>
                                      <a:gd name="connsiteY1" fmla="*/ 0 h 102413"/>
                                      <a:gd name="connsiteX2" fmla="*/ 29427 w 47715"/>
                                      <a:gd name="connsiteY2" fmla="*/ 32919 h 102413"/>
                                      <a:gd name="connsiteX3" fmla="*/ 22112 w 47715"/>
                                      <a:gd name="connsiteY3" fmla="*/ 54864 h 102413"/>
                                      <a:gd name="connsiteX4" fmla="*/ 11139 w 47715"/>
                                      <a:gd name="connsiteY4" fmla="*/ 58522 h 102413"/>
                                      <a:gd name="connsiteX5" fmla="*/ 7482 w 47715"/>
                                      <a:gd name="connsiteY5" fmla="*/ 69495 h 102413"/>
                                      <a:gd name="connsiteX6" fmla="*/ 166 w 47715"/>
                                      <a:gd name="connsiteY6" fmla="*/ 76810 h 102413"/>
                                      <a:gd name="connsiteX7" fmla="*/ 3824 w 47715"/>
                                      <a:gd name="connsiteY7" fmla="*/ 102413 h 102413"/>
                                      <a:gd name="connsiteX8" fmla="*/ 14797 w 47715"/>
                                      <a:gd name="connsiteY8" fmla="*/ 98756 h 102413"/>
                                      <a:gd name="connsiteX9" fmla="*/ 36742 w 47715"/>
                                      <a:gd name="connsiteY9" fmla="*/ 87783 h 102413"/>
                                      <a:gd name="connsiteX10" fmla="*/ 44058 w 47715"/>
                                      <a:gd name="connsiteY10" fmla="*/ 80468 h 102413"/>
                                      <a:gd name="connsiteX11" fmla="*/ 47715 w 47715"/>
                                      <a:gd name="connsiteY11" fmla="*/ 65837 h 102413"/>
                                      <a:gd name="connsiteX12" fmla="*/ 36742 w 47715"/>
                                      <a:gd name="connsiteY12" fmla="*/ 0 h 10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15" h="102413">
                                        <a:moveTo>
                                          <a:pt x="36742" y="0"/>
                                        </a:moveTo>
                                        <a:lnTo>
                                          <a:pt x="36742" y="0"/>
                                        </a:lnTo>
                                        <a:cubicBezTo>
                                          <a:pt x="34304" y="10973"/>
                                          <a:pt x="32323" y="22058"/>
                                          <a:pt x="29427" y="32919"/>
                                        </a:cubicBezTo>
                                        <a:cubicBezTo>
                                          <a:pt x="27440" y="40369"/>
                                          <a:pt x="29427" y="52425"/>
                                          <a:pt x="22112" y="54864"/>
                                        </a:cubicBezTo>
                                        <a:lnTo>
                                          <a:pt x="11139" y="58522"/>
                                        </a:lnTo>
                                        <a:cubicBezTo>
                                          <a:pt x="9920" y="62180"/>
                                          <a:pt x="9466" y="66189"/>
                                          <a:pt x="7482" y="69495"/>
                                        </a:cubicBezTo>
                                        <a:cubicBezTo>
                                          <a:pt x="5708" y="72452"/>
                                          <a:pt x="547" y="73383"/>
                                          <a:pt x="166" y="76810"/>
                                        </a:cubicBezTo>
                                        <a:cubicBezTo>
                                          <a:pt x="-786" y="85378"/>
                                          <a:pt x="2605" y="93879"/>
                                          <a:pt x="3824" y="102413"/>
                                        </a:cubicBezTo>
                                        <a:cubicBezTo>
                                          <a:pt x="7482" y="101194"/>
                                          <a:pt x="11349" y="100480"/>
                                          <a:pt x="14797" y="98756"/>
                                        </a:cubicBezTo>
                                        <a:cubicBezTo>
                                          <a:pt x="43161" y="84574"/>
                                          <a:pt x="9162" y="96976"/>
                                          <a:pt x="36742" y="87783"/>
                                        </a:cubicBezTo>
                                        <a:cubicBezTo>
                                          <a:pt x="39181" y="85345"/>
                                          <a:pt x="42516" y="83552"/>
                                          <a:pt x="44058" y="80468"/>
                                        </a:cubicBezTo>
                                        <a:cubicBezTo>
                                          <a:pt x="46306" y="75972"/>
                                          <a:pt x="47715" y="70864"/>
                                          <a:pt x="47715" y="65837"/>
                                        </a:cubicBezTo>
                                        <a:cubicBezTo>
                                          <a:pt x="47715" y="12199"/>
                                          <a:pt x="38571" y="10973"/>
                                          <a:pt x="3674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78" name="Freeform 177"/>
                                <p:cNvSpPr/>
                                <p:nvPr/>
                              </p:nvSpPr>
                              <p:spPr>
                                <a:xfrm>
                                  <a:off x="4312310" y="662026"/>
                                  <a:ext cx="73894" cy="109728"/>
                                </a:xfrm>
                                <a:custGeom>
                                  <a:avLst/>
                                  <a:gdLst>
                                    <a:gd name="connsiteX0" fmla="*/ 32919 w 73894"/>
                                    <a:gd name="connsiteY0" fmla="*/ 0 h 109728"/>
                                    <a:gd name="connsiteX1" fmla="*/ 32919 w 73894"/>
                                    <a:gd name="connsiteY1" fmla="*/ 0 h 109728"/>
                                    <a:gd name="connsiteX2" fmla="*/ 36576 w 73894"/>
                                    <a:gd name="connsiteY2" fmla="*/ 54864 h 109728"/>
                                    <a:gd name="connsiteX3" fmla="*/ 51207 w 73894"/>
                                    <a:gd name="connsiteY3" fmla="*/ 51206 h 109728"/>
                                    <a:gd name="connsiteX4" fmla="*/ 69495 w 73894"/>
                                    <a:gd name="connsiteY4" fmla="*/ 36576 h 109728"/>
                                    <a:gd name="connsiteX5" fmla="*/ 69495 w 73894"/>
                                    <a:gd name="connsiteY5" fmla="*/ 65836 h 109728"/>
                                    <a:gd name="connsiteX6" fmla="*/ 58522 w 73894"/>
                                    <a:gd name="connsiteY6" fmla="*/ 69494 h 109728"/>
                                    <a:gd name="connsiteX7" fmla="*/ 36576 w 73894"/>
                                    <a:gd name="connsiteY7" fmla="*/ 80467 h 109728"/>
                                    <a:gd name="connsiteX8" fmla="*/ 32919 w 73894"/>
                                    <a:gd name="connsiteY8" fmla="*/ 91440 h 109728"/>
                                    <a:gd name="connsiteX9" fmla="*/ 14631 w 73894"/>
                                    <a:gd name="connsiteY9" fmla="*/ 109728 h 109728"/>
                                    <a:gd name="connsiteX10" fmla="*/ 3658 w 73894"/>
                                    <a:gd name="connsiteY10" fmla="*/ 106070 h 109728"/>
                                    <a:gd name="connsiteX11" fmla="*/ 0 w 73894"/>
                                    <a:gd name="connsiteY11" fmla="*/ 95097 h 109728"/>
                                    <a:gd name="connsiteX12" fmla="*/ 3658 w 73894"/>
                                    <a:gd name="connsiteY12" fmla="*/ 80467 h 109728"/>
                                    <a:gd name="connsiteX13" fmla="*/ 14631 w 73894"/>
                                    <a:gd name="connsiteY13" fmla="*/ 58521 h 109728"/>
                                    <a:gd name="connsiteX14" fmla="*/ 18288 w 73894"/>
                                    <a:gd name="connsiteY14" fmla="*/ 47548 h 109728"/>
                                    <a:gd name="connsiteX15" fmla="*/ 32919 w 73894"/>
                                    <a:gd name="connsiteY15" fmla="*/ 0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894" h="109728">
                                      <a:moveTo>
                                        <a:pt x="32919" y="0"/>
                                      </a:moveTo>
                                      <a:lnTo>
                                        <a:pt x="32919" y="0"/>
                                      </a:lnTo>
                                      <a:lnTo>
                                        <a:pt x="36576" y="54864"/>
                                      </a:lnTo>
                                      <a:cubicBezTo>
                                        <a:pt x="38267" y="59598"/>
                                        <a:pt x="47024" y="53995"/>
                                        <a:pt x="51207" y="51206"/>
                                      </a:cubicBezTo>
                                      <a:cubicBezTo>
                                        <a:pt x="84291" y="29150"/>
                                        <a:pt x="33627" y="48530"/>
                                        <a:pt x="69495" y="36576"/>
                                      </a:cubicBezTo>
                                      <a:cubicBezTo>
                                        <a:pt x="72989" y="47059"/>
                                        <a:pt x="77341" y="54067"/>
                                        <a:pt x="69495" y="65836"/>
                                      </a:cubicBezTo>
                                      <a:cubicBezTo>
                                        <a:pt x="67356" y="69044"/>
                                        <a:pt x="61971" y="67770"/>
                                        <a:pt x="58522" y="69494"/>
                                      </a:cubicBezTo>
                                      <a:cubicBezTo>
                                        <a:pt x="30160" y="83675"/>
                                        <a:pt x="64157" y="71272"/>
                                        <a:pt x="36576" y="80467"/>
                                      </a:cubicBezTo>
                                      <a:cubicBezTo>
                                        <a:pt x="35357" y="84125"/>
                                        <a:pt x="35232" y="88356"/>
                                        <a:pt x="32919" y="91440"/>
                                      </a:cubicBezTo>
                                      <a:cubicBezTo>
                                        <a:pt x="27746" y="98337"/>
                                        <a:pt x="14631" y="109728"/>
                                        <a:pt x="14631" y="109728"/>
                                      </a:cubicBezTo>
                                      <a:cubicBezTo>
                                        <a:pt x="10973" y="108509"/>
                                        <a:pt x="6384" y="108796"/>
                                        <a:pt x="3658" y="106070"/>
                                      </a:cubicBezTo>
                                      <a:cubicBezTo>
                                        <a:pt x="932" y="103344"/>
                                        <a:pt x="0" y="98953"/>
                                        <a:pt x="0" y="95097"/>
                                      </a:cubicBezTo>
                                      <a:cubicBezTo>
                                        <a:pt x="0" y="90070"/>
                                        <a:pt x="2277" y="85300"/>
                                        <a:pt x="3658" y="80467"/>
                                      </a:cubicBezTo>
                                      <a:cubicBezTo>
                                        <a:pt x="7444" y="67217"/>
                                        <a:pt x="6616" y="70544"/>
                                        <a:pt x="14631" y="58521"/>
                                      </a:cubicBezTo>
                                      <a:cubicBezTo>
                                        <a:pt x="15850" y="54863"/>
                                        <a:pt x="16304" y="50854"/>
                                        <a:pt x="18288" y="47548"/>
                                      </a:cubicBezTo>
                                      <a:cubicBezTo>
                                        <a:pt x="20062" y="44591"/>
                                        <a:pt x="25604" y="40233"/>
                                        <a:pt x="32919"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68" name="Group 167"/>
                              <p:cNvGrpSpPr/>
                              <p:nvPr/>
                            </p:nvGrpSpPr>
                            <p:grpSpPr>
                              <a:xfrm>
                                <a:off x="4158435" y="347336"/>
                                <a:ext cx="684422" cy="482939"/>
                                <a:chOff x="4158435" y="347336"/>
                                <a:chExt cx="684422" cy="482939"/>
                              </a:xfrm>
                              <a:grpFill/>
                            </p:grpSpPr>
                            <p:sp>
                              <p:nvSpPr>
                                <p:cNvPr id="169" name="Freeform 168"/>
                                <p:cNvSpPr/>
                                <p:nvPr/>
                              </p:nvSpPr>
                              <p:spPr>
                                <a:xfrm>
                                  <a:off x="4224042" y="757123"/>
                                  <a:ext cx="63203" cy="36576"/>
                                </a:xfrm>
                                <a:custGeom>
                                  <a:avLst/>
                                  <a:gdLst>
                                    <a:gd name="connsiteX0" fmla="*/ 33404 w 63203"/>
                                    <a:gd name="connsiteY0" fmla="*/ 7315 h 36576"/>
                                    <a:gd name="connsiteX1" fmla="*/ 33404 w 63203"/>
                                    <a:gd name="connsiteY1" fmla="*/ 7315 h 36576"/>
                                    <a:gd name="connsiteX2" fmla="*/ 4144 w 63203"/>
                                    <a:gd name="connsiteY2" fmla="*/ 18288 h 36576"/>
                                    <a:gd name="connsiteX3" fmla="*/ 486 w 63203"/>
                                    <a:gd name="connsiteY3" fmla="*/ 29261 h 36576"/>
                                    <a:gd name="connsiteX4" fmla="*/ 11459 w 63203"/>
                                    <a:gd name="connsiteY4" fmla="*/ 36576 h 36576"/>
                                    <a:gd name="connsiteX5" fmla="*/ 22432 w 63203"/>
                                    <a:gd name="connsiteY5" fmla="*/ 32919 h 36576"/>
                                    <a:gd name="connsiteX6" fmla="*/ 44377 w 63203"/>
                                    <a:gd name="connsiteY6" fmla="*/ 21946 h 36576"/>
                                    <a:gd name="connsiteX7" fmla="*/ 51692 w 63203"/>
                                    <a:gd name="connsiteY7" fmla="*/ 10973 h 36576"/>
                                    <a:gd name="connsiteX8" fmla="*/ 51692 w 63203"/>
                                    <a:gd name="connsiteY8" fmla="*/ 0 h 36576"/>
                                    <a:gd name="connsiteX9" fmla="*/ 33404 w 63203"/>
                                    <a:gd name="connsiteY9" fmla="*/ 7315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03" h="36576">
                                      <a:moveTo>
                                        <a:pt x="33404" y="7315"/>
                                      </a:moveTo>
                                      <a:lnTo>
                                        <a:pt x="33404" y="7315"/>
                                      </a:lnTo>
                                      <a:cubicBezTo>
                                        <a:pt x="23651" y="10973"/>
                                        <a:pt x="12811" y="12510"/>
                                        <a:pt x="4144" y="18288"/>
                                      </a:cubicBezTo>
                                      <a:cubicBezTo>
                                        <a:pt x="936" y="20427"/>
                                        <a:pt x="-946" y="25681"/>
                                        <a:pt x="486" y="29261"/>
                                      </a:cubicBezTo>
                                      <a:cubicBezTo>
                                        <a:pt x="2119" y="33343"/>
                                        <a:pt x="7801" y="34138"/>
                                        <a:pt x="11459" y="36576"/>
                                      </a:cubicBezTo>
                                      <a:cubicBezTo>
                                        <a:pt x="15117" y="35357"/>
                                        <a:pt x="18984" y="34643"/>
                                        <a:pt x="22432" y="32919"/>
                                      </a:cubicBezTo>
                                      <a:cubicBezTo>
                                        <a:pt x="50793" y="18738"/>
                                        <a:pt x="16796" y="31138"/>
                                        <a:pt x="44377" y="21946"/>
                                      </a:cubicBezTo>
                                      <a:cubicBezTo>
                                        <a:pt x="46815" y="18288"/>
                                        <a:pt x="48259" y="13719"/>
                                        <a:pt x="51692" y="10973"/>
                                      </a:cubicBezTo>
                                      <a:cubicBezTo>
                                        <a:pt x="62017" y="2713"/>
                                        <a:pt x="71367" y="13116"/>
                                        <a:pt x="51692" y="0"/>
                                      </a:cubicBezTo>
                                      <a:cubicBezTo>
                                        <a:pt x="34696" y="4249"/>
                                        <a:pt x="36452" y="6096"/>
                                        <a:pt x="33404" y="7315"/>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0" name="Freeform 169"/>
                                <p:cNvSpPr/>
                                <p:nvPr/>
                              </p:nvSpPr>
                              <p:spPr>
                                <a:xfrm>
                                  <a:off x="4158435" y="793699"/>
                                  <a:ext cx="33175" cy="36576"/>
                                </a:xfrm>
                                <a:custGeom>
                                  <a:avLst/>
                                  <a:gdLst>
                                    <a:gd name="connsiteX0" fmla="*/ 18544 w 33175"/>
                                    <a:gd name="connsiteY0" fmla="*/ 0 h 36576"/>
                                    <a:gd name="connsiteX1" fmla="*/ 18544 w 33175"/>
                                    <a:gd name="connsiteY1" fmla="*/ 0 h 36576"/>
                                    <a:gd name="connsiteX2" fmla="*/ 7571 w 33175"/>
                                    <a:gd name="connsiteY2" fmla="*/ 32919 h 36576"/>
                                    <a:gd name="connsiteX3" fmla="*/ 18544 w 33175"/>
                                    <a:gd name="connsiteY3" fmla="*/ 36576 h 36576"/>
                                    <a:gd name="connsiteX4" fmla="*/ 33175 w 33175"/>
                                    <a:gd name="connsiteY4" fmla="*/ 14631 h 36576"/>
                                    <a:gd name="connsiteX5" fmla="*/ 18544 w 33175"/>
                                    <a:gd name="connsiteY5" fmla="*/ 0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5" h="36576">
                                      <a:moveTo>
                                        <a:pt x="18544" y="0"/>
                                      </a:moveTo>
                                      <a:lnTo>
                                        <a:pt x="18544" y="0"/>
                                      </a:lnTo>
                                      <a:cubicBezTo>
                                        <a:pt x="7214" y="15862"/>
                                        <a:pt x="-10107" y="22312"/>
                                        <a:pt x="7571" y="32919"/>
                                      </a:cubicBezTo>
                                      <a:cubicBezTo>
                                        <a:pt x="10877" y="34903"/>
                                        <a:pt x="14886" y="35357"/>
                                        <a:pt x="18544" y="36576"/>
                                      </a:cubicBezTo>
                                      <a:cubicBezTo>
                                        <a:pt x="25140" y="29980"/>
                                        <a:pt x="33175" y="25216"/>
                                        <a:pt x="33175" y="14631"/>
                                      </a:cubicBezTo>
                                      <a:lnTo>
                                        <a:pt x="18544"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1" name="Freeform 170"/>
                                <p:cNvSpPr/>
                                <p:nvPr/>
                              </p:nvSpPr>
                              <p:spPr>
                                <a:xfrm>
                                  <a:off x="4239158" y="662026"/>
                                  <a:ext cx="51611" cy="65836"/>
                                </a:xfrm>
                                <a:custGeom>
                                  <a:avLst/>
                                  <a:gdLst>
                                    <a:gd name="connsiteX0" fmla="*/ 51207 w 51611"/>
                                    <a:gd name="connsiteY0" fmla="*/ 0 h 65836"/>
                                    <a:gd name="connsiteX1" fmla="*/ 51207 w 51611"/>
                                    <a:gd name="connsiteY1" fmla="*/ 0 h 65836"/>
                                    <a:gd name="connsiteX2" fmla="*/ 40234 w 51611"/>
                                    <a:gd name="connsiteY2" fmla="*/ 32918 h 65836"/>
                                    <a:gd name="connsiteX3" fmla="*/ 18288 w 51611"/>
                                    <a:gd name="connsiteY3" fmla="*/ 40233 h 65836"/>
                                    <a:gd name="connsiteX4" fmla="*/ 0 w 51611"/>
                                    <a:gd name="connsiteY4" fmla="*/ 54864 h 65836"/>
                                    <a:gd name="connsiteX5" fmla="*/ 7316 w 51611"/>
                                    <a:gd name="connsiteY5" fmla="*/ 65836 h 65836"/>
                                    <a:gd name="connsiteX6" fmla="*/ 47549 w 51611"/>
                                    <a:gd name="connsiteY6" fmla="*/ 62179 h 65836"/>
                                    <a:gd name="connsiteX7" fmla="*/ 51207 w 51611"/>
                                    <a:gd name="connsiteY7" fmla="*/ 51206 h 65836"/>
                                    <a:gd name="connsiteX8" fmla="*/ 51207 w 51611"/>
                                    <a:gd name="connsiteY8" fmla="*/ 0 h 6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11" h="65836">
                                      <a:moveTo>
                                        <a:pt x="51207" y="0"/>
                                      </a:moveTo>
                                      <a:lnTo>
                                        <a:pt x="51207" y="0"/>
                                      </a:lnTo>
                                      <a:cubicBezTo>
                                        <a:pt x="47549" y="10973"/>
                                        <a:pt x="47558" y="23966"/>
                                        <a:pt x="40234" y="32918"/>
                                      </a:cubicBezTo>
                                      <a:cubicBezTo>
                                        <a:pt x="35351" y="38886"/>
                                        <a:pt x="18288" y="40233"/>
                                        <a:pt x="18288" y="40233"/>
                                      </a:cubicBezTo>
                                      <a:cubicBezTo>
                                        <a:pt x="17733" y="40603"/>
                                        <a:pt x="0" y="51390"/>
                                        <a:pt x="0" y="54864"/>
                                      </a:cubicBezTo>
                                      <a:cubicBezTo>
                                        <a:pt x="0" y="59260"/>
                                        <a:pt x="4877" y="62179"/>
                                        <a:pt x="7316" y="65836"/>
                                      </a:cubicBezTo>
                                      <a:cubicBezTo>
                                        <a:pt x="20727" y="64617"/>
                                        <a:pt x="34774" y="66437"/>
                                        <a:pt x="47549" y="62179"/>
                                      </a:cubicBezTo>
                                      <a:cubicBezTo>
                                        <a:pt x="51207" y="60960"/>
                                        <a:pt x="50887" y="55048"/>
                                        <a:pt x="51207" y="51206"/>
                                      </a:cubicBezTo>
                                      <a:cubicBezTo>
                                        <a:pt x="52118" y="40271"/>
                                        <a:pt x="51207" y="8534"/>
                                        <a:pt x="5120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2" name="Freeform 171"/>
                                <p:cNvSpPr/>
                                <p:nvPr/>
                              </p:nvSpPr>
                              <p:spPr>
                                <a:xfrm>
                                  <a:off x="4499043" y="519243"/>
                                  <a:ext cx="43891" cy="55508"/>
                                </a:xfrm>
                                <a:custGeom>
                                  <a:avLst/>
                                  <a:gdLst>
                                    <a:gd name="connsiteX0" fmla="*/ 43891 w 43891"/>
                                    <a:gd name="connsiteY0" fmla="*/ 0 h 55508"/>
                                    <a:gd name="connsiteX1" fmla="*/ 43891 w 43891"/>
                                    <a:gd name="connsiteY1" fmla="*/ 0 h 55508"/>
                                    <a:gd name="connsiteX2" fmla="*/ 18288 w 43891"/>
                                    <a:gd name="connsiteY2" fmla="*/ 21946 h 55508"/>
                                    <a:gd name="connsiteX3" fmla="*/ 7315 w 43891"/>
                                    <a:gd name="connsiteY3" fmla="*/ 29261 h 55508"/>
                                    <a:gd name="connsiteX4" fmla="*/ 0 w 43891"/>
                                    <a:gd name="connsiteY4" fmla="*/ 51206 h 55508"/>
                                    <a:gd name="connsiteX5" fmla="*/ 29261 w 43891"/>
                                    <a:gd name="connsiteY5" fmla="*/ 51206 h 55508"/>
                                    <a:gd name="connsiteX6" fmla="*/ 36576 w 43891"/>
                                    <a:gd name="connsiteY6" fmla="*/ 40234 h 55508"/>
                                    <a:gd name="connsiteX7" fmla="*/ 43891 w 43891"/>
                                    <a:gd name="connsiteY7" fmla="*/ 0 h 5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91" h="55508">
                                      <a:moveTo>
                                        <a:pt x="43891" y="0"/>
                                      </a:moveTo>
                                      <a:lnTo>
                                        <a:pt x="43891" y="0"/>
                                      </a:lnTo>
                                      <a:cubicBezTo>
                                        <a:pt x="35357" y="7315"/>
                                        <a:pt x="27065" y="14924"/>
                                        <a:pt x="18288" y="21946"/>
                                      </a:cubicBezTo>
                                      <a:cubicBezTo>
                                        <a:pt x="14855" y="24692"/>
                                        <a:pt x="9645" y="25533"/>
                                        <a:pt x="7315" y="29261"/>
                                      </a:cubicBezTo>
                                      <a:cubicBezTo>
                                        <a:pt x="3228" y="35800"/>
                                        <a:pt x="0" y="51206"/>
                                        <a:pt x="0" y="51206"/>
                                      </a:cubicBezTo>
                                      <a:cubicBezTo>
                                        <a:pt x="11253" y="54957"/>
                                        <a:pt x="16251" y="58640"/>
                                        <a:pt x="29261" y="51206"/>
                                      </a:cubicBezTo>
                                      <a:cubicBezTo>
                                        <a:pt x="33077" y="49025"/>
                                        <a:pt x="34791" y="44251"/>
                                        <a:pt x="36576" y="40234"/>
                                      </a:cubicBezTo>
                                      <a:cubicBezTo>
                                        <a:pt x="39708" y="33188"/>
                                        <a:pt x="42672" y="6706"/>
                                        <a:pt x="4389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3" name="Freeform 172"/>
                                <p:cNvSpPr/>
                                <p:nvPr/>
                              </p:nvSpPr>
                              <p:spPr>
                                <a:xfrm>
                                  <a:off x="4551779" y="478550"/>
                                  <a:ext cx="50078" cy="44351"/>
                                </a:xfrm>
                                <a:custGeom>
                                  <a:avLst/>
                                  <a:gdLst>
                                    <a:gd name="connsiteX0" fmla="*/ 35046 w 50078"/>
                                    <a:gd name="connsiteY0" fmla="*/ 459 h 44351"/>
                                    <a:gd name="connsiteX1" fmla="*/ 35046 w 50078"/>
                                    <a:gd name="connsiteY1" fmla="*/ 459 h 44351"/>
                                    <a:gd name="connsiteX2" fmla="*/ 2128 w 50078"/>
                                    <a:gd name="connsiteY2" fmla="*/ 4117 h 44351"/>
                                    <a:gd name="connsiteX3" fmla="*/ 5786 w 50078"/>
                                    <a:gd name="connsiteY3" fmla="*/ 26063 h 44351"/>
                                    <a:gd name="connsiteX4" fmla="*/ 20416 w 50078"/>
                                    <a:gd name="connsiteY4" fmla="*/ 44351 h 44351"/>
                                    <a:gd name="connsiteX5" fmla="*/ 38704 w 50078"/>
                                    <a:gd name="connsiteY5" fmla="*/ 40693 h 44351"/>
                                    <a:gd name="connsiteX6" fmla="*/ 49677 w 50078"/>
                                    <a:gd name="connsiteY6" fmla="*/ 33378 h 44351"/>
                                    <a:gd name="connsiteX7" fmla="*/ 46019 w 50078"/>
                                    <a:gd name="connsiteY7" fmla="*/ 22405 h 44351"/>
                                    <a:gd name="connsiteX8" fmla="*/ 35046 w 50078"/>
                                    <a:gd name="connsiteY8" fmla="*/ 15090 h 44351"/>
                                    <a:gd name="connsiteX9" fmla="*/ 35046 w 50078"/>
                                    <a:gd name="connsiteY9" fmla="*/ 459 h 4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78" h="44351">
                                      <a:moveTo>
                                        <a:pt x="35046" y="459"/>
                                      </a:moveTo>
                                      <a:lnTo>
                                        <a:pt x="35046" y="459"/>
                                      </a:lnTo>
                                      <a:cubicBezTo>
                                        <a:pt x="24073" y="1678"/>
                                        <a:pt x="10436" y="-3153"/>
                                        <a:pt x="2128" y="4117"/>
                                      </a:cubicBezTo>
                                      <a:cubicBezTo>
                                        <a:pt x="-3453" y="9001"/>
                                        <a:pt x="3441" y="19027"/>
                                        <a:pt x="5786" y="26063"/>
                                      </a:cubicBezTo>
                                      <a:cubicBezTo>
                                        <a:pt x="8092" y="32982"/>
                                        <a:pt x="15423" y="39358"/>
                                        <a:pt x="20416" y="44351"/>
                                      </a:cubicBezTo>
                                      <a:cubicBezTo>
                                        <a:pt x="26512" y="43132"/>
                                        <a:pt x="32883" y="42876"/>
                                        <a:pt x="38704" y="40693"/>
                                      </a:cubicBezTo>
                                      <a:cubicBezTo>
                                        <a:pt x="42820" y="39149"/>
                                        <a:pt x="48044" y="37460"/>
                                        <a:pt x="49677" y="33378"/>
                                      </a:cubicBezTo>
                                      <a:cubicBezTo>
                                        <a:pt x="51109" y="29798"/>
                                        <a:pt x="48428" y="25416"/>
                                        <a:pt x="46019" y="22405"/>
                                      </a:cubicBezTo>
                                      <a:cubicBezTo>
                                        <a:pt x="43273" y="18972"/>
                                        <a:pt x="38479" y="17836"/>
                                        <a:pt x="35046" y="15090"/>
                                      </a:cubicBezTo>
                                      <a:cubicBezTo>
                                        <a:pt x="32353" y="12936"/>
                                        <a:pt x="35046" y="2897"/>
                                        <a:pt x="35046" y="45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4" name="Freeform 173"/>
                                <p:cNvSpPr/>
                                <p:nvPr/>
                              </p:nvSpPr>
                              <p:spPr>
                                <a:xfrm>
                                  <a:off x="4325729" y="610683"/>
                                  <a:ext cx="32464" cy="44164"/>
                                </a:xfrm>
                                <a:custGeom>
                                  <a:avLst/>
                                  <a:gdLst>
                                    <a:gd name="connsiteX0" fmla="*/ 30668 w 32464"/>
                                    <a:gd name="connsiteY0" fmla="*/ 0 h 44164"/>
                                    <a:gd name="connsiteX1" fmla="*/ 30668 w 32464"/>
                                    <a:gd name="connsiteY1" fmla="*/ 0 h 44164"/>
                                    <a:gd name="connsiteX2" fmla="*/ 12380 w 32464"/>
                                    <a:gd name="connsiteY2" fmla="*/ 25603 h 44164"/>
                                    <a:gd name="connsiteX3" fmla="*/ 1407 w 32464"/>
                                    <a:gd name="connsiteY3" fmla="*/ 43891 h 44164"/>
                                    <a:gd name="connsiteX4" fmla="*/ 30668 w 32464"/>
                                    <a:gd name="connsiteY4" fmla="*/ 36576 h 44164"/>
                                    <a:gd name="connsiteX5" fmla="*/ 30668 w 32464"/>
                                    <a:gd name="connsiteY5" fmla="*/ 0 h 4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64" h="44164">
                                      <a:moveTo>
                                        <a:pt x="30668" y="0"/>
                                      </a:moveTo>
                                      <a:lnTo>
                                        <a:pt x="30668" y="0"/>
                                      </a:lnTo>
                                      <a:cubicBezTo>
                                        <a:pt x="24572" y="8534"/>
                                        <a:pt x="18819" y="17324"/>
                                        <a:pt x="12380" y="25603"/>
                                      </a:cubicBezTo>
                                      <a:cubicBezTo>
                                        <a:pt x="12269" y="25746"/>
                                        <a:pt x="-4949" y="40713"/>
                                        <a:pt x="1407" y="43891"/>
                                      </a:cubicBezTo>
                                      <a:cubicBezTo>
                                        <a:pt x="4939" y="45657"/>
                                        <a:pt x="25294" y="38368"/>
                                        <a:pt x="30668" y="36576"/>
                                      </a:cubicBezTo>
                                      <a:cubicBezTo>
                                        <a:pt x="34711" y="24446"/>
                                        <a:pt x="30668" y="6096"/>
                                        <a:pt x="3066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5" name="Freeform 174"/>
                                <p:cNvSpPr/>
                                <p:nvPr/>
                              </p:nvSpPr>
                              <p:spPr>
                                <a:xfrm>
                                  <a:off x="4820769" y="383912"/>
                                  <a:ext cx="22088" cy="29520"/>
                                </a:xfrm>
                                <a:custGeom>
                                  <a:avLst/>
                                  <a:gdLst>
                                    <a:gd name="connsiteX0" fmla="*/ 22088 w 22088"/>
                                    <a:gd name="connsiteY0" fmla="*/ 0 h 29520"/>
                                    <a:gd name="connsiteX1" fmla="*/ 22088 w 22088"/>
                                    <a:gd name="connsiteY1" fmla="*/ 0 h 29520"/>
                                    <a:gd name="connsiteX2" fmla="*/ 143 w 22088"/>
                                    <a:gd name="connsiteY2" fmla="*/ 25603 h 29520"/>
                                    <a:gd name="connsiteX3" fmla="*/ 11116 w 22088"/>
                                    <a:gd name="connsiteY3" fmla="*/ 29261 h 29520"/>
                                    <a:gd name="connsiteX4" fmla="*/ 22088 w 22088"/>
                                    <a:gd name="connsiteY4" fmla="*/ 0 h 29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88" h="29520">
                                      <a:moveTo>
                                        <a:pt x="22088" y="0"/>
                                      </a:moveTo>
                                      <a:lnTo>
                                        <a:pt x="22088" y="0"/>
                                      </a:lnTo>
                                      <a:cubicBezTo>
                                        <a:pt x="14773" y="8534"/>
                                        <a:pt x="4089" y="15078"/>
                                        <a:pt x="143" y="25603"/>
                                      </a:cubicBezTo>
                                      <a:cubicBezTo>
                                        <a:pt x="-1211" y="29213"/>
                                        <a:pt x="7335" y="30017"/>
                                        <a:pt x="11116" y="29261"/>
                                      </a:cubicBezTo>
                                      <a:cubicBezTo>
                                        <a:pt x="21017" y="27281"/>
                                        <a:pt x="20259" y="4877"/>
                                        <a:pt x="2208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6" name="Freeform 175"/>
                                <p:cNvSpPr/>
                                <p:nvPr/>
                              </p:nvSpPr>
                              <p:spPr>
                                <a:xfrm>
                                  <a:off x="4744102" y="347336"/>
                                  <a:ext cx="81214" cy="43443"/>
                                </a:xfrm>
                                <a:custGeom>
                                  <a:avLst/>
                                  <a:gdLst>
                                    <a:gd name="connsiteX0" fmla="*/ 58522 w 81214"/>
                                    <a:gd name="connsiteY0" fmla="*/ 0 h 43443"/>
                                    <a:gd name="connsiteX1" fmla="*/ 58522 w 81214"/>
                                    <a:gd name="connsiteY1" fmla="*/ 0 h 43443"/>
                                    <a:gd name="connsiteX2" fmla="*/ 29261 w 81214"/>
                                    <a:gd name="connsiteY2" fmla="*/ 14630 h 43443"/>
                                    <a:gd name="connsiteX3" fmla="*/ 0 w 81214"/>
                                    <a:gd name="connsiteY3" fmla="*/ 29261 h 43443"/>
                                    <a:gd name="connsiteX4" fmla="*/ 40234 w 81214"/>
                                    <a:gd name="connsiteY4" fmla="*/ 36576 h 43443"/>
                                    <a:gd name="connsiteX5" fmla="*/ 62179 w 81214"/>
                                    <a:gd name="connsiteY5" fmla="*/ 25603 h 43443"/>
                                    <a:gd name="connsiteX6" fmla="*/ 69495 w 81214"/>
                                    <a:gd name="connsiteY6" fmla="*/ 18288 h 43443"/>
                                    <a:gd name="connsiteX7" fmla="*/ 80467 w 81214"/>
                                    <a:gd name="connsiteY7" fmla="*/ 14630 h 43443"/>
                                    <a:gd name="connsiteX8" fmla="*/ 58522 w 81214"/>
                                    <a:gd name="connsiteY8" fmla="*/ 0 h 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14" h="43443">
                                      <a:moveTo>
                                        <a:pt x="58522" y="0"/>
                                      </a:moveTo>
                                      <a:lnTo>
                                        <a:pt x="58522" y="0"/>
                                      </a:lnTo>
                                      <a:cubicBezTo>
                                        <a:pt x="48768" y="4877"/>
                                        <a:pt x="39606" y="11182"/>
                                        <a:pt x="29261" y="14630"/>
                                      </a:cubicBezTo>
                                      <a:cubicBezTo>
                                        <a:pt x="-2260" y="25137"/>
                                        <a:pt x="7324" y="7290"/>
                                        <a:pt x="0" y="29261"/>
                                      </a:cubicBezTo>
                                      <a:cubicBezTo>
                                        <a:pt x="7316" y="51205"/>
                                        <a:pt x="512" y="42687"/>
                                        <a:pt x="40234" y="36576"/>
                                      </a:cubicBezTo>
                                      <a:cubicBezTo>
                                        <a:pt x="48604" y="35288"/>
                                        <a:pt x="55721" y="30770"/>
                                        <a:pt x="62179" y="25603"/>
                                      </a:cubicBezTo>
                                      <a:cubicBezTo>
                                        <a:pt x="64872" y="23449"/>
                                        <a:pt x="66538" y="20062"/>
                                        <a:pt x="69495" y="18288"/>
                                      </a:cubicBezTo>
                                      <a:cubicBezTo>
                                        <a:pt x="72801" y="16304"/>
                                        <a:pt x="76810" y="15849"/>
                                        <a:pt x="80467" y="14630"/>
                                      </a:cubicBezTo>
                                      <a:cubicBezTo>
                                        <a:pt x="85667" y="-969"/>
                                        <a:pt x="62180" y="2438"/>
                                        <a:pt x="5852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nvGrpSpPr>
                            <p:cNvPr id="161" name="Group 160"/>
                            <p:cNvGrpSpPr/>
                            <p:nvPr/>
                          </p:nvGrpSpPr>
                          <p:grpSpPr>
                            <a:xfrm>
                              <a:off x="3784821" y="675861"/>
                              <a:ext cx="1148963" cy="2516588"/>
                              <a:chOff x="3784821" y="675861"/>
                              <a:chExt cx="1148963" cy="2516588"/>
                            </a:xfrm>
                            <a:grpFill/>
                          </p:grpSpPr>
                          <p:sp>
                            <p:nvSpPr>
                              <p:cNvPr id="162" name="Freeform 161"/>
                              <p:cNvSpPr/>
                              <p:nvPr/>
                            </p:nvSpPr>
                            <p:spPr>
                              <a:xfrm>
                                <a:off x="3784821" y="675861"/>
                                <a:ext cx="1148963" cy="2443850"/>
                              </a:xfrm>
                              <a:custGeom>
                                <a:avLst/>
                                <a:gdLst>
                                  <a:gd name="connsiteX0" fmla="*/ 11927 w 1148963"/>
                                  <a:gd name="connsiteY0" fmla="*/ 1745311 h 2443850"/>
                                  <a:gd name="connsiteX1" fmla="*/ 11927 w 1148963"/>
                                  <a:gd name="connsiteY1" fmla="*/ 1745311 h 2443850"/>
                                  <a:gd name="connsiteX2" fmla="*/ 35781 w 1148963"/>
                                  <a:gd name="connsiteY2" fmla="*/ 1781092 h 2443850"/>
                                  <a:gd name="connsiteX3" fmla="*/ 47708 w 1148963"/>
                                  <a:gd name="connsiteY3" fmla="*/ 1777116 h 2443850"/>
                                  <a:gd name="connsiteX4" fmla="*/ 51683 w 1148963"/>
                                  <a:gd name="connsiteY4" fmla="*/ 1765189 h 2443850"/>
                                  <a:gd name="connsiteX5" fmla="*/ 59635 w 1148963"/>
                                  <a:gd name="connsiteY5" fmla="*/ 1737360 h 2443850"/>
                                  <a:gd name="connsiteX6" fmla="*/ 67586 w 1148963"/>
                                  <a:gd name="connsiteY6" fmla="*/ 1725433 h 2443850"/>
                                  <a:gd name="connsiteX7" fmla="*/ 75537 w 1148963"/>
                                  <a:gd name="connsiteY7" fmla="*/ 1665798 h 2443850"/>
                                  <a:gd name="connsiteX8" fmla="*/ 83489 w 1148963"/>
                                  <a:gd name="connsiteY8" fmla="*/ 1633993 h 2443850"/>
                                  <a:gd name="connsiteX9" fmla="*/ 95416 w 1148963"/>
                                  <a:gd name="connsiteY9" fmla="*/ 1626042 h 2443850"/>
                                  <a:gd name="connsiteX10" fmla="*/ 103367 w 1148963"/>
                                  <a:gd name="connsiteY10" fmla="*/ 1618090 h 2443850"/>
                                  <a:gd name="connsiteX11" fmla="*/ 111318 w 1148963"/>
                                  <a:gd name="connsiteY11" fmla="*/ 1606163 h 2443850"/>
                                  <a:gd name="connsiteX12" fmla="*/ 123245 w 1148963"/>
                                  <a:gd name="connsiteY12" fmla="*/ 1598212 h 2443850"/>
                                  <a:gd name="connsiteX13" fmla="*/ 147099 w 1148963"/>
                                  <a:gd name="connsiteY13" fmla="*/ 1578334 h 2443850"/>
                                  <a:gd name="connsiteX14" fmla="*/ 151075 w 1148963"/>
                                  <a:gd name="connsiteY14" fmla="*/ 1566407 h 2443850"/>
                                  <a:gd name="connsiteX15" fmla="*/ 163002 w 1148963"/>
                                  <a:gd name="connsiteY15" fmla="*/ 1558456 h 2443850"/>
                                  <a:gd name="connsiteX16" fmla="*/ 170953 w 1148963"/>
                                  <a:gd name="connsiteY16" fmla="*/ 1534602 h 2443850"/>
                                  <a:gd name="connsiteX17" fmla="*/ 166977 w 1148963"/>
                                  <a:gd name="connsiteY17" fmla="*/ 1435210 h 2443850"/>
                                  <a:gd name="connsiteX18" fmla="*/ 163002 w 1148963"/>
                                  <a:gd name="connsiteY18" fmla="*/ 1407381 h 2443850"/>
                                  <a:gd name="connsiteX19" fmla="*/ 210709 w 1148963"/>
                                  <a:gd name="connsiteY19" fmla="*/ 1367624 h 2443850"/>
                                  <a:gd name="connsiteX20" fmla="*/ 198782 w 1148963"/>
                                  <a:gd name="connsiteY20" fmla="*/ 1307989 h 2443850"/>
                                  <a:gd name="connsiteX21" fmla="*/ 186856 w 1148963"/>
                                  <a:gd name="connsiteY21" fmla="*/ 1304014 h 2443850"/>
                                  <a:gd name="connsiteX22" fmla="*/ 170953 w 1148963"/>
                                  <a:gd name="connsiteY22" fmla="*/ 1284136 h 2443850"/>
                                  <a:gd name="connsiteX23" fmla="*/ 166977 w 1148963"/>
                                  <a:gd name="connsiteY23" fmla="*/ 1272209 h 2443850"/>
                                  <a:gd name="connsiteX24" fmla="*/ 174929 w 1148963"/>
                                  <a:gd name="connsiteY24" fmla="*/ 1232452 h 2443850"/>
                                  <a:gd name="connsiteX25" fmla="*/ 186856 w 1148963"/>
                                  <a:gd name="connsiteY25" fmla="*/ 1208598 h 2443850"/>
                                  <a:gd name="connsiteX26" fmla="*/ 174929 w 1148963"/>
                                  <a:gd name="connsiteY26" fmla="*/ 1168842 h 2443850"/>
                                  <a:gd name="connsiteX27" fmla="*/ 170953 w 1148963"/>
                                  <a:gd name="connsiteY27" fmla="*/ 1156915 h 2443850"/>
                                  <a:gd name="connsiteX28" fmla="*/ 166977 w 1148963"/>
                                  <a:gd name="connsiteY28" fmla="*/ 1133061 h 2443850"/>
                                  <a:gd name="connsiteX29" fmla="*/ 159026 w 1148963"/>
                                  <a:gd name="connsiteY29" fmla="*/ 1093304 h 2443850"/>
                                  <a:gd name="connsiteX30" fmla="*/ 170953 w 1148963"/>
                                  <a:gd name="connsiteY30" fmla="*/ 1073426 h 2443850"/>
                                  <a:gd name="connsiteX31" fmla="*/ 170953 w 1148963"/>
                                  <a:gd name="connsiteY31" fmla="*/ 1017767 h 2443850"/>
                                  <a:gd name="connsiteX32" fmla="*/ 159026 w 1148963"/>
                                  <a:gd name="connsiteY32" fmla="*/ 1009816 h 2443850"/>
                                  <a:gd name="connsiteX33" fmla="*/ 170953 w 1148963"/>
                                  <a:gd name="connsiteY33" fmla="*/ 989937 h 2443850"/>
                                  <a:gd name="connsiteX34" fmla="*/ 178904 w 1148963"/>
                                  <a:gd name="connsiteY34" fmla="*/ 978010 h 2443850"/>
                                  <a:gd name="connsiteX35" fmla="*/ 190831 w 1148963"/>
                                  <a:gd name="connsiteY35" fmla="*/ 974035 h 2443850"/>
                                  <a:gd name="connsiteX36" fmla="*/ 202758 w 1148963"/>
                                  <a:gd name="connsiteY36" fmla="*/ 942229 h 2443850"/>
                                  <a:gd name="connsiteX37" fmla="*/ 214685 w 1148963"/>
                                  <a:gd name="connsiteY37" fmla="*/ 918376 h 2443850"/>
                                  <a:gd name="connsiteX38" fmla="*/ 230588 w 1148963"/>
                                  <a:gd name="connsiteY38" fmla="*/ 902473 h 2443850"/>
                                  <a:gd name="connsiteX39" fmla="*/ 242515 w 1148963"/>
                                  <a:gd name="connsiteY39" fmla="*/ 898497 h 2443850"/>
                                  <a:gd name="connsiteX40" fmla="*/ 254442 w 1148963"/>
                                  <a:gd name="connsiteY40" fmla="*/ 886570 h 2443850"/>
                                  <a:gd name="connsiteX41" fmla="*/ 262393 w 1148963"/>
                                  <a:gd name="connsiteY41" fmla="*/ 874643 h 2443850"/>
                                  <a:gd name="connsiteX42" fmla="*/ 274320 w 1148963"/>
                                  <a:gd name="connsiteY42" fmla="*/ 870668 h 2443850"/>
                                  <a:gd name="connsiteX43" fmla="*/ 302149 w 1148963"/>
                                  <a:gd name="connsiteY43" fmla="*/ 862716 h 2443850"/>
                                  <a:gd name="connsiteX44" fmla="*/ 322028 w 1148963"/>
                                  <a:gd name="connsiteY44" fmla="*/ 846814 h 2443850"/>
                                  <a:gd name="connsiteX45" fmla="*/ 337930 w 1148963"/>
                                  <a:gd name="connsiteY45" fmla="*/ 850789 h 2443850"/>
                                  <a:gd name="connsiteX46" fmla="*/ 345882 w 1148963"/>
                                  <a:gd name="connsiteY46" fmla="*/ 858741 h 2443850"/>
                                  <a:gd name="connsiteX47" fmla="*/ 369736 w 1148963"/>
                                  <a:gd name="connsiteY47" fmla="*/ 850789 h 2443850"/>
                                  <a:gd name="connsiteX48" fmla="*/ 369736 w 1148963"/>
                                  <a:gd name="connsiteY48" fmla="*/ 795130 h 2443850"/>
                                  <a:gd name="connsiteX49" fmla="*/ 349857 w 1148963"/>
                                  <a:gd name="connsiteY49" fmla="*/ 779228 h 2443850"/>
                                  <a:gd name="connsiteX50" fmla="*/ 353833 w 1148963"/>
                                  <a:gd name="connsiteY50" fmla="*/ 763325 h 2443850"/>
                                  <a:gd name="connsiteX51" fmla="*/ 377687 w 1148963"/>
                                  <a:gd name="connsiteY51" fmla="*/ 751398 h 2443850"/>
                                  <a:gd name="connsiteX52" fmla="*/ 381662 w 1148963"/>
                                  <a:gd name="connsiteY52" fmla="*/ 739471 h 2443850"/>
                                  <a:gd name="connsiteX53" fmla="*/ 401541 w 1148963"/>
                                  <a:gd name="connsiteY53" fmla="*/ 703690 h 2443850"/>
                                  <a:gd name="connsiteX54" fmla="*/ 413468 w 1148963"/>
                                  <a:gd name="connsiteY54" fmla="*/ 671885 h 2443850"/>
                                  <a:gd name="connsiteX55" fmla="*/ 425395 w 1148963"/>
                                  <a:gd name="connsiteY55" fmla="*/ 667909 h 2443850"/>
                                  <a:gd name="connsiteX56" fmla="*/ 433346 w 1148963"/>
                                  <a:gd name="connsiteY56" fmla="*/ 644056 h 2443850"/>
                                  <a:gd name="connsiteX57" fmla="*/ 441297 w 1148963"/>
                                  <a:gd name="connsiteY57" fmla="*/ 620202 h 2443850"/>
                                  <a:gd name="connsiteX58" fmla="*/ 445273 w 1148963"/>
                                  <a:gd name="connsiteY58" fmla="*/ 608275 h 2443850"/>
                                  <a:gd name="connsiteX59" fmla="*/ 441297 w 1148963"/>
                                  <a:gd name="connsiteY59" fmla="*/ 576469 h 2443850"/>
                                  <a:gd name="connsiteX60" fmla="*/ 437322 w 1148963"/>
                                  <a:gd name="connsiteY60" fmla="*/ 560567 h 2443850"/>
                                  <a:gd name="connsiteX61" fmla="*/ 433346 w 1148963"/>
                                  <a:gd name="connsiteY61" fmla="*/ 516835 h 2443850"/>
                                  <a:gd name="connsiteX62" fmla="*/ 492981 w 1148963"/>
                                  <a:gd name="connsiteY62" fmla="*/ 500932 h 2443850"/>
                                  <a:gd name="connsiteX63" fmla="*/ 504908 w 1148963"/>
                                  <a:gd name="connsiteY63" fmla="*/ 492981 h 2443850"/>
                                  <a:gd name="connsiteX64" fmla="*/ 512859 w 1148963"/>
                                  <a:gd name="connsiteY64" fmla="*/ 469127 h 2443850"/>
                                  <a:gd name="connsiteX65" fmla="*/ 524786 w 1148963"/>
                                  <a:gd name="connsiteY65" fmla="*/ 429370 h 2443850"/>
                                  <a:gd name="connsiteX66" fmla="*/ 528762 w 1148963"/>
                                  <a:gd name="connsiteY66" fmla="*/ 417443 h 2443850"/>
                                  <a:gd name="connsiteX67" fmla="*/ 532737 w 1148963"/>
                                  <a:gd name="connsiteY67" fmla="*/ 405516 h 2443850"/>
                                  <a:gd name="connsiteX68" fmla="*/ 552616 w 1148963"/>
                                  <a:gd name="connsiteY68" fmla="*/ 389614 h 2443850"/>
                                  <a:gd name="connsiteX69" fmla="*/ 560567 w 1148963"/>
                                  <a:gd name="connsiteY69" fmla="*/ 381662 h 2443850"/>
                                  <a:gd name="connsiteX70" fmla="*/ 568518 w 1148963"/>
                                  <a:gd name="connsiteY70" fmla="*/ 369736 h 2443850"/>
                                  <a:gd name="connsiteX71" fmla="*/ 580445 w 1148963"/>
                                  <a:gd name="connsiteY71" fmla="*/ 365760 h 2443850"/>
                                  <a:gd name="connsiteX72" fmla="*/ 588396 w 1148963"/>
                                  <a:gd name="connsiteY72" fmla="*/ 341906 h 2443850"/>
                                  <a:gd name="connsiteX73" fmla="*/ 592372 w 1148963"/>
                                  <a:gd name="connsiteY73" fmla="*/ 329979 h 2443850"/>
                                  <a:gd name="connsiteX74" fmla="*/ 584421 w 1148963"/>
                                  <a:gd name="connsiteY74" fmla="*/ 294198 h 2443850"/>
                                  <a:gd name="connsiteX75" fmla="*/ 576469 w 1148963"/>
                                  <a:gd name="connsiteY75" fmla="*/ 286247 h 2443850"/>
                                  <a:gd name="connsiteX76" fmla="*/ 572494 w 1148963"/>
                                  <a:gd name="connsiteY76" fmla="*/ 274320 h 2443850"/>
                                  <a:gd name="connsiteX77" fmla="*/ 592372 w 1148963"/>
                                  <a:gd name="connsiteY77" fmla="*/ 254442 h 2443850"/>
                                  <a:gd name="connsiteX78" fmla="*/ 608275 w 1148963"/>
                                  <a:gd name="connsiteY78" fmla="*/ 238539 h 2443850"/>
                                  <a:gd name="connsiteX79" fmla="*/ 624177 w 1148963"/>
                                  <a:gd name="connsiteY79" fmla="*/ 202758 h 2443850"/>
                                  <a:gd name="connsiteX80" fmla="*/ 644056 w 1148963"/>
                                  <a:gd name="connsiteY80" fmla="*/ 182880 h 2443850"/>
                                  <a:gd name="connsiteX81" fmla="*/ 652007 w 1148963"/>
                                  <a:gd name="connsiteY81" fmla="*/ 170953 h 2443850"/>
                                  <a:gd name="connsiteX82" fmla="*/ 687788 w 1148963"/>
                                  <a:gd name="connsiteY82" fmla="*/ 163002 h 2443850"/>
                                  <a:gd name="connsiteX83" fmla="*/ 695739 w 1148963"/>
                                  <a:gd name="connsiteY83" fmla="*/ 155050 h 2443850"/>
                                  <a:gd name="connsiteX84" fmla="*/ 707666 w 1148963"/>
                                  <a:gd name="connsiteY84" fmla="*/ 147099 h 2443850"/>
                                  <a:gd name="connsiteX85" fmla="*/ 715617 w 1148963"/>
                                  <a:gd name="connsiteY85" fmla="*/ 123245 h 2443850"/>
                                  <a:gd name="connsiteX86" fmla="*/ 723569 w 1148963"/>
                                  <a:gd name="connsiteY86" fmla="*/ 95416 h 2443850"/>
                                  <a:gd name="connsiteX87" fmla="*/ 755374 w 1148963"/>
                                  <a:gd name="connsiteY87" fmla="*/ 79513 h 2443850"/>
                                  <a:gd name="connsiteX88" fmla="*/ 791155 w 1148963"/>
                                  <a:gd name="connsiteY88" fmla="*/ 87464 h 2443850"/>
                                  <a:gd name="connsiteX89" fmla="*/ 803082 w 1148963"/>
                                  <a:gd name="connsiteY89" fmla="*/ 91440 h 2443850"/>
                                  <a:gd name="connsiteX90" fmla="*/ 815009 w 1148963"/>
                                  <a:gd name="connsiteY90" fmla="*/ 99391 h 2443850"/>
                                  <a:gd name="connsiteX91" fmla="*/ 818984 w 1148963"/>
                                  <a:gd name="connsiteY91" fmla="*/ 111318 h 2443850"/>
                                  <a:gd name="connsiteX92" fmla="*/ 830911 w 1148963"/>
                                  <a:gd name="connsiteY92" fmla="*/ 115294 h 2443850"/>
                                  <a:gd name="connsiteX93" fmla="*/ 842838 w 1148963"/>
                                  <a:gd name="connsiteY93" fmla="*/ 123245 h 2443850"/>
                                  <a:gd name="connsiteX94" fmla="*/ 846814 w 1148963"/>
                                  <a:gd name="connsiteY94" fmla="*/ 111318 h 2443850"/>
                                  <a:gd name="connsiteX95" fmla="*/ 838862 w 1148963"/>
                                  <a:gd name="connsiteY95" fmla="*/ 87464 h 2443850"/>
                                  <a:gd name="connsiteX96" fmla="*/ 842838 w 1148963"/>
                                  <a:gd name="connsiteY96" fmla="*/ 55659 h 2443850"/>
                                  <a:gd name="connsiteX97" fmla="*/ 854765 w 1148963"/>
                                  <a:gd name="connsiteY97" fmla="*/ 47708 h 2443850"/>
                                  <a:gd name="connsiteX98" fmla="*/ 858741 w 1148963"/>
                                  <a:gd name="connsiteY98" fmla="*/ 23854 h 2443850"/>
                                  <a:gd name="connsiteX99" fmla="*/ 870668 w 1148963"/>
                                  <a:gd name="connsiteY99" fmla="*/ 3976 h 2443850"/>
                                  <a:gd name="connsiteX100" fmla="*/ 882595 w 1148963"/>
                                  <a:gd name="connsiteY100" fmla="*/ 0 h 2443850"/>
                                  <a:gd name="connsiteX101" fmla="*/ 902473 w 1148963"/>
                                  <a:gd name="connsiteY101" fmla="*/ 3976 h 2443850"/>
                                  <a:gd name="connsiteX102" fmla="*/ 910424 w 1148963"/>
                                  <a:gd name="connsiteY102" fmla="*/ 15902 h 2443850"/>
                                  <a:gd name="connsiteX103" fmla="*/ 918376 w 1148963"/>
                                  <a:gd name="connsiteY103" fmla="*/ 23854 h 2443850"/>
                                  <a:gd name="connsiteX104" fmla="*/ 946205 w 1148963"/>
                                  <a:gd name="connsiteY104" fmla="*/ 47708 h 2443850"/>
                                  <a:gd name="connsiteX105" fmla="*/ 966083 w 1148963"/>
                                  <a:gd name="connsiteY105" fmla="*/ 67586 h 2443850"/>
                                  <a:gd name="connsiteX106" fmla="*/ 974035 w 1148963"/>
                                  <a:gd name="connsiteY106" fmla="*/ 75537 h 2443850"/>
                                  <a:gd name="connsiteX107" fmla="*/ 1009816 w 1148963"/>
                                  <a:gd name="connsiteY107" fmla="*/ 83489 h 2443850"/>
                                  <a:gd name="connsiteX108" fmla="*/ 1033669 w 1148963"/>
                                  <a:gd name="connsiteY108" fmla="*/ 99391 h 2443850"/>
                                  <a:gd name="connsiteX109" fmla="*/ 1061499 w 1148963"/>
                                  <a:gd name="connsiteY109" fmla="*/ 123245 h 2443850"/>
                                  <a:gd name="connsiteX110" fmla="*/ 1069450 w 1148963"/>
                                  <a:gd name="connsiteY110" fmla="*/ 135172 h 2443850"/>
                                  <a:gd name="connsiteX111" fmla="*/ 1073426 w 1148963"/>
                                  <a:gd name="connsiteY111" fmla="*/ 147099 h 2443850"/>
                                  <a:gd name="connsiteX112" fmla="*/ 1085353 w 1148963"/>
                                  <a:gd name="connsiteY112" fmla="*/ 155050 h 2443850"/>
                                  <a:gd name="connsiteX113" fmla="*/ 1089329 w 1148963"/>
                                  <a:gd name="connsiteY113" fmla="*/ 190831 h 2443850"/>
                                  <a:gd name="connsiteX114" fmla="*/ 1093304 w 1148963"/>
                                  <a:gd name="connsiteY114" fmla="*/ 266369 h 2443850"/>
                                  <a:gd name="connsiteX115" fmla="*/ 1101256 w 1148963"/>
                                  <a:gd name="connsiteY115" fmla="*/ 274320 h 2443850"/>
                                  <a:gd name="connsiteX116" fmla="*/ 1109207 w 1148963"/>
                                  <a:gd name="connsiteY116" fmla="*/ 333955 h 2443850"/>
                                  <a:gd name="connsiteX117" fmla="*/ 1129085 w 1148963"/>
                                  <a:gd name="connsiteY117" fmla="*/ 357809 h 2443850"/>
                                  <a:gd name="connsiteX118" fmla="*/ 1141012 w 1148963"/>
                                  <a:gd name="connsiteY118" fmla="*/ 381662 h 2443850"/>
                                  <a:gd name="connsiteX119" fmla="*/ 1137036 w 1148963"/>
                                  <a:gd name="connsiteY119" fmla="*/ 405516 h 2443850"/>
                                  <a:gd name="connsiteX120" fmla="*/ 1129085 w 1148963"/>
                                  <a:gd name="connsiteY120" fmla="*/ 413468 h 2443850"/>
                                  <a:gd name="connsiteX121" fmla="*/ 1121134 w 1148963"/>
                                  <a:gd name="connsiteY121" fmla="*/ 437322 h 2443850"/>
                                  <a:gd name="connsiteX122" fmla="*/ 1117158 w 1148963"/>
                                  <a:gd name="connsiteY122" fmla="*/ 449249 h 2443850"/>
                                  <a:gd name="connsiteX123" fmla="*/ 1121134 w 1148963"/>
                                  <a:gd name="connsiteY123" fmla="*/ 512859 h 2443850"/>
                                  <a:gd name="connsiteX124" fmla="*/ 1133061 w 1148963"/>
                                  <a:gd name="connsiteY124" fmla="*/ 524786 h 2443850"/>
                                  <a:gd name="connsiteX125" fmla="*/ 1148963 w 1148963"/>
                                  <a:gd name="connsiteY125" fmla="*/ 548640 h 2443850"/>
                                  <a:gd name="connsiteX126" fmla="*/ 1144988 w 1148963"/>
                                  <a:gd name="connsiteY126" fmla="*/ 568518 h 2443850"/>
                                  <a:gd name="connsiteX127" fmla="*/ 1121134 w 1148963"/>
                                  <a:gd name="connsiteY127" fmla="*/ 568518 h 2443850"/>
                                  <a:gd name="connsiteX128" fmla="*/ 1093304 w 1148963"/>
                                  <a:gd name="connsiteY128" fmla="*/ 572494 h 2443850"/>
                                  <a:gd name="connsiteX129" fmla="*/ 1081377 w 1148963"/>
                                  <a:gd name="connsiteY129" fmla="*/ 576469 h 2443850"/>
                                  <a:gd name="connsiteX130" fmla="*/ 1069450 w 1148963"/>
                                  <a:gd name="connsiteY130" fmla="*/ 572494 h 2443850"/>
                                  <a:gd name="connsiteX131" fmla="*/ 1061499 w 1148963"/>
                                  <a:gd name="connsiteY131" fmla="*/ 564542 h 2443850"/>
                                  <a:gd name="connsiteX132" fmla="*/ 1029694 w 1148963"/>
                                  <a:gd name="connsiteY132" fmla="*/ 568518 h 2443850"/>
                                  <a:gd name="connsiteX133" fmla="*/ 1025718 w 1148963"/>
                                  <a:gd name="connsiteY133" fmla="*/ 584421 h 2443850"/>
                                  <a:gd name="connsiteX134" fmla="*/ 1013791 w 1148963"/>
                                  <a:gd name="connsiteY134" fmla="*/ 588396 h 2443850"/>
                                  <a:gd name="connsiteX135" fmla="*/ 1005840 w 1148963"/>
                                  <a:gd name="connsiteY135" fmla="*/ 596348 h 2443850"/>
                                  <a:gd name="connsiteX136" fmla="*/ 989937 w 1148963"/>
                                  <a:gd name="connsiteY136" fmla="*/ 604299 h 2443850"/>
                                  <a:gd name="connsiteX137" fmla="*/ 981986 w 1148963"/>
                                  <a:gd name="connsiteY137" fmla="*/ 628153 h 2443850"/>
                                  <a:gd name="connsiteX138" fmla="*/ 974035 w 1148963"/>
                                  <a:gd name="connsiteY138" fmla="*/ 640080 h 2443850"/>
                                  <a:gd name="connsiteX139" fmla="*/ 938254 w 1148963"/>
                                  <a:gd name="connsiteY139" fmla="*/ 644056 h 2443850"/>
                                  <a:gd name="connsiteX140" fmla="*/ 934278 w 1148963"/>
                                  <a:gd name="connsiteY140" fmla="*/ 655982 h 2443850"/>
                                  <a:gd name="connsiteX141" fmla="*/ 958132 w 1148963"/>
                                  <a:gd name="connsiteY141" fmla="*/ 683812 h 2443850"/>
                                  <a:gd name="connsiteX142" fmla="*/ 938254 w 1148963"/>
                                  <a:gd name="connsiteY142" fmla="*/ 715617 h 2443850"/>
                                  <a:gd name="connsiteX143" fmla="*/ 930302 w 1148963"/>
                                  <a:gd name="connsiteY143" fmla="*/ 723569 h 2443850"/>
                                  <a:gd name="connsiteX144" fmla="*/ 926327 w 1148963"/>
                                  <a:gd name="connsiteY144" fmla="*/ 751398 h 2443850"/>
                                  <a:gd name="connsiteX145" fmla="*/ 934278 w 1148963"/>
                                  <a:gd name="connsiteY145" fmla="*/ 763325 h 2443850"/>
                                  <a:gd name="connsiteX146" fmla="*/ 938254 w 1148963"/>
                                  <a:gd name="connsiteY146" fmla="*/ 783203 h 2443850"/>
                                  <a:gd name="connsiteX147" fmla="*/ 950181 w 1148963"/>
                                  <a:gd name="connsiteY147" fmla="*/ 787179 h 2443850"/>
                                  <a:gd name="connsiteX148" fmla="*/ 954156 w 1148963"/>
                                  <a:gd name="connsiteY148" fmla="*/ 799106 h 2443850"/>
                                  <a:gd name="connsiteX149" fmla="*/ 962108 w 1148963"/>
                                  <a:gd name="connsiteY149" fmla="*/ 807057 h 2443850"/>
                                  <a:gd name="connsiteX150" fmla="*/ 950181 w 1148963"/>
                                  <a:gd name="connsiteY150" fmla="*/ 830911 h 2443850"/>
                                  <a:gd name="connsiteX151" fmla="*/ 938254 w 1148963"/>
                                  <a:gd name="connsiteY151" fmla="*/ 834887 h 2443850"/>
                                  <a:gd name="connsiteX152" fmla="*/ 930302 w 1148963"/>
                                  <a:gd name="connsiteY152" fmla="*/ 842838 h 2443850"/>
                                  <a:gd name="connsiteX153" fmla="*/ 918376 w 1148963"/>
                                  <a:gd name="connsiteY153" fmla="*/ 882595 h 2443850"/>
                                  <a:gd name="connsiteX154" fmla="*/ 910424 w 1148963"/>
                                  <a:gd name="connsiteY154" fmla="*/ 894522 h 2443850"/>
                                  <a:gd name="connsiteX155" fmla="*/ 902473 w 1148963"/>
                                  <a:gd name="connsiteY155" fmla="*/ 918376 h 2443850"/>
                                  <a:gd name="connsiteX156" fmla="*/ 898497 w 1148963"/>
                                  <a:gd name="connsiteY156" fmla="*/ 930302 h 2443850"/>
                                  <a:gd name="connsiteX157" fmla="*/ 882595 w 1148963"/>
                                  <a:gd name="connsiteY157" fmla="*/ 934278 h 2443850"/>
                                  <a:gd name="connsiteX158" fmla="*/ 866692 w 1148963"/>
                                  <a:gd name="connsiteY158" fmla="*/ 950181 h 2443850"/>
                                  <a:gd name="connsiteX159" fmla="*/ 862716 w 1148963"/>
                                  <a:gd name="connsiteY159" fmla="*/ 962108 h 2443850"/>
                                  <a:gd name="connsiteX160" fmla="*/ 838862 w 1148963"/>
                                  <a:gd name="connsiteY160" fmla="*/ 978010 h 2443850"/>
                                  <a:gd name="connsiteX161" fmla="*/ 807057 w 1148963"/>
                                  <a:gd name="connsiteY161" fmla="*/ 1005840 h 2443850"/>
                                  <a:gd name="connsiteX162" fmla="*/ 795130 w 1148963"/>
                                  <a:gd name="connsiteY162" fmla="*/ 1009816 h 2443850"/>
                                  <a:gd name="connsiteX163" fmla="*/ 787179 w 1148963"/>
                                  <a:gd name="connsiteY163" fmla="*/ 997889 h 2443850"/>
                                  <a:gd name="connsiteX164" fmla="*/ 767301 w 1148963"/>
                                  <a:gd name="connsiteY164" fmla="*/ 1017767 h 2443850"/>
                                  <a:gd name="connsiteX165" fmla="*/ 763325 w 1148963"/>
                                  <a:gd name="connsiteY165" fmla="*/ 1029694 h 2443850"/>
                                  <a:gd name="connsiteX166" fmla="*/ 747422 w 1148963"/>
                                  <a:gd name="connsiteY166" fmla="*/ 1033669 h 2443850"/>
                                  <a:gd name="connsiteX167" fmla="*/ 735496 w 1148963"/>
                                  <a:gd name="connsiteY167" fmla="*/ 1029694 h 2443850"/>
                                  <a:gd name="connsiteX168" fmla="*/ 723569 w 1148963"/>
                                  <a:gd name="connsiteY168" fmla="*/ 1049572 h 2443850"/>
                                  <a:gd name="connsiteX169" fmla="*/ 719593 w 1148963"/>
                                  <a:gd name="connsiteY169" fmla="*/ 1053548 h 2443850"/>
                                  <a:gd name="connsiteX170" fmla="*/ 699715 w 1148963"/>
                                  <a:gd name="connsiteY170" fmla="*/ 1073426 h 2443850"/>
                                  <a:gd name="connsiteX171" fmla="*/ 707666 w 1148963"/>
                                  <a:gd name="connsiteY171" fmla="*/ 1109207 h 2443850"/>
                                  <a:gd name="connsiteX172" fmla="*/ 667909 w 1148963"/>
                                  <a:gd name="connsiteY172" fmla="*/ 1097280 h 2443850"/>
                                  <a:gd name="connsiteX173" fmla="*/ 655982 w 1148963"/>
                                  <a:gd name="connsiteY173" fmla="*/ 1089329 h 2443850"/>
                                  <a:gd name="connsiteX174" fmla="*/ 644056 w 1148963"/>
                                  <a:gd name="connsiteY174" fmla="*/ 1093304 h 2443850"/>
                                  <a:gd name="connsiteX175" fmla="*/ 644056 w 1148963"/>
                                  <a:gd name="connsiteY175" fmla="*/ 1125109 h 2443850"/>
                                  <a:gd name="connsiteX176" fmla="*/ 652007 w 1148963"/>
                                  <a:gd name="connsiteY176" fmla="*/ 1133061 h 2443850"/>
                                  <a:gd name="connsiteX177" fmla="*/ 648031 w 1148963"/>
                                  <a:gd name="connsiteY177" fmla="*/ 1168842 h 2443850"/>
                                  <a:gd name="connsiteX178" fmla="*/ 640080 w 1148963"/>
                                  <a:gd name="connsiteY178" fmla="*/ 1160890 h 2443850"/>
                                  <a:gd name="connsiteX179" fmla="*/ 628153 w 1148963"/>
                                  <a:gd name="connsiteY179" fmla="*/ 1164866 h 2443850"/>
                                  <a:gd name="connsiteX180" fmla="*/ 628153 w 1148963"/>
                                  <a:gd name="connsiteY180" fmla="*/ 1228476 h 2443850"/>
                                  <a:gd name="connsiteX181" fmla="*/ 616226 w 1148963"/>
                                  <a:gd name="connsiteY181" fmla="*/ 1256306 h 2443850"/>
                                  <a:gd name="connsiteX182" fmla="*/ 620202 w 1148963"/>
                                  <a:gd name="connsiteY182" fmla="*/ 1292087 h 2443850"/>
                                  <a:gd name="connsiteX183" fmla="*/ 628153 w 1148963"/>
                                  <a:gd name="connsiteY183" fmla="*/ 1315941 h 2443850"/>
                                  <a:gd name="connsiteX184" fmla="*/ 596348 w 1148963"/>
                                  <a:gd name="connsiteY184" fmla="*/ 1319916 h 2443850"/>
                                  <a:gd name="connsiteX185" fmla="*/ 592372 w 1148963"/>
                                  <a:gd name="connsiteY185" fmla="*/ 1331843 h 2443850"/>
                                  <a:gd name="connsiteX186" fmla="*/ 596348 w 1148963"/>
                                  <a:gd name="connsiteY186" fmla="*/ 1379551 h 2443850"/>
                                  <a:gd name="connsiteX187" fmla="*/ 592372 w 1148963"/>
                                  <a:gd name="connsiteY187" fmla="*/ 1395454 h 2443850"/>
                                  <a:gd name="connsiteX188" fmla="*/ 600323 w 1148963"/>
                                  <a:gd name="connsiteY188" fmla="*/ 1470991 h 2443850"/>
                                  <a:gd name="connsiteX189" fmla="*/ 592372 w 1148963"/>
                                  <a:gd name="connsiteY189" fmla="*/ 1494845 h 2443850"/>
                                  <a:gd name="connsiteX190" fmla="*/ 588396 w 1148963"/>
                                  <a:gd name="connsiteY190" fmla="*/ 1506772 h 2443850"/>
                                  <a:gd name="connsiteX191" fmla="*/ 600323 w 1148963"/>
                                  <a:gd name="connsiteY191" fmla="*/ 1510748 h 2443850"/>
                                  <a:gd name="connsiteX192" fmla="*/ 616226 w 1148963"/>
                                  <a:gd name="connsiteY192" fmla="*/ 1530626 h 2443850"/>
                                  <a:gd name="connsiteX193" fmla="*/ 628153 w 1148963"/>
                                  <a:gd name="connsiteY193" fmla="*/ 1538577 h 2443850"/>
                                  <a:gd name="connsiteX194" fmla="*/ 636104 w 1148963"/>
                                  <a:gd name="connsiteY194" fmla="*/ 1546529 h 2443850"/>
                                  <a:gd name="connsiteX195" fmla="*/ 648031 w 1148963"/>
                                  <a:gd name="connsiteY195" fmla="*/ 1542553 h 2443850"/>
                                  <a:gd name="connsiteX196" fmla="*/ 652007 w 1148963"/>
                                  <a:gd name="connsiteY196" fmla="*/ 1530626 h 2443850"/>
                                  <a:gd name="connsiteX197" fmla="*/ 671885 w 1148963"/>
                                  <a:gd name="connsiteY197" fmla="*/ 1534602 h 2443850"/>
                                  <a:gd name="connsiteX198" fmla="*/ 679836 w 1148963"/>
                                  <a:gd name="connsiteY198" fmla="*/ 1546529 h 2443850"/>
                                  <a:gd name="connsiteX199" fmla="*/ 683812 w 1148963"/>
                                  <a:gd name="connsiteY199" fmla="*/ 1562431 h 2443850"/>
                                  <a:gd name="connsiteX200" fmla="*/ 707666 w 1148963"/>
                                  <a:gd name="connsiteY200" fmla="*/ 1574358 h 2443850"/>
                                  <a:gd name="connsiteX201" fmla="*/ 723569 w 1148963"/>
                                  <a:gd name="connsiteY201" fmla="*/ 1566407 h 2443850"/>
                                  <a:gd name="connsiteX202" fmla="*/ 743447 w 1148963"/>
                                  <a:gd name="connsiteY202" fmla="*/ 1610139 h 2443850"/>
                                  <a:gd name="connsiteX203" fmla="*/ 747422 w 1148963"/>
                                  <a:gd name="connsiteY203" fmla="*/ 1630017 h 2443850"/>
                                  <a:gd name="connsiteX204" fmla="*/ 751398 w 1148963"/>
                                  <a:gd name="connsiteY204" fmla="*/ 1641944 h 2443850"/>
                                  <a:gd name="connsiteX205" fmla="*/ 739471 w 1148963"/>
                                  <a:gd name="connsiteY205" fmla="*/ 1693628 h 2443850"/>
                                  <a:gd name="connsiteX206" fmla="*/ 711642 w 1148963"/>
                                  <a:gd name="connsiteY206" fmla="*/ 1705555 h 2443850"/>
                                  <a:gd name="connsiteX207" fmla="*/ 691763 w 1148963"/>
                                  <a:gd name="connsiteY207" fmla="*/ 1717482 h 2443850"/>
                                  <a:gd name="connsiteX208" fmla="*/ 667909 w 1148963"/>
                                  <a:gd name="connsiteY208" fmla="*/ 1729409 h 2443850"/>
                                  <a:gd name="connsiteX209" fmla="*/ 648031 w 1148963"/>
                                  <a:gd name="connsiteY209" fmla="*/ 1725433 h 2443850"/>
                                  <a:gd name="connsiteX210" fmla="*/ 644056 w 1148963"/>
                                  <a:gd name="connsiteY210" fmla="*/ 1713506 h 2443850"/>
                                  <a:gd name="connsiteX211" fmla="*/ 640080 w 1148963"/>
                                  <a:gd name="connsiteY211" fmla="*/ 1669774 h 2443850"/>
                                  <a:gd name="connsiteX212" fmla="*/ 604299 w 1148963"/>
                                  <a:gd name="connsiteY212" fmla="*/ 1677725 h 2443850"/>
                                  <a:gd name="connsiteX213" fmla="*/ 580445 w 1148963"/>
                                  <a:gd name="connsiteY213" fmla="*/ 1689652 h 2443850"/>
                                  <a:gd name="connsiteX214" fmla="*/ 508883 w 1148963"/>
                                  <a:gd name="connsiteY214" fmla="*/ 1689652 h 2443850"/>
                                  <a:gd name="connsiteX215" fmla="*/ 504908 w 1148963"/>
                                  <a:gd name="connsiteY215" fmla="*/ 1701579 h 2443850"/>
                                  <a:gd name="connsiteX216" fmla="*/ 481054 w 1148963"/>
                                  <a:gd name="connsiteY216" fmla="*/ 1709530 h 2443850"/>
                                  <a:gd name="connsiteX217" fmla="*/ 477078 w 1148963"/>
                                  <a:gd name="connsiteY217" fmla="*/ 1725433 h 2443850"/>
                                  <a:gd name="connsiteX218" fmla="*/ 496956 w 1148963"/>
                                  <a:gd name="connsiteY218" fmla="*/ 1733384 h 2443850"/>
                                  <a:gd name="connsiteX219" fmla="*/ 572494 w 1148963"/>
                                  <a:gd name="connsiteY219" fmla="*/ 1737360 h 2443850"/>
                                  <a:gd name="connsiteX220" fmla="*/ 580445 w 1148963"/>
                                  <a:gd name="connsiteY220" fmla="*/ 1749287 h 2443850"/>
                                  <a:gd name="connsiteX221" fmla="*/ 592372 w 1148963"/>
                                  <a:gd name="connsiteY221" fmla="*/ 1757238 h 2443850"/>
                                  <a:gd name="connsiteX222" fmla="*/ 612250 w 1148963"/>
                                  <a:gd name="connsiteY222" fmla="*/ 1761214 h 2443850"/>
                                  <a:gd name="connsiteX223" fmla="*/ 624177 w 1148963"/>
                                  <a:gd name="connsiteY223" fmla="*/ 1765189 h 2443850"/>
                                  <a:gd name="connsiteX224" fmla="*/ 636104 w 1148963"/>
                                  <a:gd name="connsiteY224" fmla="*/ 1773141 h 2443850"/>
                                  <a:gd name="connsiteX225" fmla="*/ 679836 w 1148963"/>
                                  <a:gd name="connsiteY225" fmla="*/ 1753262 h 2443850"/>
                                  <a:gd name="connsiteX226" fmla="*/ 691763 w 1148963"/>
                                  <a:gd name="connsiteY226" fmla="*/ 1749287 h 2443850"/>
                                  <a:gd name="connsiteX227" fmla="*/ 687788 w 1148963"/>
                                  <a:gd name="connsiteY227" fmla="*/ 1785068 h 2443850"/>
                                  <a:gd name="connsiteX228" fmla="*/ 675861 w 1148963"/>
                                  <a:gd name="connsiteY228" fmla="*/ 1789043 h 2443850"/>
                                  <a:gd name="connsiteX229" fmla="*/ 663934 w 1148963"/>
                                  <a:gd name="connsiteY229" fmla="*/ 1808922 h 2443850"/>
                                  <a:gd name="connsiteX230" fmla="*/ 655982 w 1148963"/>
                                  <a:gd name="connsiteY230" fmla="*/ 1816873 h 2443850"/>
                                  <a:gd name="connsiteX231" fmla="*/ 644056 w 1148963"/>
                                  <a:gd name="connsiteY231" fmla="*/ 1808922 h 2443850"/>
                                  <a:gd name="connsiteX232" fmla="*/ 636104 w 1148963"/>
                                  <a:gd name="connsiteY232" fmla="*/ 1800970 h 2443850"/>
                                  <a:gd name="connsiteX233" fmla="*/ 624177 w 1148963"/>
                                  <a:gd name="connsiteY233" fmla="*/ 1796995 h 2443850"/>
                                  <a:gd name="connsiteX234" fmla="*/ 612250 w 1148963"/>
                                  <a:gd name="connsiteY234" fmla="*/ 1816873 h 2443850"/>
                                  <a:gd name="connsiteX235" fmla="*/ 608275 w 1148963"/>
                                  <a:gd name="connsiteY235" fmla="*/ 1828800 h 2443850"/>
                                  <a:gd name="connsiteX236" fmla="*/ 584421 w 1148963"/>
                                  <a:gd name="connsiteY236" fmla="*/ 1836751 h 2443850"/>
                                  <a:gd name="connsiteX237" fmla="*/ 580445 w 1148963"/>
                                  <a:gd name="connsiteY237" fmla="*/ 1848678 h 2443850"/>
                                  <a:gd name="connsiteX238" fmla="*/ 560567 w 1148963"/>
                                  <a:gd name="connsiteY238" fmla="*/ 1852654 h 2443850"/>
                                  <a:gd name="connsiteX239" fmla="*/ 548640 w 1148963"/>
                                  <a:gd name="connsiteY239" fmla="*/ 1856629 h 2443850"/>
                                  <a:gd name="connsiteX240" fmla="*/ 500932 w 1148963"/>
                                  <a:gd name="connsiteY240" fmla="*/ 1852654 h 2443850"/>
                                  <a:gd name="connsiteX241" fmla="*/ 489005 w 1148963"/>
                                  <a:gd name="connsiteY241" fmla="*/ 1856629 h 2443850"/>
                                  <a:gd name="connsiteX242" fmla="*/ 492981 w 1148963"/>
                                  <a:gd name="connsiteY242" fmla="*/ 1868556 h 2443850"/>
                                  <a:gd name="connsiteX243" fmla="*/ 504908 w 1148963"/>
                                  <a:gd name="connsiteY243" fmla="*/ 1872532 h 2443850"/>
                                  <a:gd name="connsiteX244" fmla="*/ 516835 w 1148963"/>
                                  <a:gd name="connsiteY244" fmla="*/ 1880483 h 2443850"/>
                                  <a:gd name="connsiteX245" fmla="*/ 532737 w 1148963"/>
                                  <a:gd name="connsiteY245" fmla="*/ 1900362 h 2443850"/>
                                  <a:gd name="connsiteX246" fmla="*/ 528762 w 1148963"/>
                                  <a:gd name="connsiteY246" fmla="*/ 1912289 h 2443850"/>
                                  <a:gd name="connsiteX247" fmla="*/ 516835 w 1148963"/>
                                  <a:gd name="connsiteY247" fmla="*/ 1916264 h 2443850"/>
                                  <a:gd name="connsiteX248" fmla="*/ 500932 w 1148963"/>
                                  <a:gd name="connsiteY248" fmla="*/ 1995777 h 2443850"/>
                                  <a:gd name="connsiteX249" fmla="*/ 496956 w 1148963"/>
                                  <a:gd name="connsiteY249" fmla="*/ 2063363 h 2443850"/>
                                  <a:gd name="connsiteX250" fmla="*/ 492981 w 1148963"/>
                                  <a:gd name="connsiteY250" fmla="*/ 2079266 h 2443850"/>
                                  <a:gd name="connsiteX251" fmla="*/ 489005 w 1148963"/>
                                  <a:gd name="connsiteY251" fmla="*/ 2130949 h 2443850"/>
                                  <a:gd name="connsiteX252" fmla="*/ 481054 w 1148963"/>
                                  <a:gd name="connsiteY252" fmla="*/ 2138901 h 2443850"/>
                                  <a:gd name="connsiteX253" fmla="*/ 477078 w 1148963"/>
                                  <a:gd name="connsiteY253" fmla="*/ 2150828 h 2443850"/>
                                  <a:gd name="connsiteX254" fmla="*/ 473102 w 1148963"/>
                                  <a:gd name="connsiteY254" fmla="*/ 2206487 h 2443850"/>
                                  <a:gd name="connsiteX255" fmla="*/ 461176 w 1148963"/>
                                  <a:gd name="connsiteY255" fmla="*/ 2210462 h 2443850"/>
                                  <a:gd name="connsiteX256" fmla="*/ 457200 w 1148963"/>
                                  <a:gd name="connsiteY256" fmla="*/ 2222389 h 2443850"/>
                                  <a:gd name="connsiteX257" fmla="*/ 449249 w 1148963"/>
                                  <a:gd name="connsiteY257" fmla="*/ 2258170 h 2443850"/>
                                  <a:gd name="connsiteX258" fmla="*/ 441297 w 1148963"/>
                                  <a:gd name="connsiteY258" fmla="*/ 2266122 h 2443850"/>
                                  <a:gd name="connsiteX259" fmla="*/ 429370 w 1148963"/>
                                  <a:gd name="connsiteY259" fmla="*/ 2301902 h 2443850"/>
                                  <a:gd name="connsiteX260" fmla="*/ 425395 w 1148963"/>
                                  <a:gd name="connsiteY260" fmla="*/ 2313829 h 2443850"/>
                                  <a:gd name="connsiteX261" fmla="*/ 401541 w 1148963"/>
                                  <a:gd name="connsiteY261" fmla="*/ 2313829 h 2443850"/>
                                  <a:gd name="connsiteX262" fmla="*/ 365760 w 1148963"/>
                                  <a:gd name="connsiteY262" fmla="*/ 2309854 h 2443850"/>
                                  <a:gd name="connsiteX263" fmla="*/ 353833 w 1148963"/>
                                  <a:gd name="connsiteY263" fmla="*/ 2313829 h 2443850"/>
                                  <a:gd name="connsiteX264" fmla="*/ 341906 w 1148963"/>
                                  <a:gd name="connsiteY264" fmla="*/ 2309854 h 2443850"/>
                                  <a:gd name="connsiteX265" fmla="*/ 318052 w 1148963"/>
                                  <a:gd name="connsiteY265" fmla="*/ 2305878 h 2443850"/>
                                  <a:gd name="connsiteX266" fmla="*/ 302149 w 1148963"/>
                                  <a:gd name="connsiteY266" fmla="*/ 2309854 h 2443850"/>
                                  <a:gd name="connsiteX267" fmla="*/ 294198 w 1148963"/>
                                  <a:gd name="connsiteY267" fmla="*/ 2333708 h 2443850"/>
                                  <a:gd name="connsiteX268" fmla="*/ 262393 w 1148963"/>
                                  <a:gd name="connsiteY268" fmla="*/ 2337683 h 2443850"/>
                                  <a:gd name="connsiteX269" fmla="*/ 250466 w 1148963"/>
                                  <a:gd name="connsiteY269" fmla="*/ 2385391 h 2443850"/>
                                  <a:gd name="connsiteX270" fmla="*/ 246490 w 1148963"/>
                                  <a:gd name="connsiteY270" fmla="*/ 2425148 h 2443850"/>
                                  <a:gd name="connsiteX271" fmla="*/ 234563 w 1148963"/>
                                  <a:gd name="connsiteY271" fmla="*/ 2429123 h 2443850"/>
                                  <a:gd name="connsiteX272" fmla="*/ 174929 w 1148963"/>
                                  <a:gd name="connsiteY272" fmla="*/ 2433099 h 2443850"/>
                                  <a:gd name="connsiteX273" fmla="*/ 143123 w 1148963"/>
                                  <a:gd name="connsiteY273" fmla="*/ 2433099 h 2443850"/>
                                  <a:gd name="connsiteX274" fmla="*/ 119269 w 1148963"/>
                                  <a:gd name="connsiteY274" fmla="*/ 2429123 h 2443850"/>
                                  <a:gd name="connsiteX275" fmla="*/ 111318 w 1148963"/>
                                  <a:gd name="connsiteY275" fmla="*/ 2401294 h 2443850"/>
                                  <a:gd name="connsiteX276" fmla="*/ 123245 w 1148963"/>
                                  <a:gd name="connsiteY276" fmla="*/ 2377440 h 2443850"/>
                                  <a:gd name="connsiteX277" fmla="*/ 131196 w 1148963"/>
                                  <a:gd name="connsiteY277" fmla="*/ 2353586 h 2443850"/>
                                  <a:gd name="connsiteX278" fmla="*/ 127221 w 1148963"/>
                                  <a:gd name="connsiteY278" fmla="*/ 2337683 h 2443850"/>
                                  <a:gd name="connsiteX279" fmla="*/ 115294 w 1148963"/>
                                  <a:gd name="connsiteY279" fmla="*/ 2333708 h 2443850"/>
                                  <a:gd name="connsiteX280" fmla="*/ 111318 w 1148963"/>
                                  <a:gd name="connsiteY280" fmla="*/ 2317805 h 2443850"/>
                                  <a:gd name="connsiteX281" fmla="*/ 103367 w 1148963"/>
                                  <a:gd name="connsiteY281" fmla="*/ 2293951 h 2443850"/>
                                  <a:gd name="connsiteX282" fmla="*/ 111318 w 1148963"/>
                                  <a:gd name="connsiteY282" fmla="*/ 2270097 h 2443850"/>
                                  <a:gd name="connsiteX283" fmla="*/ 115294 w 1148963"/>
                                  <a:gd name="connsiteY283" fmla="*/ 2250219 h 2443850"/>
                                  <a:gd name="connsiteX284" fmla="*/ 123245 w 1148963"/>
                                  <a:gd name="connsiteY284" fmla="*/ 2238292 h 2443850"/>
                                  <a:gd name="connsiteX285" fmla="*/ 127221 w 1148963"/>
                                  <a:gd name="connsiteY285" fmla="*/ 2226365 h 2443850"/>
                                  <a:gd name="connsiteX286" fmla="*/ 123245 w 1148963"/>
                                  <a:gd name="connsiteY286" fmla="*/ 2202511 h 2443850"/>
                                  <a:gd name="connsiteX287" fmla="*/ 107342 w 1148963"/>
                                  <a:gd name="connsiteY287" fmla="*/ 2182633 h 2443850"/>
                                  <a:gd name="connsiteX288" fmla="*/ 95416 w 1148963"/>
                                  <a:gd name="connsiteY288" fmla="*/ 2146852 h 2443850"/>
                                  <a:gd name="connsiteX289" fmla="*/ 91440 w 1148963"/>
                                  <a:gd name="connsiteY289" fmla="*/ 2134925 h 2443850"/>
                                  <a:gd name="connsiteX290" fmla="*/ 75537 w 1148963"/>
                                  <a:gd name="connsiteY290" fmla="*/ 2115047 h 2443850"/>
                                  <a:gd name="connsiteX291" fmla="*/ 71562 w 1148963"/>
                                  <a:gd name="connsiteY291" fmla="*/ 2103120 h 2443850"/>
                                  <a:gd name="connsiteX292" fmla="*/ 67586 w 1148963"/>
                                  <a:gd name="connsiteY292" fmla="*/ 2067339 h 2443850"/>
                                  <a:gd name="connsiteX293" fmla="*/ 51683 w 1148963"/>
                                  <a:gd name="connsiteY293" fmla="*/ 2043485 h 2443850"/>
                                  <a:gd name="connsiteX294" fmla="*/ 55659 w 1148963"/>
                                  <a:gd name="connsiteY294" fmla="*/ 2023607 h 2443850"/>
                                  <a:gd name="connsiteX295" fmla="*/ 59635 w 1148963"/>
                                  <a:gd name="connsiteY295" fmla="*/ 2011680 h 2443850"/>
                                  <a:gd name="connsiteX296" fmla="*/ 51683 w 1148963"/>
                                  <a:gd name="connsiteY296" fmla="*/ 1991802 h 2443850"/>
                                  <a:gd name="connsiteX297" fmla="*/ 51683 w 1148963"/>
                                  <a:gd name="connsiteY297" fmla="*/ 1952045 h 2443850"/>
                                  <a:gd name="connsiteX298" fmla="*/ 55659 w 1148963"/>
                                  <a:gd name="connsiteY298" fmla="*/ 1900362 h 2443850"/>
                                  <a:gd name="connsiteX299" fmla="*/ 39756 w 1148963"/>
                                  <a:gd name="connsiteY299" fmla="*/ 1876508 h 2443850"/>
                                  <a:gd name="connsiteX300" fmla="*/ 15902 w 1148963"/>
                                  <a:gd name="connsiteY300" fmla="*/ 1868556 h 2443850"/>
                                  <a:gd name="connsiteX301" fmla="*/ 3976 w 1148963"/>
                                  <a:gd name="connsiteY301" fmla="*/ 1860605 h 2443850"/>
                                  <a:gd name="connsiteX302" fmla="*/ 0 w 1148963"/>
                                  <a:gd name="connsiteY302" fmla="*/ 1848678 h 2443850"/>
                                  <a:gd name="connsiteX303" fmla="*/ 11927 w 1148963"/>
                                  <a:gd name="connsiteY303" fmla="*/ 1800970 h 2443850"/>
                                  <a:gd name="connsiteX304" fmla="*/ 23854 w 1148963"/>
                                  <a:gd name="connsiteY304" fmla="*/ 1777116 h 2443850"/>
                                  <a:gd name="connsiteX305" fmla="*/ 11927 w 1148963"/>
                                  <a:gd name="connsiteY305" fmla="*/ 1745311 h 244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1148963" h="2443850">
                                    <a:moveTo>
                                      <a:pt x="11927" y="1745311"/>
                                    </a:moveTo>
                                    <a:lnTo>
                                      <a:pt x="11927" y="1745311"/>
                                    </a:lnTo>
                                    <a:cubicBezTo>
                                      <a:pt x="17669" y="1760623"/>
                                      <a:pt x="15946" y="1781092"/>
                                      <a:pt x="35781" y="1781092"/>
                                    </a:cubicBezTo>
                                    <a:cubicBezTo>
                                      <a:pt x="39972" y="1781092"/>
                                      <a:pt x="43732" y="1778441"/>
                                      <a:pt x="47708" y="1777116"/>
                                    </a:cubicBezTo>
                                    <a:cubicBezTo>
                                      <a:pt x="49033" y="1773140"/>
                                      <a:pt x="50532" y="1769218"/>
                                      <a:pt x="51683" y="1765189"/>
                                    </a:cubicBezTo>
                                    <a:cubicBezTo>
                                      <a:pt x="53381" y="1759245"/>
                                      <a:pt x="56458" y="1743715"/>
                                      <a:pt x="59635" y="1737360"/>
                                    </a:cubicBezTo>
                                    <a:cubicBezTo>
                                      <a:pt x="61772" y="1733086"/>
                                      <a:pt x="64936" y="1729409"/>
                                      <a:pt x="67586" y="1725433"/>
                                    </a:cubicBezTo>
                                    <a:cubicBezTo>
                                      <a:pt x="73606" y="1659221"/>
                                      <a:pt x="67434" y="1702262"/>
                                      <a:pt x="75537" y="1665798"/>
                                    </a:cubicBezTo>
                                    <a:cubicBezTo>
                                      <a:pt x="75766" y="1664769"/>
                                      <a:pt x="80210" y="1638092"/>
                                      <a:pt x="83489" y="1633993"/>
                                    </a:cubicBezTo>
                                    <a:cubicBezTo>
                                      <a:pt x="86474" y="1630262"/>
                                      <a:pt x="91685" y="1629027"/>
                                      <a:pt x="95416" y="1626042"/>
                                    </a:cubicBezTo>
                                    <a:cubicBezTo>
                                      <a:pt x="98343" y="1623700"/>
                                      <a:pt x="101026" y="1621017"/>
                                      <a:pt x="103367" y="1618090"/>
                                    </a:cubicBezTo>
                                    <a:cubicBezTo>
                                      <a:pt x="106352" y="1614359"/>
                                      <a:pt x="107939" y="1609542"/>
                                      <a:pt x="111318" y="1606163"/>
                                    </a:cubicBezTo>
                                    <a:cubicBezTo>
                                      <a:pt x="114697" y="1602784"/>
                                      <a:pt x="119574" y="1601271"/>
                                      <a:pt x="123245" y="1598212"/>
                                    </a:cubicBezTo>
                                    <a:cubicBezTo>
                                      <a:pt x="153856" y="1572703"/>
                                      <a:pt x="117487" y="1598075"/>
                                      <a:pt x="147099" y="1578334"/>
                                    </a:cubicBezTo>
                                    <a:cubicBezTo>
                                      <a:pt x="148424" y="1574358"/>
                                      <a:pt x="148457" y="1569679"/>
                                      <a:pt x="151075" y="1566407"/>
                                    </a:cubicBezTo>
                                    <a:cubicBezTo>
                                      <a:pt x="154060" y="1562676"/>
                                      <a:pt x="160470" y="1562508"/>
                                      <a:pt x="163002" y="1558456"/>
                                    </a:cubicBezTo>
                                    <a:cubicBezTo>
                                      <a:pt x="167444" y="1551349"/>
                                      <a:pt x="170953" y="1534602"/>
                                      <a:pt x="170953" y="1534602"/>
                                    </a:cubicBezTo>
                                    <a:cubicBezTo>
                                      <a:pt x="169628" y="1501471"/>
                                      <a:pt x="163664" y="1453763"/>
                                      <a:pt x="166977" y="1435210"/>
                                    </a:cubicBezTo>
                                    <a:lnTo>
                                      <a:pt x="163002" y="1407381"/>
                                    </a:lnTo>
                                    <a:cubicBezTo>
                                      <a:pt x="206672" y="1376811"/>
                                      <a:pt x="193785" y="1393011"/>
                                      <a:pt x="210709" y="1367624"/>
                                    </a:cubicBezTo>
                                    <a:cubicBezTo>
                                      <a:pt x="209445" y="1351189"/>
                                      <a:pt x="218301" y="1319701"/>
                                      <a:pt x="198782" y="1307989"/>
                                    </a:cubicBezTo>
                                    <a:cubicBezTo>
                                      <a:pt x="195189" y="1305833"/>
                                      <a:pt x="190831" y="1305339"/>
                                      <a:pt x="186856" y="1304014"/>
                                    </a:cubicBezTo>
                                    <a:cubicBezTo>
                                      <a:pt x="179461" y="1296619"/>
                                      <a:pt x="175968" y="1294166"/>
                                      <a:pt x="170953" y="1284136"/>
                                    </a:cubicBezTo>
                                    <a:cubicBezTo>
                                      <a:pt x="169079" y="1280388"/>
                                      <a:pt x="168302" y="1276185"/>
                                      <a:pt x="166977" y="1272209"/>
                                    </a:cubicBezTo>
                                    <a:cubicBezTo>
                                      <a:pt x="168443" y="1261950"/>
                                      <a:pt x="169377" y="1243556"/>
                                      <a:pt x="174929" y="1232452"/>
                                    </a:cubicBezTo>
                                    <a:cubicBezTo>
                                      <a:pt x="190343" y="1201624"/>
                                      <a:pt x="176862" y="1238577"/>
                                      <a:pt x="186856" y="1208598"/>
                                    </a:cubicBezTo>
                                    <a:cubicBezTo>
                                      <a:pt x="180848" y="1184568"/>
                                      <a:pt x="184607" y="1197875"/>
                                      <a:pt x="174929" y="1168842"/>
                                    </a:cubicBezTo>
                                    <a:cubicBezTo>
                                      <a:pt x="173604" y="1164866"/>
                                      <a:pt x="171642" y="1161049"/>
                                      <a:pt x="170953" y="1156915"/>
                                    </a:cubicBezTo>
                                    <a:cubicBezTo>
                                      <a:pt x="169628" y="1148964"/>
                                      <a:pt x="168932" y="1140881"/>
                                      <a:pt x="166977" y="1133061"/>
                                    </a:cubicBezTo>
                                    <a:cubicBezTo>
                                      <a:pt x="157350" y="1094552"/>
                                      <a:pt x="159026" y="1123677"/>
                                      <a:pt x="159026" y="1093304"/>
                                    </a:cubicBezTo>
                                    <a:lnTo>
                                      <a:pt x="170953" y="1073426"/>
                                    </a:lnTo>
                                    <a:cubicBezTo>
                                      <a:pt x="172277" y="1061511"/>
                                      <a:pt x="179196" y="1032192"/>
                                      <a:pt x="170953" y="1017767"/>
                                    </a:cubicBezTo>
                                    <a:cubicBezTo>
                                      <a:pt x="168582" y="1013618"/>
                                      <a:pt x="163002" y="1012466"/>
                                      <a:pt x="159026" y="1009816"/>
                                    </a:cubicBezTo>
                                    <a:cubicBezTo>
                                      <a:pt x="165931" y="989104"/>
                                      <a:pt x="158480" y="1005530"/>
                                      <a:pt x="170953" y="989937"/>
                                    </a:cubicBezTo>
                                    <a:cubicBezTo>
                                      <a:pt x="173938" y="986206"/>
                                      <a:pt x="175173" y="980995"/>
                                      <a:pt x="178904" y="978010"/>
                                    </a:cubicBezTo>
                                    <a:cubicBezTo>
                                      <a:pt x="182176" y="975392"/>
                                      <a:pt x="186855" y="975360"/>
                                      <a:pt x="190831" y="974035"/>
                                    </a:cubicBezTo>
                                    <a:cubicBezTo>
                                      <a:pt x="205397" y="959467"/>
                                      <a:pt x="196197" y="971749"/>
                                      <a:pt x="202758" y="942229"/>
                                    </a:cubicBezTo>
                                    <a:cubicBezTo>
                                      <a:pt x="204874" y="932706"/>
                                      <a:pt x="208252" y="925881"/>
                                      <a:pt x="214685" y="918376"/>
                                    </a:cubicBezTo>
                                    <a:cubicBezTo>
                                      <a:pt x="219564" y="912684"/>
                                      <a:pt x="223476" y="904844"/>
                                      <a:pt x="230588" y="902473"/>
                                    </a:cubicBezTo>
                                    <a:lnTo>
                                      <a:pt x="242515" y="898497"/>
                                    </a:lnTo>
                                    <a:cubicBezTo>
                                      <a:pt x="246491" y="894521"/>
                                      <a:pt x="250843" y="890889"/>
                                      <a:pt x="254442" y="886570"/>
                                    </a:cubicBezTo>
                                    <a:cubicBezTo>
                                      <a:pt x="257501" y="882899"/>
                                      <a:pt x="258662" y="877628"/>
                                      <a:pt x="262393" y="874643"/>
                                    </a:cubicBezTo>
                                    <a:cubicBezTo>
                                      <a:pt x="265665" y="872025"/>
                                      <a:pt x="270291" y="871819"/>
                                      <a:pt x="274320" y="870668"/>
                                    </a:cubicBezTo>
                                    <a:cubicBezTo>
                                      <a:pt x="309238" y="860692"/>
                                      <a:pt x="273572" y="872242"/>
                                      <a:pt x="302149" y="862716"/>
                                    </a:cubicBezTo>
                                    <a:cubicBezTo>
                                      <a:pt x="306266" y="858599"/>
                                      <a:pt x="316178" y="847650"/>
                                      <a:pt x="322028" y="846814"/>
                                    </a:cubicBezTo>
                                    <a:cubicBezTo>
                                      <a:pt x="327437" y="846041"/>
                                      <a:pt x="332629" y="849464"/>
                                      <a:pt x="337930" y="850789"/>
                                    </a:cubicBezTo>
                                    <a:cubicBezTo>
                                      <a:pt x="340581" y="853440"/>
                                      <a:pt x="342133" y="858741"/>
                                      <a:pt x="345882" y="858741"/>
                                    </a:cubicBezTo>
                                    <a:cubicBezTo>
                                      <a:pt x="354264" y="858741"/>
                                      <a:pt x="369736" y="850789"/>
                                      <a:pt x="369736" y="850789"/>
                                    </a:cubicBezTo>
                                    <a:cubicBezTo>
                                      <a:pt x="377206" y="828377"/>
                                      <a:pt x="378050" y="831155"/>
                                      <a:pt x="369736" y="795130"/>
                                    </a:cubicBezTo>
                                    <a:cubicBezTo>
                                      <a:pt x="368706" y="790668"/>
                                      <a:pt x="351772" y="780505"/>
                                      <a:pt x="349857" y="779228"/>
                                    </a:cubicBezTo>
                                    <a:cubicBezTo>
                                      <a:pt x="351182" y="773927"/>
                                      <a:pt x="350802" y="767871"/>
                                      <a:pt x="353833" y="763325"/>
                                    </a:cubicBezTo>
                                    <a:cubicBezTo>
                                      <a:pt x="358236" y="756720"/>
                                      <a:pt x="370884" y="753666"/>
                                      <a:pt x="377687" y="751398"/>
                                    </a:cubicBezTo>
                                    <a:lnTo>
                                      <a:pt x="381662" y="739471"/>
                                    </a:lnTo>
                                    <a:lnTo>
                                      <a:pt x="401541" y="703690"/>
                                    </a:lnTo>
                                    <a:cubicBezTo>
                                      <a:pt x="405517" y="693088"/>
                                      <a:pt x="407187" y="681306"/>
                                      <a:pt x="413468" y="671885"/>
                                    </a:cubicBezTo>
                                    <a:cubicBezTo>
                                      <a:pt x="415793" y="668398"/>
                                      <a:pt x="422959" y="671319"/>
                                      <a:pt x="425395" y="667909"/>
                                    </a:cubicBezTo>
                                    <a:cubicBezTo>
                                      <a:pt x="430266" y="661089"/>
                                      <a:pt x="430696" y="652007"/>
                                      <a:pt x="433346" y="644056"/>
                                    </a:cubicBezTo>
                                    <a:lnTo>
                                      <a:pt x="441297" y="620202"/>
                                    </a:lnTo>
                                    <a:lnTo>
                                      <a:pt x="445273" y="608275"/>
                                    </a:lnTo>
                                    <a:cubicBezTo>
                                      <a:pt x="443948" y="597673"/>
                                      <a:pt x="443208" y="586981"/>
                                      <a:pt x="441297" y="576469"/>
                                    </a:cubicBezTo>
                                    <a:cubicBezTo>
                                      <a:pt x="436903" y="552301"/>
                                      <a:pt x="437322" y="572206"/>
                                      <a:pt x="437322" y="560567"/>
                                    </a:cubicBezTo>
                                    <a:lnTo>
                                      <a:pt x="433346" y="516835"/>
                                    </a:lnTo>
                                    <a:cubicBezTo>
                                      <a:pt x="438554" y="515678"/>
                                      <a:pt x="484121" y="506838"/>
                                      <a:pt x="492981" y="500932"/>
                                    </a:cubicBezTo>
                                    <a:lnTo>
                                      <a:pt x="504908" y="492981"/>
                                    </a:lnTo>
                                    <a:cubicBezTo>
                                      <a:pt x="507558" y="485030"/>
                                      <a:pt x="510826" y="477258"/>
                                      <a:pt x="512859" y="469127"/>
                                    </a:cubicBezTo>
                                    <a:cubicBezTo>
                                      <a:pt x="518867" y="445096"/>
                                      <a:pt x="515108" y="458403"/>
                                      <a:pt x="524786" y="429370"/>
                                    </a:cubicBezTo>
                                    <a:lnTo>
                                      <a:pt x="528762" y="417443"/>
                                    </a:lnTo>
                                    <a:cubicBezTo>
                                      <a:pt x="530087" y="413467"/>
                                      <a:pt x="529774" y="408479"/>
                                      <a:pt x="532737" y="405516"/>
                                    </a:cubicBezTo>
                                    <a:cubicBezTo>
                                      <a:pt x="551946" y="386309"/>
                                      <a:pt x="527527" y="409686"/>
                                      <a:pt x="552616" y="389614"/>
                                    </a:cubicBezTo>
                                    <a:cubicBezTo>
                                      <a:pt x="555543" y="387272"/>
                                      <a:pt x="558225" y="384589"/>
                                      <a:pt x="560567" y="381662"/>
                                    </a:cubicBezTo>
                                    <a:cubicBezTo>
                                      <a:pt x="563552" y="377931"/>
                                      <a:pt x="564787" y="372721"/>
                                      <a:pt x="568518" y="369736"/>
                                    </a:cubicBezTo>
                                    <a:cubicBezTo>
                                      <a:pt x="571790" y="367118"/>
                                      <a:pt x="576469" y="367085"/>
                                      <a:pt x="580445" y="365760"/>
                                    </a:cubicBezTo>
                                    <a:lnTo>
                                      <a:pt x="588396" y="341906"/>
                                    </a:lnTo>
                                    <a:lnTo>
                                      <a:pt x="592372" y="329979"/>
                                    </a:lnTo>
                                    <a:cubicBezTo>
                                      <a:pt x="591570" y="325168"/>
                                      <a:pt x="588936" y="301724"/>
                                      <a:pt x="584421" y="294198"/>
                                    </a:cubicBezTo>
                                    <a:cubicBezTo>
                                      <a:pt x="582492" y="290984"/>
                                      <a:pt x="579120" y="288897"/>
                                      <a:pt x="576469" y="286247"/>
                                    </a:cubicBezTo>
                                    <a:cubicBezTo>
                                      <a:pt x="575144" y="282271"/>
                                      <a:pt x="571805" y="278454"/>
                                      <a:pt x="572494" y="274320"/>
                                    </a:cubicBezTo>
                                    <a:cubicBezTo>
                                      <a:pt x="574409" y="262834"/>
                                      <a:pt x="585156" y="260627"/>
                                      <a:pt x="592372" y="254442"/>
                                    </a:cubicBezTo>
                                    <a:cubicBezTo>
                                      <a:pt x="598064" y="249563"/>
                                      <a:pt x="608275" y="238539"/>
                                      <a:pt x="608275" y="238539"/>
                                    </a:cubicBezTo>
                                    <a:cubicBezTo>
                                      <a:pt x="613486" y="222906"/>
                                      <a:pt x="614000" y="214388"/>
                                      <a:pt x="624177" y="202758"/>
                                    </a:cubicBezTo>
                                    <a:cubicBezTo>
                                      <a:pt x="630348" y="195706"/>
                                      <a:pt x="638858" y="190677"/>
                                      <a:pt x="644056" y="182880"/>
                                    </a:cubicBezTo>
                                    <a:cubicBezTo>
                                      <a:pt x="646706" y="178904"/>
                                      <a:pt x="648276" y="173938"/>
                                      <a:pt x="652007" y="170953"/>
                                    </a:cubicBezTo>
                                    <a:cubicBezTo>
                                      <a:pt x="657159" y="166831"/>
                                      <a:pt x="687541" y="163043"/>
                                      <a:pt x="687788" y="163002"/>
                                    </a:cubicBezTo>
                                    <a:cubicBezTo>
                                      <a:pt x="690438" y="160351"/>
                                      <a:pt x="692812" y="157392"/>
                                      <a:pt x="695739" y="155050"/>
                                    </a:cubicBezTo>
                                    <a:cubicBezTo>
                                      <a:pt x="699470" y="152065"/>
                                      <a:pt x="705134" y="151151"/>
                                      <a:pt x="707666" y="147099"/>
                                    </a:cubicBezTo>
                                    <a:cubicBezTo>
                                      <a:pt x="712108" y="139992"/>
                                      <a:pt x="710979" y="132521"/>
                                      <a:pt x="715617" y="123245"/>
                                    </a:cubicBezTo>
                                    <a:lnTo>
                                      <a:pt x="723569" y="95416"/>
                                    </a:lnTo>
                                    <a:lnTo>
                                      <a:pt x="755374" y="79513"/>
                                    </a:lnTo>
                                    <a:cubicBezTo>
                                      <a:pt x="767301" y="82163"/>
                                      <a:pt x="779302" y="84501"/>
                                      <a:pt x="791155" y="87464"/>
                                    </a:cubicBezTo>
                                    <a:cubicBezTo>
                                      <a:pt x="795221" y="88480"/>
                                      <a:pt x="799334" y="89566"/>
                                      <a:pt x="803082" y="91440"/>
                                    </a:cubicBezTo>
                                    <a:cubicBezTo>
                                      <a:pt x="807356" y="93577"/>
                                      <a:pt x="811033" y="96741"/>
                                      <a:pt x="815009" y="99391"/>
                                    </a:cubicBezTo>
                                    <a:cubicBezTo>
                                      <a:pt x="816334" y="103367"/>
                                      <a:pt x="816021" y="108355"/>
                                      <a:pt x="818984" y="111318"/>
                                    </a:cubicBezTo>
                                    <a:cubicBezTo>
                                      <a:pt x="821947" y="114281"/>
                                      <a:pt x="827163" y="113420"/>
                                      <a:pt x="830911" y="115294"/>
                                    </a:cubicBezTo>
                                    <a:cubicBezTo>
                                      <a:pt x="835185" y="117431"/>
                                      <a:pt x="838862" y="120595"/>
                                      <a:pt x="842838" y="123245"/>
                                    </a:cubicBezTo>
                                    <a:cubicBezTo>
                                      <a:pt x="844163" y="119269"/>
                                      <a:pt x="847277" y="115483"/>
                                      <a:pt x="846814" y="111318"/>
                                    </a:cubicBezTo>
                                    <a:cubicBezTo>
                                      <a:pt x="845888" y="102988"/>
                                      <a:pt x="838862" y="87464"/>
                                      <a:pt x="838862" y="87464"/>
                                    </a:cubicBezTo>
                                    <a:cubicBezTo>
                                      <a:pt x="840187" y="76862"/>
                                      <a:pt x="838870" y="65579"/>
                                      <a:pt x="842838" y="55659"/>
                                    </a:cubicBezTo>
                                    <a:cubicBezTo>
                                      <a:pt x="844613" y="51223"/>
                                      <a:pt x="852628" y="51982"/>
                                      <a:pt x="854765" y="47708"/>
                                    </a:cubicBezTo>
                                    <a:cubicBezTo>
                                      <a:pt x="858370" y="40498"/>
                                      <a:pt x="856992" y="31723"/>
                                      <a:pt x="858741" y="23854"/>
                                    </a:cubicBezTo>
                                    <a:cubicBezTo>
                                      <a:pt x="860666" y="15192"/>
                                      <a:pt x="862647" y="8789"/>
                                      <a:pt x="870668" y="3976"/>
                                    </a:cubicBezTo>
                                    <a:cubicBezTo>
                                      <a:pt x="874262" y="1820"/>
                                      <a:pt x="878619" y="1325"/>
                                      <a:pt x="882595" y="0"/>
                                    </a:cubicBezTo>
                                    <a:cubicBezTo>
                                      <a:pt x="889221" y="1325"/>
                                      <a:pt x="896606" y="624"/>
                                      <a:pt x="902473" y="3976"/>
                                    </a:cubicBezTo>
                                    <a:cubicBezTo>
                                      <a:pt x="906621" y="6346"/>
                                      <a:pt x="907439" y="12171"/>
                                      <a:pt x="910424" y="15902"/>
                                    </a:cubicBezTo>
                                    <a:cubicBezTo>
                                      <a:pt x="912766" y="18829"/>
                                      <a:pt x="915449" y="21512"/>
                                      <a:pt x="918376" y="23854"/>
                                    </a:cubicBezTo>
                                    <a:cubicBezTo>
                                      <a:pt x="931221" y="34130"/>
                                      <a:pt x="935269" y="31303"/>
                                      <a:pt x="946205" y="47708"/>
                                    </a:cubicBezTo>
                                    <a:cubicBezTo>
                                      <a:pt x="959834" y="68153"/>
                                      <a:pt x="947153" y="52443"/>
                                      <a:pt x="966083" y="67586"/>
                                    </a:cubicBezTo>
                                    <a:cubicBezTo>
                                      <a:pt x="969010" y="69927"/>
                                      <a:pt x="970821" y="73609"/>
                                      <a:pt x="974035" y="75537"/>
                                    </a:cubicBezTo>
                                    <a:cubicBezTo>
                                      <a:pt x="981565" y="80055"/>
                                      <a:pt x="1004996" y="82686"/>
                                      <a:pt x="1009816" y="83489"/>
                                    </a:cubicBezTo>
                                    <a:cubicBezTo>
                                      <a:pt x="1017767" y="88790"/>
                                      <a:pt x="1026912" y="92634"/>
                                      <a:pt x="1033669" y="99391"/>
                                    </a:cubicBezTo>
                                    <a:cubicBezTo>
                                      <a:pt x="1052951" y="118673"/>
                                      <a:pt x="1043334" y="111136"/>
                                      <a:pt x="1061499" y="123245"/>
                                    </a:cubicBezTo>
                                    <a:cubicBezTo>
                                      <a:pt x="1064149" y="127221"/>
                                      <a:pt x="1067313" y="130898"/>
                                      <a:pt x="1069450" y="135172"/>
                                    </a:cubicBezTo>
                                    <a:cubicBezTo>
                                      <a:pt x="1071324" y="138920"/>
                                      <a:pt x="1070808" y="143827"/>
                                      <a:pt x="1073426" y="147099"/>
                                    </a:cubicBezTo>
                                    <a:cubicBezTo>
                                      <a:pt x="1076411" y="150830"/>
                                      <a:pt x="1081377" y="152400"/>
                                      <a:pt x="1085353" y="155050"/>
                                    </a:cubicBezTo>
                                    <a:cubicBezTo>
                                      <a:pt x="1094629" y="182880"/>
                                      <a:pt x="1095954" y="170953"/>
                                      <a:pt x="1089329" y="190831"/>
                                    </a:cubicBezTo>
                                    <a:cubicBezTo>
                                      <a:pt x="1090654" y="216010"/>
                                      <a:pt x="1089738" y="241408"/>
                                      <a:pt x="1093304" y="266369"/>
                                    </a:cubicBezTo>
                                    <a:cubicBezTo>
                                      <a:pt x="1093834" y="270080"/>
                                      <a:pt x="1100471" y="270655"/>
                                      <a:pt x="1101256" y="274320"/>
                                    </a:cubicBezTo>
                                    <a:cubicBezTo>
                                      <a:pt x="1104590" y="289878"/>
                                      <a:pt x="1100444" y="316429"/>
                                      <a:pt x="1109207" y="333955"/>
                                    </a:cubicBezTo>
                                    <a:cubicBezTo>
                                      <a:pt x="1116611" y="348763"/>
                                      <a:pt x="1118093" y="344618"/>
                                      <a:pt x="1129085" y="357809"/>
                                    </a:cubicBezTo>
                                    <a:cubicBezTo>
                                      <a:pt x="1137647" y="368084"/>
                                      <a:pt x="1137027" y="369710"/>
                                      <a:pt x="1141012" y="381662"/>
                                    </a:cubicBezTo>
                                    <a:cubicBezTo>
                                      <a:pt x="1139687" y="389613"/>
                                      <a:pt x="1139866" y="397968"/>
                                      <a:pt x="1137036" y="405516"/>
                                    </a:cubicBezTo>
                                    <a:cubicBezTo>
                                      <a:pt x="1135720" y="409026"/>
                                      <a:pt x="1130761" y="410115"/>
                                      <a:pt x="1129085" y="413468"/>
                                    </a:cubicBezTo>
                                    <a:cubicBezTo>
                                      <a:pt x="1125337" y="420965"/>
                                      <a:pt x="1123784" y="429371"/>
                                      <a:pt x="1121134" y="437322"/>
                                    </a:cubicBezTo>
                                    <a:lnTo>
                                      <a:pt x="1117158" y="449249"/>
                                    </a:lnTo>
                                    <a:cubicBezTo>
                                      <a:pt x="1118483" y="470452"/>
                                      <a:pt x="1116757" y="492070"/>
                                      <a:pt x="1121134" y="512859"/>
                                    </a:cubicBezTo>
                                    <a:cubicBezTo>
                                      <a:pt x="1122292" y="518361"/>
                                      <a:pt x="1129609" y="520348"/>
                                      <a:pt x="1133061" y="524786"/>
                                    </a:cubicBezTo>
                                    <a:cubicBezTo>
                                      <a:pt x="1138928" y="532329"/>
                                      <a:pt x="1148963" y="548640"/>
                                      <a:pt x="1148963" y="548640"/>
                                    </a:cubicBezTo>
                                    <a:cubicBezTo>
                                      <a:pt x="1147638" y="555266"/>
                                      <a:pt x="1148736" y="562896"/>
                                      <a:pt x="1144988" y="568518"/>
                                    </a:cubicBezTo>
                                    <a:cubicBezTo>
                                      <a:pt x="1139205" y="577193"/>
                                      <a:pt x="1126917" y="570446"/>
                                      <a:pt x="1121134" y="568518"/>
                                    </a:cubicBezTo>
                                    <a:cubicBezTo>
                                      <a:pt x="1111857" y="569843"/>
                                      <a:pt x="1102493" y="570656"/>
                                      <a:pt x="1093304" y="572494"/>
                                    </a:cubicBezTo>
                                    <a:cubicBezTo>
                                      <a:pt x="1089195" y="573316"/>
                                      <a:pt x="1085568" y="576469"/>
                                      <a:pt x="1081377" y="576469"/>
                                    </a:cubicBezTo>
                                    <a:cubicBezTo>
                                      <a:pt x="1077186" y="576469"/>
                                      <a:pt x="1073426" y="573819"/>
                                      <a:pt x="1069450" y="572494"/>
                                    </a:cubicBezTo>
                                    <a:cubicBezTo>
                                      <a:pt x="1066800" y="569843"/>
                                      <a:pt x="1064713" y="566471"/>
                                      <a:pt x="1061499" y="564542"/>
                                    </a:cubicBezTo>
                                    <a:cubicBezTo>
                                      <a:pt x="1047789" y="556316"/>
                                      <a:pt x="1044970" y="562408"/>
                                      <a:pt x="1029694" y="568518"/>
                                    </a:cubicBezTo>
                                    <a:cubicBezTo>
                                      <a:pt x="1028369" y="573819"/>
                                      <a:pt x="1029132" y="580154"/>
                                      <a:pt x="1025718" y="584421"/>
                                    </a:cubicBezTo>
                                    <a:cubicBezTo>
                                      <a:pt x="1023100" y="587693"/>
                                      <a:pt x="1017384" y="586240"/>
                                      <a:pt x="1013791" y="588396"/>
                                    </a:cubicBezTo>
                                    <a:cubicBezTo>
                                      <a:pt x="1010577" y="590325"/>
                                      <a:pt x="1008959" y="594269"/>
                                      <a:pt x="1005840" y="596348"/>
                                    </a:cubicBezTo>
                                    <a:cubicBezTo>
                                      <a:pt x="1000909" y="599636"/>
                                      <a:pt x="995238" y="601649"/>
                                      <a:pt x="989937" y="604299"/>
                                    </a:cubicBezTo>
                                    <a:cubicBezTo>
                                      <a:pt x="987287" y="612250"/>
                                      <a:pt x="986635" y="621179"/>
                                      <a:pt x="981986" y="628153"/>
                                    </a:cubicBezTo>
                                    <a:cubicBezTo>
                                      <a:pt x="979336" y="632129"/>
                                      <a:pt x="978525" y="638447"/>
                                      <a:pt x="974035" y="640080"/>
                                    </a:cubicBezTo>
                                    <a:cubicBezTo>
                                      <a:pt x="962757" y="644181"/>
                                      <a:pt x="950181" y="642731"/>
                                      <a:pt x="938254" y="644056"/>
                                    </a:cubicBezTo>
                                    <a:lnTo>
                                      <a:pt x="934278" y="655982"/>
                                    </a:lnTo>
                                    <a:lnTo>
                                      <a:pt x="958132" y="683812"/>
                                    </a:lnTo>
                                    <a:cubicBezTo>
                                      <a:pt x="951506" y="694414"/>
                                      <a:pt x="945423" y="705375"/>
                                      <a:pt x="938254" y="715617"/>
                                    </a:cubicBezTo>
                                    <a:cubicBezTo>
                                      <a:pt x="936104" y="718688"/>
                                      <a:pt x="931487" y="720013"/>
                                      <a:pt x="930302" y="723569"/>
                                    </a:cubicBezTo>
                                    <a:cubicBezTo>
                                      <a:pt x="927339" y="732459"/>
                                      <a:pt x="927652" y="742122"/>
                                      <a:pt x="926327" y="751398"/>
                                    </a:cubicBezTo>
                                    <a:cubicBezTo>
                                      <a:pt x="928977" y="755374"/>
                                      <a:pt x="932600" y="758851"/>
                                      <a:pt x="934278" y="763325"/>
                                    </a:cubicBezTo>
                                    <a:cubicBezTo>
                                      <a:pt x="936651" y="769652"/>
                                      <a:pt x="934506" y="777581"/>
                                      <a:pt x="938254" y="783203"/>
                                    </a:cubicBezTo>
                                    <a:cubicBezTo>
                                      <a:pt x="940579" y="786690"/>
                                      <a:pt x="946205" y="785854"/>
                                      <a:pt x="950181" y="787179"/>
                                    </a:cubicBezTo>
                                    <a:cubicBezTo>
                                      <a:pt x="951506" y="791155"/>
                                      <a:pt x="952000" y="795513"/>
                                      <a:pt x="954156" y="799106"/>
                                    </a:cubicBezTo>
                                    <a:cubicBezTo>
                                      <a:pt x="956085" y="802320"/>
                                      <a:pt x="961373" y="803381"/>
                                      <a:pt x="962108" y="807057"/>
                                    </a:cubicBezTo>
                                    <a:cubicBezTo>
                                      <a:pt x="963101" y="812023"/>
                                      <a:pt x="953068" y="828601"/>
                                      <a:pt x="950181" y="830911"/>
                                    </a:cubicBezTo>
                                    <a:cubicBezTo>
                                      <a:pt x="946909" y="833529"/>
                                      <a:pt x="942230" y="833562"/>
                                      <a:pt x="938254" y="834887"/>
                                    </a:cubicBezTo>
                                    <a:cubicBezTo>
                                      <a:pt x="935603" y="837537"/>
                                      <a:pt x="931978" y="839485"/>
                                      <a:pt x="930302" y="842838"/>
                                    </a:cubicBezTo>
                                    <a:cubicBezTo>
                                      <a:pt x="919190" y="865062"/>
                                      <a:pt x="935885" y="856334"/>
                                      <a:pt x="918376" y="882595"/>
                                    </a:cubicBezTo>
                                    <a:lnTo>
                                      <a:pt x="910424" y="894522"/>
                                    </a:lnTo>
                                    <a:lnTo>
                                      <a:pt x="902473" y="918376"/>
                                    </a:lnTo>
                                    <a:cubicBezTo>
                                      <a:pt x="901148" y="922351"/>
                                      <a:pt x="902562" y="929286"/>
                                      <a:pt x="898497" y="930302"/>
                                    </a:cubicBezTo>
                                    <a:lnTo>
                                      <a:pt x="882595" y="934278"/>
                                    </a:lnTo>
                                    <a:cubicBezTo>
                                      <a:pt x="877294" y="939579"/>
                                      <a:pt x="869063" y="943069"/>
                                      <a:pt x="866692" y="950181"/>
                                    </a:cubicBezTo>
                                    <a:cubicBezTo>
                                      <a:pt x="865367" y="954157"/>
                                      <a:pt x="865679" y="959145"/>
                                      <a:pt x="862716" y="962108"/>
                                    </a:cubicBezTo>
                                    <a:cubicBezTo>
                                      <a:pt x="855959" y="968865"/>
                                      <a:pt x="845619" y="971253"/>
                                      <a:pt x="838862" y="978010"/>
                                    </a:cubicBezTo>
                                    <a:cubicBezTo>
                                      <a:pt x="828496" y="988376"/>
                                      <a:pt x="820208" y="999264"/>
                                      <a:pt x="807057" y="1005840"/>
                                    </a:cubicBezTo>
                                    <a:cubicBezTo>
                                      <a:pt x="803309" y="1007714"/>
                                      <a:pt x="799106" y="1008491"/>
                                      <a:pt x="795130" y="1009816"/>
                                    </a:cubicBezTo>
                                    <a:cubicBezTo>
                                      <a:pt x="792480" y="1005840"/>
                                      <a:pt x="790910" y="1000874"/>
                                      <a:pt x="787179" y="997889"/>
                                    </a:cubicBezTo>
                                    <a:cubicBezTo>
                                      <a:pt x="769742" y="983939"/>
                                      <a:pt x="771695" y="1004584"/>
                                      <a:pt x="767301" y="1017767"/>
                                    </a:cubicBezTo>
                                    <a:cubicBezTo>
                                      <a:pt x="765976" y="1021743"/>
                                      <a:pt x="767391" y="1028678"/>
                                      <a:pt x="763325" y="1029694"/>
                                    </a:cubicBezTo>
                                    <a:lnTo>
                                      <a:pt x="747422" y="1033669"/>
                                    </a:lnTo>
                                    <a:cubicBezTo>
                                      <a:pt x="743447" y="1032344"/>
                                      <a:pt x="739605" y="1028872"/>
                                      <a:pt x="735496" y="1029694"/>
                                    </a:cubicBezTo>
                                    <a:cubicBezTo>
                                      <a:pt x="726866" y="1031420"/>
                                      <a:pt x="726174" y="1044361"/>
                                      <a:pt x="723569" y="1049572"/>
                                    </a:cubicBezTo>
                                    <a:cubicBezTo>
                                      <a:pt x="722731" y="1051248"/>
                                      <a:pt x="720918" y="1052223"/>
                                      <a:pt x="719593" y="1053548"/>
                                    </a:cubicBezTo>
                                    <a:lnTo>
                                      <a:pt x="699715" y="1073426"/>
                                    </a:lnTo>
                                    <a:cubicBezTo>
                                      <a:pt x="702365" y="1085353"/>
                                      <a:pt x="714997" y="1099433"/>
                                      <a:pt x="707666" y="1109207"/>
                                    </a:cubicBezTo>
                                    <a:cubicBezTo>
                                      <a:pt x="692284" y="1129716"/>
                                      <a:pt x="676350" y="1104032"/>
                                      <a:pt x="667909" y="1097280"/>
                                    </a:cubicBezTo>
                                    <a:cubicBezTo>
                                      <a:pt x="664178" y="1094295"/>
                                      <a:pt x="659958" y="1091979"/>
                                      <a:pt x="655982" y="1089329"/>
                                    </a:cubicBezTo>
                                    <a:cubicBezTo>
                                      <a:pt x="652007" y="1090654"/>
                                      <a:pt x="647019" y="1090341"/>
                                      <a:pt x="644056" y="1093304"/>
                                    </a:cubicBezTo>
                                    <a:cubicBezTo>
                                      <a:pt x="636656" y="1100704"/>
                                      <a:pt x="641334" y="1118757"/>
                                      <a:pt x="644056" y="1125109"/>
                                    </a:cubicBezTo>
                                    <a:cubicBezTo>
                                      <a:pt x="645533" y="1128554"/>
                                      <a:pt x="649357" y="1130410"/>
                                      <a:pt x="652007" y="1133061"/>
                                    </a:cubicBezTo>
                                    <a:cubicBezTo>
                                      <a:pt x="650682" y="1144988"/>
                                      <a:pt x="652758" y="1157812"/>
                                      <a:pt x="648031" y="1168842"/>
                                    </a:cubicBezTo>
                                    <a:cubicBezTo>
                                      <a:pt x="646554" y="1172287"/>
                                      <a:pt x="643756" y="1161625"/>
                                      <a:pt x="640080" y="1160890"/>
                                    </a:cubicBezTo>
                                    <a:cubicBezTo>
                                      <a:pt x="635971" y="1160068"/>
                                      <a:pt x="632129" y="1163541"/>
                                      <a:pt x="628153" y="1164866"/>
                                    </a:cubicBezTo>
                                    <a:cubicBezTo>
                                      <a:pt x="611615" y="1189674"/>
                                      <a:pt x="619539" y="1193358"/>
                                      <a:pt x="628153" y="1228476"/>
                                    </a:cubicBezTo>
                                    <a:lnTo>
                                      <a:pt x="616226" y="1256306"/>
                                    </a:lnTo>
                                    <a:cubicBezTo>
                                      <a:pt x="617551" y="1268233"/>
                                      <a:pt x="617849" y="1280320"/>
                                      <a:pt x="620202" y="1292087"/>
                                    </a:cubicBezTo>
                                    <a:cubicBezTo>
                                      <a:pt x="621846" y="1300306"/>
                                      <a:pt x="628153" y="1315941"/>
                                      <a:pt x="628153" y="1315941"/>
                                    </a:cubicBezTo>
                                    <a:cubicBezTo>
                                      <a:pt x="617551" y="1317266"/>
                                      <a:pt x="606111" y="1315577"/>
                                      <a:pt x="596348" y="1319916"/>
                                    </a:cubicBezTo>
                                    <a:cubicBezTo>
                                      <a:pt x="592518" y="1321618"/>
                                      <a:pt x="592372" y="1327652"/>
                                      <a:pt x="592372" y="1331843"/>
                                    </a:cubicBezTo>
                                    <a:cubicBezTo>
                                      <a:pt x="592372" y="1347801"/>
                                      <a:pt x="595023" y="1363648"/>
                                      <a:pt x="596348" y="1379551"/>
                                    </a:cubicBezTo>
                                    <a:cubicBezTo>
                                      <a:pt x="595023" y="1384852"/>
                                      <a:pt x="592135" y="1389995"/>
                                      <a:pt x="592372" y="1395454"/>
                                    </a:cubicBezTo>
                                    <a:cubicBezTo>
                                      <a:pt x="593472" y="1420748"/>
                                      <a:pt x="600323" y="1470991"/>
                                      <a:pt x="600323" y="1470991"/>
                                    </a:cubicBezTo>
                                    <a:lnTo>
                                      <a:pt x="592372" y="1494845"/>
                                    </a:lnTo>
                                    <a:lnTo>
                                      <a:pt x="588396" y="1506772"/>
                                    </a:lnTo>
                                    <a:cubicBezTo>
                                      <a:pt x="592372" y="1508097"/>
                                      <a:pt x="596729" y="1508592"/>
                                      <a:pt x="600323" y="1510748"/>
                                    </a:cubicBezTo>
                                    <a:cubicBezTo>
                                      <a:pt x="610163" y="1516652"/>
                                      <a:pt x="608096" y="1522496"/>
                                      <a:pt x="616226" y="1530626"/>
                                    </a:cubicBezTo>
                                    <a:cubicBezTo>
                                      <a:pt x="619605" y="1534005"/>
                                      <a:pt x="624422" y="1535592"/>
                                      <a:pt x="628153" y="1538577"/>
                                    </a:cubicBezTo>
                                    <a:cubicBezTo>
                                      <a:pt x="631080" y="1540919"/>
                                      <a:pt x="633454" y="1543878"/>
                                      <a:pt x="636104" y="1546529"/>
                                    </a:cubicBezTo>
                                    <a:cubicBezTo>
                                      <a:pt x="640080" y="1545204"/>
                                      <a:pt x="645068" y="1545516"/>
                                      <a:pt x="648031" y="1542553"/>
                                    </a:cubicBezTo>
                                    <a:cubicBezTo>
                                      <a:pt x="650994" y="1539590"/>
                                      <a:pt x="648031" y="1531951"/>
                                      <a:pt x="652007" y="1530626"/>
                                    </a:cubicBezTo>
                                    <a:cubicBezTo>
                                      <a:pt x="658418" y="1528489"/>
                                      <a:pt x="665259" y="1533277"/>
                                      <a:pt x="671885" y="1534602"/>
                                    </a:cubicBezTo>
                                    <a:cubicBezTo>
                                      <a:pt x="674535" y="1538578"/>
                                      <a:pt x="677954" y="1542137"/>
                                      <a:pt x="679836" y="1546529"/>
                                    </a:cubicBezTo>
                                    <a:cubicBezTo>
                                      <a:pt x="681988" y="1551551"/>
                                      <a:pt x="680781" y="1557885"/>
                                      <a:pt x="683812" y="1562431"/>
                                    </a:cubicBezTo>
                                    <a:cubicBezTo>
                                      <a:pt x="688216" y="1569036"/>
                                      <a:pt x="700863" y="1572090"/>
                                      <a:pt x="707666" y="1574358"/>
                                    </a:cubicBezTo>
                                    <a:cubicBezTo>
                                      <a:pt x="707666" y="1574358"/>
                                      <a:pt x="712968" y="1545203"/>
                                      <a:pt x="723569" y="1566407"/>
                                    </a:cubicBezTo>
                                    <a:cubicBezTo>
                                      <a:pt x="749408" y="1618086"/>
                                      <a:pt x="714764" y="1591018"/>
                                      <a:pt x="743447" y="1610139"/>
                                    </a:cubicBezTo>
                                    <a:cubicBezTo>
                                      <a:pt x="744772" y="1616765"/>
                                      <a:pt x="745783" y="1623462"/>
                                      <a:pt x="747422" y="1630017"/>
                                    </a:cubicBezTo>
                                    <a:cubicBezTo>
                                      <a:pt x="748438" y="1634083"/>
                                      <a:pt x="751918" y="1637786"/>
                                      <a:pt x="751398" y="1641944"/>
                                    </a:cubicBezTo>
                                    <a:cubicBezTo>
                                      <a:pt x="749205" y="1659488"/>
                                      <a:pt x="746037" y="1677212"/>
                                      <a:pt x="739471" y="1693628"/>
                                    </a:cubicBezTo>
                                    <a:cubicBezTo>
                                      <a:pt x="736421" y="1701254"/>
                                      <a:pt x="716830" y="1704258"/>
                                      <a:pt x="711642" y="1705555"/>
                                    </a:cubicBezTo>
                                    <a:cubicBezTo>
                                      <a:pt x="696110" y="1721085"/>
                                      <a:pt x="712407" y="1707160"/>
                                      <a:pt x="691763" y="1717482"/>
                                    </a:cubicBezTo>
                                    <a:cubicBezTo>
                                      <a:pt x="660935" y="1732896"/>
                                      <a:pt x="697888" y="1719415"/>
                                      <a:pt x="667909" y="1729409"/>
                                    </a:cubicBezTo>
                                    <a:cubicBezTo>
                                      <a:pt x="661283" y="1728084"/>
                                      <a:pt x="653653" y="1729181"/>
                                      <a:pt x="648031" y="1725433"/>
                                    </a:cubicBezTo>
                                    <a:cubicBezTo>
                                      <a:pt x="644544" y="1723108"/>
                                      <a:pt x="644649" y="1717655"/>
                                      <a:pt x="644056" y="1713506"/>
                                    </a:cubicBezTo>
                                    <a:cubicBezTo>
                                      <a:pt x="641986" y="1699016"/>
                                      <a:pt x="641405" y="1684351"/>
                                      <a:pt x="640080" y="1669774"/>
                                    </a:cubicBezTo>
                                    <a:cubicBezTo>
                                      <a:pt x="630913" y="1671302"/>
                                      <a:pt x="614089" y="1672830"/>
                                      <a:pt x="604299" y="1677725"/>
                                    </a:cubicBezTo>
                                    <a:cubicBezTo>
                                      <a:pt x="573471" y="1693139"/>
                                      <a:pt x="610424" y="1679658"/>
                                      <a:pt x="580445" y="1689652"/>
                                    </a:cubicBezTo>
                                    <a:cubicBezTo>
                                      <a:pt x="555418" y="1686076"/>
                                      <a:pt x="534934" y="1680968"/>
                                      <a:pt x="508883" y="1689652"/>
                                    </a:cubicBezTo>
                                    <a:cubicBezTo>
                                      <a:pt x="504907" y="1690977"/>
                                      <a:pt x="508318" y="1699143"/>
                                      <a:pt x="504908" y="1701579"/>
                                    </a:cubicBezTo>
                                    <a:cubicBezTo>
                                      <a:pt x="498088" y="1706451"/>
                                      <a:pt x="481054" y="1709530"/>
                                      <a:pt x="481054" y="1709530"/>
                                    </a:cubicBezTo>
                                    <a:cubicBezTo>
                                      <a:pt x="479729" y="1714831"/>
                                      <a:pt x="470452" y="1717482"/>
                                      <a:pt x="477078" y="1725433"/>
                                    </a:cubicBezTo>
                                    <a:lnTo>
                                      <a:pt x="496956" y="1733384"/>
                                    </a:lnTo>
                                    <a:cubicBezTo>
                                      <a:pt x="522135" y="1734709"/>
                                      <a:pt x="547725" y="1732642"/>
                                      <a:pt x="572494" y="1737360"/>
                                    </a:cubicBezTo>
                                    <a:cubicBezTo>
                                      <a:pt x="577188" y="1738254"/>
                                      <a:pt x="577066" y="1745908"/>
                                      <a:pt x="580445" y="1749287"/>
                                    </a:cubicBezTo>
                                    <a:cubicBezTo>
                                      <a:pt x="583824" y="1752666"/>
                                      <a:pt x="587898" y="1755560"/>
                                      <a:pt x="592372" y="1757238"/>
                                    </a:cubicBezTo>
                                    <a:cubicBezTo>
                                      <a:pt x="598699" y="1759611"/>
                                      <a:pt x="605694" y="1759575"/>
                                      <a:pt x="612250" y="1761214"/>
                                    </a:cubicBezTo>
                                    <a:cubicBezTo>
                                      <a:pt x="616316" y="1762230"/>
                                      <a:pt x="620201" y="1763864"/>
                                      <a:pt x="624177" y="1765189"/>
                                    </a:cubicBezTo>
                                    <a:cubicBezTo>
                                      <a:pt x="628153" y="1767840"/>
                                      <a:pt x="631363" y="1772548"/>
                                      <a:pt x="636104" y="1773141"/>
                                    </a:cubicBezTo>
                                    <a:cubicBezTo>
                                      <a:pt x="659772" y="1776100"/>
                                      <a:pt x="658253" y="1760455"/>
                                      <a:pt x="679836" y="1753262"/>
                                    </a:cubicBezTo>
                                    <a:lnTo>
                                      <a:pt x="691763" y="1749287"/>
                                    </a:lnTo>
                                    <a:cubicBezTo>
                                      <a:pt x="694679" y="1758033"/>
                                      <a:pt x="704486" y="1779503"/>
                                      <a:pt x="687788" y="1785068"/>
                                    </a:cubicBezTo>
                                    <a:lnTo>
                                      <a:pt x="675861" y="1789043"/>
                                    </a:lnTo>
                                    <a:cubicBezTo>
                                      <a:pt x="655710" y="1809194"/>
                                      <a:pt x="679419" y="1783114"/>
                                      <a:pt x="663934" y="1808922"/>
                                    </a:cubicBezTo>
                                    <a:cubicBezTo>
                                      <a:pt x="662005" y="1812136"/>
                                      <a:pt x="658633" y="1814223"/>
                                      <a:pt x="655982" y="1816873"/>
                                    </a:cubicBezTo>
                                    <a:cubicBezTo>
                                      <a:pt x="652007" y="1814223"/>
                                      <a:pt x="647787" y="1811907"/>
                                      <a:pt x="644056" y="1808922"/>
                                    </a:cubicBezTo>
                                    <a:cubicBezTo>
                                      <a:pt x="641129" y="1806580"/>
                                      <a:pt x="639318" y="1802899"/>
                                      <a:pt x="636104" y="1800970"/>
                                    </a:cubicBezTo>
                                    <a:cubicBezTo>
                                      <a:pt x="632511" y="1798814"/>
                                      <a:pt x="628153" y="1798320"/>
                                      <a:pt x="624177" y="1796995"/>
                                    </a:cubicBezTo>
                                    <a:cubicBezTo>
                                      <a:pt x="612917" y="1830782"/>
                                      <a:pt x="628622" y="1789587"/>
                                      <a:pt x="612250" y="1816873"/>
                                    </a:cubicBezTo>
                                    <a:cubicBezTo>
                                      <a:pt x="610094" y="1820466"/>
                                      <a:pt x="611685" y="1826364"/>
                                      <a:pt x="608275" y="1828800"/>
                                    </a:cubicBezTo>
                                    <a:cubicBezTo>
                                      <a:pt x="601455" y="1833672"/>
                                      <a:pt x="584421" y="1836751"/>
                                      <a:pt x="584421" y="1836751"/>
                                    </a:cubicBezTo>
                                    <a:cubicBezTo>
                                      <a:pt x="583096" y="1840727"/>
                                      <a:pt x="583932" y="1846353"/>
                                      <a:pt x="580445" y="1848678"/>
                                    </a:cubicBezTo>
                                    <a:cubicBezTo>
                                      <a:pt x="574823" y="1852426"/>
                                      <a:pt x="567123" y="1851015"/>
                                      <a:pt x="560567" y="1852654"/>
                                    </a:cubicBezTo>
                                    <a:cubicBezTo>
                                      <a:pt x="556501" y="1853670"/>
                                      <a:pt x="552616" y="1855304"/>
                                      <a:pt x="548640" y="1856629"/>
                                    </a:cubicBezTo>
                                    <a:cubicBezTo>
                                      <a:pt x="520477" y="1847242"/>
                                      <a:pt x="529842" y="1846230"/>
                                      <a:pt x="500932" y="1852654"/>
                                    </a:cubicBezTo>
                                    <a:cubicBezTo>
                                      <a:pt x="496841" y="1853563"/>
                                      <a:pt x="492981" y="1855304"/>
                                      <a:pt x="489005" y="1856629"/>
                                    </a:cubicBezTo>
                                    <a:cubicBezTo>
                                      <a:pt x="490330" y="1860605"/>
                                      <a:pt x="490018" y="1865593"/>
                                      <a:pt x="492981" y="1868556"/>
                                    </a:cubicBezTo>
                                    <a:cubicBezTo>
                                      <a:pt x="495944" y="1871519"/>
                                      <a:pt x="501160" y="1870658"/>
                                      <a:pt x="504908" y="1872532"/>
                                    </a:cubicBezTo>
                                    <a:cubicBezTo>
                                      <a:pt x="509182" y="1874669"/>
                                      <a:pt x="513104" y="1877498"/>
                                      <a:pt x="516835" y="1880483"/>
                                    </a:cubicBezTo>
                                    <a:cubicBezTo>
                                      <a:pt x="524926" y="1886956"/>
                                      <a:pt x="526835" y="1891508"/>
                                      <a:pt x="532737" y="1900362"/>
                                    </a:cubicBezTo>
                                    <a:cubicBezTo>
                                      <a:pt x="531412" y="1904338"/>
                                      <a:pt x="531725" y="1909326"/>
                                      <a:pt x="528762" y="1912289"/>
                                    </a:cubicBezTo>
                                    <a:cubicBezTo>
                                      <a:pt x="525799" y="1915252"/>
                                      <a:pt x="517698" y="1912163"/>
                                      <a:pt x="516835" y="1916264"/>
                                    </a:cubicBezTo>
                                    <a:cubicBezTo>
                                      <a:pt x="498833" y="2001770"/>
                                      <a:pt x="535490" y="1972739"/>
                                      <a:pt x="500932" y="1995777"/>
                                    </a:cubicBezTo>
                                    <a:cubicBezTo>
                                      <a:pt x="499607" y="2018306"/>
                                      <a:pt x="499096" y="2040897"/>
                                      <a:pt x="496956" y="2063363"/>
                                    </a:cubicBezTo>
                                    <a:cubicBezTo>
                                      <a:pt x="496438" y="2068802"/>
                                      <a:pt x="493619" y="2073839"/>
                                      <a:pt x="492981" y="2079266"/>
                                    </a:cubicBezTo>
                                    <a:cubicBezTo>
                                      <a:pt x="490962" y="2096426"/>
                                      <a:pt x="492394" y="2114006"/>
                                      <a:pt x="489005" y="2130949"/>
                                    </a:cubicBezTo>
                                    <a:cubicBezTo>
                                      <a:pt x="488270" y="2134625"/>
                                      <a:pt x="483704" y="2136250"/>
                                      <a:pt x="481054" y="2138901"/>
                                    </a:cubicBezTo>
                                    <a:cubicBezTo>
                                      <a:pt x="479729" y="2142877"/>
                                      <a:pt x="477568" y="2146666"/>
                                      <a:pt x="477078" y="2150828"/>
                                    </a:cubicBezTo>
                                    <a:cubicBezTo>
                                      <a:pt x="474905" y="2169301"/>
                                      <a:pt x="477894" y="2188515"/>
                                      <a:pt x="473102" y="2206487"/>
                                    </a:cubicBezTo>
                                    <a:cubicBezTo>
                                      <a:pt x="472022" y="2210536"/>
                                      <a:pt x="465151" y="2209137"/>
                                      <a:pt x="461176" y="2210462"/>
                                    </a:cubicBezTo>
                                    <a:cubicBezTo>
                                      <a:pt x="459851" y="2214438"/>
                                      <a:pt x="458109" y="2218298"/>
                                      <a:pt x="457200" y="2222389"/>
                                    </a:cubicBezTo>
                                    <a:cubicBezTo>
                                      <a:pt x="455973" y="2227908"/>
                                      <a:pt x="453985" y="2250276"/>
                                      <a:pt x="449249" y="2258170"/>
                                    </a:cubicBezTo>
                                    <a:cubicBezTo>
                                      <a:pt x="447320" y="2261384"/>
                                      <a:pt x="443948" y="2263471"/>
                                      <a:pt x="441297" y="2266122"/>
                                    </a:cubicBezTo>
                                    <a:lnTo>
                                      <a:pt x="429370" y="2301902"/>
                                    </a:lnTo>
                                    <a:lnTo>
                                      <a:pt x="425395" y="2313829"/>
                                    </a:lnTo>
                                    <a:lnTo>
                                      <a:pt x="401541" y="2313829"/>
                                    </a:lnTo>
                                    <a:cubicBezTo>
                                      <a:pt x="389614" y="2312504"/>
                                      <a:pt x="377760" y="2309854"/>
                                      <a:pt x="365760" y="2309854"/>
                                    </a:cubicBezTo>
                                    <a:cubicBezTo>
                                      <a:pt x="361569" y="2309854"/>
                                      <a:pt x="358024" y="2313829"/>
                                      <a:pt x="353833" y="2313829"/>
                                    </a:cubicBezTo>
                                    <a:cubicBezTo>
                                      <a:pt x="349642" y="2313829"/>
                                      <a:pt x="345997" y="2310763"/>
                                      <a:pt x="341906" y="2309854"/>
                                    </a:cubicBezTo>
                                    <a:cubicBezTo>
                                      <a:pt x="334037" y="2308105"/>
                                      <a:pt x="326003" y="2307203"/>
                                      <a:pt x="318052" y="2305878"/>
                                    </a:cubicBezTo>
                                    <a:cubicBezTo>
                                      <a:pt x="312751" y="2307203"/>
                                      <a:pt x="305705" y="2305705"/>
                                      <a:pt x="302149" y="2309854"/>
                                    </a:cubicBezTo>
                                    <a:cubicBezTo>
                                      <a:pt x="296694" y="2316218"/>
                                      <a:pt x="302515" y="2332669"/>
                                      <a:pt x="294198" y="2333708"/>
                                    </a:cubicBezTo>
                                    <a:lnTo>
                                      <a:pt x="262393" y="2337683"/>
                                    </a:lnTo>
                                    <a:cubicBezTo>
                                      <a:pt x="254120" y="2362503"/>
                                      <a:pt x="253678" y="2359695"/>
                                      <a:pt x="250466" y="2385391"/>
                                    </a:cubicBezTo>
                                    <a:cubicBezTo>
                                      <a:pt x="248814" y="2398607"/>
                                      <a:pt x="251042" y="2412631"/>
                                      <a:pt x="246490" y="2425148"/>
                                    </a:cubicBezTo>
                                    <a:cubicBezTo>
                                      <a:pt x="245058" y="2429086"/>
                                      <a:pt x="238728" y="2428660"/>
                                      <a:pt x="234563" y="2429123"/>
                                    </a:cubicBezTo>
                                    <a:cubicBezTo>
                                      <a:pt x="214763" y="2431323"/>
                                      <a:pt x="194807" y="2431774"/>
                                      <a:pt x="174929" y="2433099"/>
                                    </a:cubicBezTo>
                                    <a:cubicBezTo>
                                      <a:pt x="120141" y="2451361"/>
                                      <a:pt x="169246" y="2442895"/>
                                      <a:pt x="143123" y="2433099"/>
                                    </a:cubicBezTo>
                                    <a:cubicBezTo>
                                      <a:pt x="135575" y="2430269"/>
                                      <a:pt x="127220" y="2430448"/>
                                      <a:pt x="119269" y="2429123"/>
                                    </a:cubicBezTo>
                                    <a:cubicBezTo>
                                      <a:pt x="117396" y="2423502"/>
                                      <a:pt x="111318" y="2406281"/>
                                      <a:pt x="111318" y="2401294"/>
                                    </a:cubicBezTo>
                                    <a:cubicBezTo>
                                      <a:pt x="111318" y="2390421"/>
                                      <a:pt x="119226" y="2386484"/>
                                      <a:pt x="123245" y="2377440"/>
                                    </a:cubicBezTo>
                                    <a:cubicBezTo>
                                      <a:pt x="126649" y="2369781"/>
                                      <a:pt x="131196" y="2353586"/>
                                      <a:pt x="131196" y="2353586"/>
                                    </a:cubicBezTo>
                                    <a:cubicBezTo>
                                      <a:pt x="129871" y="2348285"/>
                                      <a:pt x="130634" y="2341950"/>
                                      <a:pt x="127221" y="2337683"/>
                                    </a:cubicBezTo>
                                    <a:cubicBezTo>
                                      <a:pt x="124603" y="2334411"/>
                                      <a:pt x="117912" y="2336980"/>
                                      <a:pt x="115294" y="2333708"/>
                                    </a:cubicBezTo>
                                    <a:cubicBezTo>
                                      <a:pt x="111880" y="2329441"/>
                                      <a:pt x="112888" y="2323039"/>
                                      <a:pt x="111318" y="2317805"/>
                                    </a:cubicBezTo>
                                    <a:cubicBezTo>
                                      <a:pt x="108910" y="2309777"/>
                                      <a:pt x="103367" y="2293951"/>
                                      <a:pt x="103367" y="2293951"/>
                                    </a:cubicBezTo>
                                    <a:cubicBezTo>
                                      <a:pt x="106017" y="2286000"/>
                                      <a:pt x="109674" y="2278316"/>
                                      <a:pt x="111318" y="2270097"/>
                                    </a:cubicBezTo>
                                    <a:cubicBezTo>
                                      <a:pt x="112643" y="2263471"/>
                                      <a:pt x="112921" y="2256546"/>
                                      <a:pt x="115294" y="2250219"/>
                                    </a:cubicBezTo>
                                    <a:cubicBezTo>
                                      <a:pt x="116972" y="2245745"/>
                                      <a:pt x="121108" y="2242566"/>
                                      <a:pt x="123245" y="2238292"/>
                                    </a:cubicBezTo>
                                    <a:cubicBezTo>
                                      <a:pt x="125119" y="2234544"/>
                                      <a:pt x="125896" y="2230341"/>
                                      <a:pt x="127221" y="2226365"/>
                                    </a:cubicBezTo>
                                    <a:cubicBezTo>
                                      <a:pt x="125896" y="2218414"/>
                                      <a:pt x="125794" y="2210158"/>
                                      <a:pt x="123245" y="2202511"/>
                                    </a:cubicBezTo>
                                    <a:cubicBezTo>
                                      <a:pt x="120737" y="2194986"/>
                                      <a:pt x="112772" y="2188062"/>
                                      <a:pt x="107342" y="2182633"/>
                                    </a:cubicBezTo>
                                    <a:lnTo>
                                      <a:pt x="95416" y="2146852"/>
                                    </a:lnTo>
                                    <a:cubicBezTo>
                                      <a:pt x="94091" y="2142876"/>
                                      <a:pt x="93765" y="2138412"/>
                                      <a:pt x="91440" y="2134925"/>
                                    </a:cubicBezTo>
                                    <a:cubicBezTo>
                                      <a:pt x="81410" y="2119879"/>
                                      <a:pt x="86868" y="2126376"/>
                                      <a:pt x="75537" y="2115047"/>
                                    </a:cubicBezTo>
                                    <a:cubicBezTo>
                                      <a:pt x="74212" y="2111071"/>
                                      <a:pt x="72251" y="2107254"/>
                                      <a:pt x="71562" y="2103120"/>
                                    </a:cubicBezTo>
                                    <a:cubicBezTo>
                                      <a:pt x="69589" y="2091283"/>
                                      <a:pt x="71381" y="2078724"/>
                                      <a:pt x="67586" y="2067339"/>
                                    </a:cubicBezTo>
                                    <a:cubicBezTo>
                                      <a:pt x="64564" y="2058273"/>
                                      <a:pt x="51683" y="2043485"/>
                                      <a:pt x="51683" y="2043485"/>
                                    </a:cubicBezTo>
                                    <a:cubicBezTo>
                                      <a:pt x="53008" y="2036859"/>
                                      <a:pt x="54020" y="2030162"/>
                                      <a:pt x="55659" y="2023607"/>
                                    </a:cubicBezTo>
                                    <a:cubicBezTo>
                                      <a:pt x="56675" y="2019541"/>
                                      <a:pt x="59635" y="2015871"/>
                                      <a:pt x="59635" y="2011680"/>
                                    </a:cubicBezTo>
                                    <a:cubicBezTo>
                                      <a:pt x="59635" y="2006767"/>
                                      <a:pt x="54059" y="1996554"/>
                                      <a:pt x="51683" y="1991802"/>
                                    </a:cubicBezTo>
                                    <a:lnTo>
                                      <a:pt x="51683" y="1952045"/>
                                    </a:lnTo>
                                    <a:cubicBezTo>
                                      <a:pt x="53008" y="1934817"/>
                                      <a:pt x="56673" y="1917611"/>
                                      <a:pt x="55659" y="1900362"/>
                                    </a:cubicBezTo>
                                    <a:cubicBezTo>
                                      <a:pt x="55365" y="1895371"/>
                                      <a:pt x="45996" y="1879628"/>
                                      <a:pt x="39756" y="1876508"/>
                                    </a:cubicBezTo>
                                    <a:cubicBezTo>
                                      <a:pt x="32259" y="1872760"/>
                                      <a:pt x="22876" y="1873205"/>
                                      <a:pt x="15902" y="1868556"/>
                                    </a:cubicBezTo>
                                    <a:lnTo>
                                      <a:pt x="3976" y="1860605"/>
                                    </a:lnTo>
                                    <a:cubicBezTo>
                                      <a:pt x="2651" y="1856629"/>
                                      <a:pt x="0" y="1852869"/>
                                      <a:pt x="0" y="1848678"/>
                                    </a:cubicBezTo>
                                    <a:cubicBezTo>
                                      <a:pt x="0" y="1839737"/>
                                      <a:pt x="6994" y="1808370"/>
                                      <a:pt x="11927" y="1800970"/>
                                    </a:cubicBezTo>
                                    <a:cubicBezTo>
                                      <a:pt x="22203" y="1785556"/>
                                      <a:pt x="18367" y="1793576"/>
                                      <a:pt x="23854" y="1777116"/>
                                    </a:cubicBezTo>
                                    <a:cubicBezTo>
                                      <a:pt x="18592" y="1756071"/>
                                      <a:pt x="13915" y="1750612"/>
                                      <a:pt x="11927" y="174531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163" name="Group 162"/>
                              <p:cNvGrpSpPr/>
                              <p:nvPr/>
                            </p:nvGrpSpPr>
                            <p:grpSpPr>
                              <a:xfrm>
                                <a:off x="4082994" y="2683565"/>
                                <a:ext cx="437343" cy="508884"/>
                                <a:chOff x="4082994" y="2683565"/>
                                <a:chExt cx="437343" cy="508884"/>
                              </a:xfrm>
                              <a:grpFill/>
                            </p:grpSpPr>
                            <p:sp>
                              <p:nvSpPr>
                                <p:cNvPr id="164" name="Freeform 163"/>
                                <p:cNvSpPr/>
                                <p:nvPr/>
                              </p:nvSpPr>
                              <p:spPr>
                                <a:xfrm>
                                  <a:off x="4444779" y="2683565"/>
                                  <a:ext cx="75558" cy="166978"/>
                                </a:xfrm>
                                <a:custGeom>
                                  <a:avLst/>
                                  <a:gdLst>
                                    <a:gd name="connsiteX0" fmla="*/ 75538 w 75558"/>
                                    <a:gd name="connsiteY0" fmla="*/ 0 h 166978"/>
                                    <a:gd name="connsiteX1" fmla="*/ 75538 w 75558"/>
                                    <a:gd name="connsiteY1" fmla="*/ 0 h 166978"/>
                                    <a:gd name="connsiteX2" fmla="*/ 43732 w 75558"/>
                                    <a:gd name="connsiteY2" fmla="*/ 15903 h 166978"/>
                                    <a:gd name="connsiteX3" fmla="*/ 39757 w 75558"/>
                                    <a:gd name="connsiteY3" fmla="*/ 27830 h 166978"/>
                                    <a:gd name="connsiteX4" fmla="*/ 19878 w 75558"/>
                                    <a:gd name="connsiteY4" fmla="*/ 43732 h 166978"/>
                                    <a:gd name="connsiteX5" fmla="*/ 3976 w 75558"/>
                                    <a:gd name="connsiteY5" fmla="*/ 79513 h 166978"/>
                                    <a:gd name="connsiteX6" fmla="*/ 0 w 75558"/>
                                    <a:gd name="connsiteY6" fmla="*/ 91440 h 166978"/>
                                    <a:gd name="connsiteX7" fmla="*/ 3976 w 75558"/>
                                    <a:gd name="connsiteY7" fmla="*/ 131197 h 166978"/>
                                    <a:gd name="connsiteX8" fmla="*/ 7951 w 75558"/>
                                    <a:gd name="connsiteY8" fmla="*/ 143124 h 166978"/>
                                    <a:gd name="connsiteX9" fmla="*/ 11927 w 75558"/>
                                    <a:gd name="connsiteY9" fmla="*/ 166978 h 166978"/>
                                    <a:gd name="connsiteX10" fmla="*/ 15903 w 75558"/>
                                    <a:gd name="connsiteY10" fmla="*/ 155051 h 166978"/>
                                    <a:gd name="connsiteX11" fmla="*/ 19878 w 75558"/>
                                    <a:gd name="connsiteY11" fmla="*/ 139148 h 166978"/>
                                    <a:gd name="connsiteX12" fmla="*/ 39757 w 75558"/>
                                    <a:gd name="connsiteY12" fmla="*/ 119270 h 166978"/>
                                    <a:gd name="connsiteX13" fmla="*/ 59635 w 75558"/>
                                    <a:gd name="connsiteY13" fmla="*/ 107343 h 166978"/>
                                    <a:gd name="connsiteX14" fmla="*/ 67586 w 75558"/>
                                    <a:gd name="connsiteY14" fmla="*/ 95416 h 166978"/>
                                    <a:gd name="connsiteX15" fmla="*/ 75538 w 75558"/>
                                    <a:gd name="connsiteY15" fmla="*/ 87465 h 166978"/>
                                    <a:gd name="connsiteX16" fmla="*/ 67586 w 75558"/>
                                    <a:gd name="connsiteY16" fmla="*/ 51684 h 166978"/>
                                    <a:gd name="connsiteX17" fmla="*/ 59635 w 75558"/>
                                    <a:gd name="connsiteY17" fmla="*/ 43732 h 166978"/>
                                    <a:gd name="connsiteX18" fmla="*/ 75538 w 75558"/>
                                    <a:gd name="connsiteY18" fmla="*/ 0 h 16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558" h="166978">
                                      <a:moveTo>
                                        <a:pt x="75538" y="0"/>
                                      </a:moveTo>
                                      <a:lnTo>
                                        <a:pt x="75538" y="0"/>
                                      </a:lnTo>
                                      <a:cubicBezTo>
                                        <a:pt x="64936" y="5301"/>
                                        <a:pt x="53088" y="8626"/>
                                        <a:pt x="43732" y="15903"/>
                                      </a:cubicBezTo>
                                      <a:cubicBezTo>
                                        <a:pt x="40424" y="18476"/>
                                        <a:pt x="41913" y="24237"/>
                                        <a:pt x="39757" y="27830"/>
                                      </a:cubicBezTo>
                                      <a:cubicBezTo>
                                        <a:pt x="35981" y="34123"/>
                                        <a:pt x="25293" y="40122"/>
                                        <a:pt x="19878" y="43732"/>
                                      </a:cubicBezTo>
                                      <a:cubicBezTo>
                                        <a:pt x="7278" y="62634"/>
                                        <a:pt x="13439" y="51125"/>
                                        <a:pt x="3976" y="79513"/>
                                      </a:cubicBezTo>
                                      <a:lnTo>
                                        <a:pt x="0" y="91440"/>
                                      </a:lnTo>
                                      <a:cubicBezTo>
                                        <a:pt x="1325" y="104692"/>
                                        <a:pt x="1951" y="118033"/>
                                        <a:pt x="3976" y="131197"/>
                                      </a:cubicBezTo>
                                      <a:cubicBezTo>
                                        <a:pt x="4613" y="135339"/>
                                        <a:pt x="7042" y="139033"/>
                                        <a:pt x="7951" y="143124"/>
                                      </a:cubicBezTo>
                                      <a:cubicBezTo>
                                        <a:pt x="9700" y="150993"/>
                                        <a:pt x="10602" y="159027"/>
                                        <a:pt x="11927" y="166978"/>
                                      </a:cubicBezTo>
                                      <a:cubicBezTo>
                                        <a:pt x="13252" y="163002"/>
                                        <a:pt x="14752" y="159081"/>
                                        <a:pt x="15903" y="155051"/>
                                      </a:cubicBezTo>
                                      <a:cubicBezTo>
                                        <a:pt x="17404" y="149797"/>
                                        <a:pt x="17726" y="144170"/>
                                        <a:pt x="19878" y="139148"/>
                                      </a:cubicBezTo>
                                      <a:cubicBezTo>
                                        <a:pt x="26101" y="124628"/>
                                        <a:pt x="28234" y="128489"/>
                                        <a:pt x="39757" y="119270"/>
                                      </a:cubicBezTo>
                                      <a:cubicBezTo>
                                        <a:pt x="55350" y="106795"/>
                                        <a:pt x="38921" y="114246"/>
                                        <a:pt x="59635" y="107343"/>
                                      </a:cubicBezTo>
                                      <a:cubicBezTo>
                                        <a:pt x="62285" y="103367"/>
                                        <a:pt x="64601" y="99147"/>
                                        <a:pt x="67586" y="95416"/>
                                      </a:cubicBezTo>
                                      <a:cubicBezTo>
                                        <a:pt x="69928" y="92489"/>
                                        <a:pt x="75073" y="91184"/>
                                        <a:pt x="75538" y="87465"/>
                                      </a:cubicBezTo>
                                      <a:cubicBezTo>
                                        <a:pt x="75898" y="84584"/>
                                        <a:pt x="71499" y="58206"/>
                                        <a:pt x="67586" y="51684"/>
                                      </a:cubicBezTo>
                                      <a:cubicBezTo>
                                        <a:pt x="65658" y="48470"/>
                                        <a:pt x="62285" y="46383"/>
                                        <a:pt x="59635" y="43732"/>
                                      </a:cubicBezTo>
                                      <a:cubicBezTo>
                                        <a:pt x="63986" y="13279"/>
                                        <a:pt x="72888" y="7289"/>
                                        <a:pt x="75538"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5" name="Freeform 164"/>
                                <p:cNvSpPr/>
                                <p:nvPr/>
                              </p:nvSpPr>
                              <p:spPr>
                                <a:xfrm>
                                  <a:off x="4269850" y="2782957"/>
                                  <a:ext cx="67587" cy="203668"/>
                                </a:xfrm>
                                <a:custGeom>
                                  <a:avLst/>
                                  <a:gdLst>
                                    <a:gd name="connsiteX0" fmla="*/ 67587 w 67587"/>
                                    <a:gd name="connsiteY0" fmla="*/ 0 h 203668"/>
                                    <a:gd name="connsiteX1" fmla="*/ 67587 w 67587"/>
                                    <a:gd name="connsiteY1" fmla="*/ 0 h 203668"/>
                                    <a:gd name="connsiteX2" fmla="*/ 55660 w 67587"/>
                                    <a:gd name="connsiteY2" fmla="*/ 31805 h 203668"/>
                                    <a:gd name="connsiteX3" fmla="*/ 47708 w 67587"/>
                                    <a:gd name="connsiteY3" fmla="*/ 39756 h 203668"/>
                                    <a:gd name="connsiteX4" fmla="*/ 39757 w 67587"/>
                                    <a:gd name="connsiteY4" fmla="*/ 63610 h 203668"/>
                                    <a:gd name="connsiteX5" fmla="*/ 31806 w 67587"/>
                                    <a:gd name="connsiteY5" fmla="*/ 75537 h 203668"/>
                                    <a:gd name="connsiteX6" fmla="*/ 11927 w 67587"/>
                                    <a:gd name="connsiteY6" fmla="*/ 103366 h 203668"/>
                                    <a:gd name="connsiteX7" fmla="*/ 3976 w 67587"/>
                                    <a:gd name="connsiteY7" fmla="*/ 139147 h 203668"/>
                                    <a:gd name="connsiteX8" fmla="*/ 0 w 67587"/>
                                    <a:gd name="connsiteY8" fmla="*/ 151074 h 203668"/>
                                    <a:gd name="connsiteX9" fmla="*/ 3976 w 67587"/>
                                    <a:gd name="connsiteY9" fmla="*/ 202758 h 203668"/>
                                    <a:gd name="connsiteX10" fmla="*/ 11927 w 67587"/>
                                    <a:gd name="connsiteY10" fmla="*/ 194806 h 203668"/>
                                    <a:gd name="connsiteX11" fmla="*/ 19879 w 67587"/>
                                    <a:gd name="connsiteY11" fmla="*/ 163001 h 203668"/>
                                    <a:gd name="connsiteX12" fmla="*/ 23854 w 67587"/>
                                    <a:gd name="connsiteY12" fmla="*/ 147099 h 203668"/>
                                    <a:gd name="connsiteX13" fmla="*/ 27830 w 67587"/>
                                    <a:gd name="connsiteY13" fmla="*/ 115293 h 203668"/>
                                    <a:gd name="connsiteX14" fmla="*/ 43733 w 67587"/>
                                    <a:gd name="connsiteY14" fmla="*/ 91440 h 203668"/>
                                    <a:gd name="connsiteX15" fmla="*/ 47708 w 67587"/>
                                    <a:gd name="connsiteY15" fmla="*/ 79513 h 203668"/>
                                    <a:gd name="connsiteX16" fmla="*/ 51684 w 67587"/>
                                    <a:gd name="connsiteY16" fmla="*/ 63610 h 203668"/>
                                    <a:gd name="connsiteX17" fmla="*/ 59635 w 67587"/>
                                    <a:gd name="connsiteY17" fmla="*/ 51683 h 203668"/>
                                    <a:gd name="connsiteX18" fmla="*/ 67587 w 67587"/>
                                    <a:gd name="connsiteY18" fmla="*/ 0 h 20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587" h="203668">
                                      <a:moveTo>
                                        <a:pt x="67587" y="0"/>
                                      </a:moveTo>
                                      <a:lnTo>
                                        <a:pt x="67587" y="0"/>
                                      </a:lnTo>
                                      <a:cubicBezTo>
                                        <a:pt x="63611" y="10602"/>
                                        <a:pt x="60724" y="21678"/>
                                        <a:pt x="55660" y="31805"/>
                                      </a:cubicBezTo>
                                      <a:cubicBezTo>
                                        <a:pt x="53984" y="35158"/>
                                        <a:pt x="49384" y="36403"/>
                                        <a:pt x="47708" y="39756"/>
                                      </a:cubicBezTo>
                                      <a:cubicBezTo>
                                        <a:pt x="43960" y="47253"/>
                                        <a:pt x="44406" y="56636"/>
                                        <a:pt x="39757" y="63610"/>
                                      </a:cubicBezTo>
                                      <a:cubicBezTo>
                                        <a:pt x="37107" y="67586"/>
                                        <a:pt x="33747" y="71171"/>
                                        <a:pt x="31806" y="75537"/>
                                      </a:cubicBezTo>
                                      <a:cubicBezTo>
                                        <a:pt x="18899" y="104576"/>
                                        <a:pt x="33620" y="96136"/>
                                        <a:pt x="11927" y="103366"/>
                                      </a:cubicBezTo>
                                      <a:cubicBezTo>
                                        <a:pt x="2977" y="130221"/>
                                        <a:pt x="13308" y="97155"/>
                                        <a:pt x="3976" y="139147"/>
                                      </a:cubicBezTo>
                                      <a:cubicBezTo>
                                        <a:pt x="3067" y="143238"/>
                                        <a:pt x="1325" y="147098"/>
                                        <a:pt x="0" y="151074"/>
                                      </a:cubicBezTo>
                                      <a:cubicBezTo>
                                        <a:pt x="1325" y="168302"/>
                                        <a:pt x="-570" y="186088"/>
                                        <a:pt x="3976" y="202758"/>
                                      </a:cubicBezTo>
                                      <a:cubicBezTo>
                                        <a:pt x="4962" y="206374"/>
                                        <a:pt x="10535" y="198286"/>
                                        <a:pt x="11927" y="194806"/>
                                      </a:cubicBezTo>
                                      <a:cubicBezTo>
                                        <a:pt x="15986" y="184660"/>
                                        <a:pt x="17229" y="173603"/>
                                        <a:pt x="19879" y="163001"/>
                                      </a:cubicBezTo>
                                      <a:cubicBezTo>
                                        <a:pt x="21204" y="157700"/>
                                        <a:pt x="23176" y="152521"/>
                                        <a:pt x="23854" y="147099"/>
                                      </a:cubicBezTo>
                                      <a:cubicBezTo>
                                        <a:pt x="25179" y="136497"/>
                                        <a:pt x="24236" y="125355"/>
                                        <a:pt x="27830" y="115293"/>
                                      </a:cubicBezTo>
                                      <a:cubicBezTo>
                                        <a:pt x="31044" y="106294"/>
                                        <a:pt x="43733" y="91440"/>
                                        <a:pt x="43733" y="91440"/>
                                      </a:cubicBezTo>
                                      <a:cubicBezTo>
                                        <a:pt x="45058" y="87464"/>
                                        <a:pt x="46557" y="83542"/>
                                        <a:pt x="47708" y="79513"/>
                                      </a:cubicBezTo>
                                      <a:cubicBezTo>
                                        <a:pt x="49209" y="74259"/>
                                        <a:pt x="49532" y="68632"/>
                                        <a:pt x="51684" y="63610"/>
                                      </a:cubicBezTo>
                                      <a:cubicBezTo>
                                        <a:pt x="53566" y="59218"/>
                                        <a:pt x="57498" y="55957"/>
                                        <a:pt x="59635" y="51683"/>
                                      </a:cubicBezTo>
                                      <a:cubicBezTo>
                                        <a:pt x="65706" y="39540"/>
                                        <a:pt x="66262" y="8614"/>
                                        <a:pt x="6758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6" name="Freeform 165"/>
                                <p:cNvSpPr/>
                                <p:nvPr/>
                              </p:nvSpPr>
                              <p:spPr>
                                <a:xfrm>
                                  <a:off x="4082994" y="3140765"/>
                                  <a:ext cx="27946" cy="51684"/>
                                </a:xfrm>
                                <a:custGeom>
                                  <a:avLst/>
                                  <a:gdLst>
                                    <a:gd name="connsiteX0" fmla="*/ 3976 w 27946"/>
                                    <a:gd name="connsiteY0" fmla="*/ 0 h 51684"/>
                                    <a:gd name="connsiteX1" fmla="*/ 3976 w 27946"/>
                                    <a:gd name="connsiteY1" fmla="*/ 0 h 51684"/>
                                    <a:gd name="connsiteX2" fmla="*/ 23855 w 27946"/>
                                    <a:gd name="connsiteY2" fmla="*/ 27830 h 51684"/>
                                    <a:gd name="connsiteX3" fmla="*/ 27830 w 27946"/>
                                    <a:gd name="connsiteY3" fmla="*/ 39757 h 51684"/>
                                    <a:gd name="connsiteX4" fmla="*/ 19879 w 27946"/>
                                    <a:gd name="connsiteY4" fmla="*/ 51684 h 51684"/>
                                    <a:gd name="connsiteX5" fmla="*/ 7952 w 27946"/>
                                    <a:gd name="connsiteY5" fmla="*/ 47708 h 51684"/>
                                    <a:gd name="connsiteX6" fmla="*/ 3976 w 27946"/>
                                    <a:gd name="connsiteY6" fmla="*/ 23854 h 51684"/>
                                    <a:gd name="connsiteX7" fmla="*/ 3976 w 27946"/>
                                    <a:gd name="connsiteY7" fmla="*/ 0 h 5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6" h="51684">
                                      <a:moveTo>
                                        <a:pt x="3976" y="0"/>
                                      </a:moveTo>
                                      <a:lnTo>
                                        <a:pt x="3976" y="0"/>
                                      </a:lnTo>
                                      <a:cubicBezTo>
                                        <a:pt x="10602" y="9277"/>
                                        <a:pt x="17990" y="18054"/>
                                        <a:pt x="23855" y="27830"/>
                                      </a:cubicBezTo>
                                      <a:cubicBezTo>
                                        <a:pt x="26011" y="31423"/>
                                        <a:pt x="28519" y="35623"/>
                                        <a:pt x="27830" y="39757"/>
                                      </a:cubicBezTo>
                                      <a:cubicBezTo>
                                        <a:pt x="27044" y="44470"/>
                                        <a:pt x="22529" y="47708"/>
                                        <a:pt x="19879" y="51684"/>
                                      </a:cubicBezTo>
                                      <a:cubicBezTo>
                                        <a:pt x="15903" y="50359"/>
                                        <a:pt x="11224" y="50326"/>
                                        <a:pt x="7952" y="47708"/>
                                      </a:cubicBezTo>
                                      <a:cubicBezTo>
                                        <a:pt x="-2658" y="39220"/>
                                        <a:pt x="-1217" y="34240"/>
                                        <a:pt x="3976" y="23854"/>
                                      </a:cubicBezTo>
                                      <a:cubicBezTo>
                                        <a:pt x="4814" y="22178"/>
                                        <a:pt x="3976" y="3976"/>
                                        <a:pt x="3976"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sp>
                        <p:nvSpPr>
                          <p:cNvPr id="159" name="Freeform 158"/>
                          <p:cNvSpPr/>
                          <p:nvPr/>
                        </p:nvSpPr>
                        <p:spPr>
                          <a:xfrm>
                            <a:off x="4689043" y="468173"/>
                            <a:ext cx="899901" cy="1848345"/>
                          </a:xfrm>
                          <a:custGeom>
                            <a:avLst/>
                            <a:gdLst>
                              <a:gd name="connsiteX0" fmla="*/ 248717 w 899901"/>
                              <a:gd name="connsiteY0" fmla="*/ 771753 h 1848345"/>
                              <a:gd name="connsiteX1" fmla="*/ 248717 w 899901"/>
                              <a:gd name="connsiteY1" fmla="*/ 771753 h 1848345"/>
                              <a:gd name="connsiteX2" fmla="*/ 237744 w 899901"/>
                              <a:gd name="connsiteY2" fmla="*/ 742493 h 1848345"/>
                              <a:gd name="connsiteX3" fmla="*/ 230429 w 899901"/>
                              <a:gd name="connsiteY3" fmla="*/ 735177 h 1848345"/>
                              <a:gd name="connsiteX4" fmla="*/ 223114 w 899901"/>
                              <a:gd name="connsiteY4" fmla="*/ 724205 h 1848345"/>
                              <a:gd name="connsiteX5" fmla="*/ 223114 w 899901"/>
                              <a:gd name="connsiteY5" fmla="*/ 654710 h 1848345"/>
                              <a:gd name="connsiteX6" fmla="*/ 230429 w 899901"/>
                              <a:gd name="connsiteY6" fmla="*/ 632765 h 1848345"/>
                              <a:gd name="connsiteX7" fmla="*/ 234087 w 899901"/>
                              <a:gd name="connsiteY7" fmla="*/ 621792 h 1848345"/>
                              <a:gd name="connsiteX8" fmla="*/ 234087 w 899901"/>
                              <a:gd name="connsiteY8" fmla="*/ 607161 h 1848345"/>
                              <a:gd name="connsiteX9" fmla="*/ 237744 w 899901"/>
                              <a:gd name="connsiteY9" fmla="*/ 570585 h 1848345"/>
                              <a:gd name="connsiteX10" fmla="*/ 212141 w 899901"/>
                              <a:gd name="connsiteY10" fmla="*/ 548640 h 1848345"/>
                              <a:gd name="connsiteX11" fmla="*/ 208483 w 899901"/>
                              <a:gd name="connsiteY11" fmla="*/ 534009 h 1848345"/>
                              <a:gd name="connsiteX12" fmla="*/ 204826 w 899901"/>
                              <a:gd name="connsiteY12" fmla="*/ 523037 h 1848345"/>
                              <a:gd name="connsiteX13" fmla="*/ 201168 w 899901"/>
                              <a:gd name="connsiteY13" fmla="*/ 475488 h 1848345"/>
                              <a:gd name="connsiteX14" fmla="*/ 193853 w 899901"/>
                              <a:gd name="connsiteY14" fmla="*/ 464515 h 1848345"/>
                              <a:gd name="connsiteX15" fmla="*/ 190195 w 899901"/>
                              <a:gd name="connsiteY15" fmla="*/ 369417 h 1848345"/>
                              <a:gd name="connsiteX16" fmla="*/ 179223 w 899901"/>
                              <a:gd name="connsiteY16" fmla="*/ 362102 h 1848345"/>
                              <a:gd name="connsiteX17" fmla="*/ 149962 w 899901"/>
                              <a:gd name="connsiteY17" fmla="*/ 332841 h 1848345"/>
                              <a:gd name="connsiteX18" fmla="*/ 128016 w 899901"/>
                              <a:gd name="connsiteY18" fmla="*/ 318211 h 1848345"/>
                              <a:gd name="connsiteX19" fmla="*/ 120701 w 899901"/>
                              <a:gd name="connsiteY19" fmla="*/ 307238 h 1848345"/>
                              <a:gd name="connsiteX20" fmla="*/ 98755 w 899901"/>
                              <a:gd name="connsiteY20" fmla="*/ 299923 h 1848345"/>
                              <a:gd name="connsiteX21" fmla="*/ 73152 w 899901"/>
                              <a:gd name="connsiteY21" fmla="*/ 292608 h 1848345"/>
                              <a:gd name="connsiteX22" fmla="*/ 54864 w 899901"/>
                              <a:gd name="connsiteY22" fmla="*/ 274320 h 1848345"/>
                              <a:gd name="connsiteX23" fmla="*/ 36576 w 899901"/>
                              <a:gd name="connsiteY23" fmla="*/ 256032 h 1848345"/>
                              <a:gd name="connsiteX24" fmla="*/ 21946 w 899901"/>
                              <a:gd name="connsiteY24" fmla="*/ 241401 h 1848345"/>
                              <a:gd name="connsiteX25" fmla="*/ 14631 w 899901"/>
                              <a:gd name="connsiteY25" fmla="*/ 230429 h 1848345"/>
                              <a:gd name="connsiteX26" fmla="*/ 0 w 899901"/>
                              <a:gd name="connsiteY26" fmla="*/ 212141 h 1848345"/>
                              <a:gd name="connsiteX27" fmla="*/ 10973 w 899901"/>
                              <a:gd name="connsiteY27" fmla="*/ 201168 h 1848345"/>
                              <a:gd name="connsiteX28" fmla="*/ 25603 w 899901"/>
                              <a:gd name="connsiteY28" fmla="*/ 153619 h 1848345"/>
                              <a:gd name="connsiteX29" fmla="*/ 47549 w 899901"/>
                              <a:gd name="connsiteY29" fmla="*/ 179222 h 1848345"/>
                              <a:gd name="connsiteX30" fmla="*/ 58522 w 899901"/>
                              <a:gd name="connsiteY30" fmla="*/ 201168 h 1848345"/>
                              <a:gd name="connsiteX31" fmla="*/ 69495 w 899901"/>
                              <a:gd name="connsiteY31" fmla="*/ 204825 h 1848345"/>
                              <a:gd name="connsiteX32" fmla="*/ 76810 w 899901"/>
                              <a:gd name="connsiteY32" fmla="*/ 212141 h 1848345"/>
                              <a:gd name="connsiteX33" fmla="*/ 87783 w 899901"/>
                              <a:gd name="connsiteY33" fmla="*/ 215798 h 1848345"/>
                              <a:gd name="connsiteX34" fmla="*/ 91440 w 899901"/>
                              <a:gd name="connsiteY34" fmla="*/ 226771 h 1848345"/>
                              <a:gd name="connsiteX35" fmla="*/ 113386 w 899901"/>
                              <a:gd name="connsiteY35" fmla="*/ 237744 h 1848345"/>
                              <a:gd name="connsiteX36" fmla="*/ 120701 w 899901"/>
                              <a:gd name="connsiteY36" fmla="*/ 248717 h 1848345"/>
                              <a:gd name="connsiteX37" fmla="*/ 153619 w 899901"/>
                              <a:gd name="connsiteY37" fmla="*/ 267005 h 1848345"/>
                              <a:gd name="connsiteX38" fmla="*/ 164592 w 899901"/>
                              <a:gd name="connsiteY38" fmla="*/ 263347 h 1848345"/>
                              <a:gd name="connsiteX39" fmla="*/ 171907 w 899901"/>
                              <a:gd name="connsiteY39" fmla="*/ 252374 h 1848345"/>
                              <a:gd name="connsiteX40" fmla="*/ 193853 w 899901"/>
                              <a:gd name="connsiteY40" fmla="*/ 245059 h 1848345"/>
                              <a:gd name="connsiteX41" fmla="*/ 215799 w 899901"/>
                              <a:gd name="connsiteY41" fmla="*/ 252374 h 1848345"/>
                              <a:gd name="connsiteX42" fmla="*/ 223114 w 899901"/>
                              <a:gd name="connsiteY42" fmla="*/ 263347 h 1848345"/>
                              <a:gd name="connsiteX43" fmla="*/ 245059 w 899901"/>
                              <a:gd name="connsiteY43" fmla="*/ 270662 h 1848345"/>
                              <a:gd name="connsiteX44" fmla="*/ 263347 w 899901"/>
                              <a:gd name="connsiteY44" fmla="*/ 259689 h 1848345"/>
                              <a:gd name="connsiteX45" fmla="*/ 267005 w 899901"/>
                              <a:gd name="connsiteY45" fmla="*/ 248717 h 1848345"/>
                              <a:gd name="connsiteX46" fmla="*/ 277978 w 899901"/>
                              <a:gd name="connsiteY46" fmla="*/ 245059 h 1848345"/>
                              <a:gd name="connsiteX47" fmla="*/ 299923 w 899901"/>
                              <a:gd name="connsiteY47" fmla="*/ 230429 h 1848345"/>
                              <a:gd name="connsiteX48" fmla="*/ 310896 w 899901"/>
                              <a:gd name="connsiteY48" fmla="*/ 226771 h 1848345"/>
                              <a:gd name="connsiteX49" fmla="*/ 314554 w 899901"/>
                              <a:gd name="connsiteY49" fmla="*/ 223113 h 1848345"/>
                              <a:gd name="connsiteX50" fmla="*/ 314554 w 899901"/>
                              <a:gd name="connsiteY50" fmla="*/ 171907 h 1848345"/>
                              <a:gd name="connsiteX51" fmla="*/ 318211 w 899901"/>
                              <a:gd name="connsiteY51" fmla="*/ 131673 h 1848345"/>
                              <a:gd name="connsiteX52" fmla="*/ 325527 w 899901"/>
                              <a:gd name="connsiteY52" fmla="*/ 124358 h 1848345"/>
                              <a:gd name="connsiteX53" fmla="*/ 321869 w 899901"/>
                              <a:gd name="connsiteY53" fmla="*/ 87782 h 1848345"/>
                              <a:gd name="connsiteX54" fmla="*/ 325527 w 899901"/>
                              <a:gd name="connsiteY54" fmla="*/ 65837 h 1848345"/>
                              <a:gd name="connsiteX55" fmla="*/ 332842 w 899901"/>
                              <a:gd name="connsiteY55" fmla="*/ 54864 h 1848345"/>
                              <a:gd name="connsiteX56" fmla="*/ 340157 w 899901"/>
                              <a:gd name="connsiteY56" fmla="*/ 32918 h 1848345"/>
                              <a:gd name="connsiteX57" fmla="*/ 340157 w 899901"/>
                              <a:gd name="connsiteY57" fmla="*/ 32918 h 1848345"/>
                              <a:gd name="connsiteX58" fmla="*/ 351130 w 899901"/>
                              <a:gd name="connsiteY58" fmla="*/ 3657 h 1848345"/>
                              <a:gd name="connsiteX59" fmla="*/ 376733 w 899901"/>
                              <a:gd name="connsiteY59" fmla="*/ 7315 h 1848345"/>
                              <a:gd name="connsiteX60" fmla="*/ 387706 w 899901"/>
                              <a:gd name="connsiteY60" fmla="*/ 14630 h 1848345"/>
                              <a:gd name="connsiteX61" fmla="*/ 398679 w 899901"/>
                              <a:gd name="connsiteY61" fmla="*/ 18288 h 1848345"/>
                              <a:gd name="connsiteX62" fmla="*/ 409651 w 899901"/>
                              <a:gd name="connsiteY62" fmla="*/ 14630 h 1848345"/>
                              <a:gd name="connsiteX63" fmla="*/ 416967 w 899901"/>
                              <a:gd name="connsiteY63" fmla="*/ 7315 h 1848345"/>
                              <a:gd name="connsiteX64" fmla="*/ 427939 w 899901"/>
                              <a:gd name="connsiteY64" fmla="*/ 0 h 1848345"/>
                              <a:gd name="connsiteX65" fmla="*/ 453543 w 899901"/>
                              <a:gd name="connsiteY65" fmla="*/ 3657 h 1848345"/>
                              <a:gd name="connsiteX66" fmla="*/ 460858 w 899901"/>
                              <a:gd name="connsiteY66" fmla="*/ 10973 h 1848345"/>
                              <a:gd name="connsiteX67" fmla="*/ 482803 w 899901"/>
                              <a:gd name="connsiteY67" fmla="*/ 25603 h 1848345"/>
                              <a:gd name="connsiteX68" fmla="*/ 490119 w 899901"/>
                              <a:gd name="connsiteY68" fmla="*/ 32918 h 1848345"/>
                              <a:gd name="connsiteX69" fmla="*/ 512064 w 899901"/>
                              <a:gd name="connsiteY69" fmla="*/ 36576 h 1848345"/>
                              <a:gd name="connsiteX70" fmla="*/ 519379 w 899901"/>
                              <a:gd name="connsiteY70" fmla="*/ 47549 h 1848345"/>
                              <a:gd name="connsiteX71" fmla="*/ 530352 w 899901"/>
                              <a:gd name="connsiteY71" fmla="*/ 51206 h 1848345"/>
                              <a:gd name="connsiteX72" fmla="*/ 537667 w 899901"/>
                              <a:gd name="connsiteY72" fmla="*/ 73152 h 1848345"/>
                              <a:gd name="connsiteX73" fmla="*/ 541325 w 899901"/>
                              <a:gd name="connsiteY73" fmla="*/ 84125 h 1848345"/>
                              <a:gd name="connsiteX74" fmla="*/ 544983 w 899901"/>
                              <a:gd name="connsiteY74" fmla="*/ 120701 h 1848345"/>
                              <a:gd name="connsiteX75" fmla="*/ 534010 w 899901"/>
                              <a:gd name="connsiteY75" fmla="*/ 157277 h 1848345"/>
                              <a:gd name="connsiteX76" fmla="*/ 523037 w 899901"/>
                              <a:gd name="connsiteY76" fmla="*/ 186537 h 1848345"/>
                              <a:gd name="connsiteX77" fmla="*/ 526695 w 899901"/>
                              <a:gd name="connsiteY77" fmla="*/ 215798 h 1848345"/>
                              <a:gd name="connsiteX78" fmla="*/ 515722 w 899901"/>
                              <a:gd name="connsiteY78" fmla="*/ 237744 h 1848345"/>
                              <a:gd name="connsiteX79" fmla="*/ 519379 w 899901"/>
                              <a:gd name="connsiteY79" fmla="*/ 270662 h 1848345"/>
                              <a:gd name="connsiteX80" fmla="*/ 519379 w 899901"/>
                              <a:gd name="connsiteY80" fmla="*/ 270662 h 1848345"/>
                              <a:gd name="connsiteX81" fmla="*/ 537667 w 899901"/>
                              <a:gd name="connsiteY81" fmla="*/ 296265 h 1848345"/>
                              <a:gd name="connsiteX82" fmla="*/ 541325 w 899901"/>
                              <a:gd name="connsiteY82" fmla="*/ 307238 h 1848345"/>
                              <a:gd name="connsiteX83" fmla="*/ 563271 w 899901"/>
                              <a:gd name="connsiteY83" fmla="*/ 321869 h 1848345"/>
                              <a:gd name="connsiteX84" fmla="*/ 574243 w 899901"/>
                              <a:gd name="connsiteY84" fmla="*/ 329184 h 1848345"/>
                              <a:gd name="connsiteX85" fmla="*/ 592531 w 899901"/>
                              <a:gd name="connsiteY85" fmla="*/ 347472 h 1848345"/>
                              <a:gd name="connsiteX86" fmla="*/ 599847 w 899901"/>
                              <a:gd name="connsiteY86" fmla="*/ 354787 h 1848345"/>
                              <a:gd name="connsiteX87" fmla="*/ 610819 w 899901"/>
                              <a:gd name="connsiteY87" fmla="*/ 362102 h 1848345"/>
                              <a:gd name="connsiteX88" fmla="*/ 625450 w 899901"/>
                              <a:gd name="connsiteY88" fmla="*/ 380390 h 1848345"/>
                              <a:gd name="connsiteX89" fmla="*/ 629107 w 899901"/>
                              <a:gd name="connsiteY89" fmla="*/ 391363 h 1848345"/>
                              <a:gd name="connsiteX90" fmla="*/ 625450 w 899901"/>
                              <a:gd name="connsiteY90" fmla="*/ 438912 h 1848345"/>
                              <a:gd name="connsiteX91" fmla="*/ 618135 w 899901"/>
                              <a:gd name="connsiteY91" fmla="*/ 460857 h 1848345"/>
                              <a:gd name="connsiteX92" fmla="*/ 614477 w 899901"/>
                              <a:gd name="connsiteY92" fmla="*/ 471830 h 1848345"/>
                              <a:gd name="connsiteX93" fmla="*/ 607162 w 899901"/>
                              <a:gd name="connsiteY93" fmla="*/ 482803 h 1848345"/>
                              <a:gd name="connsiteX94" fmla="*/ 599847 w 899901"/>
                              <a:gd name="connsiteY94" fmla="*/ 512064 h 1848345"/>
                              <a:gd name="connsiteX95" fmla="*/ 596189 w 899901"/>
                              <a:gd name="connsiteY95" fmla="*/ 526694 h 1848345"/>
                              <a:gd name="connsiteX96" fmla="*/ 607162 w 899901"/>
                              <a:gd name="connsiteY96" fmla="*/ 588873 h 1848345"/>
                              <a:gd name="connsiteX97" fmla="*/ 614477 w 899901"/>
                              <a:gd name="connsiteY97" fmla="*/ 596189 h 1848345"/>
                              <a:gd name="connsiteX98" fmla="*/ 636423 w 899901"/>
                              <a:gd name="connsiteY98" fmla="*/ 610819 h 1848345"/>
                              <a:gd name="connsiteX99" fmla="*/ 651053 w 899901"/>
                              <a:gd name="connsiteY99" fmla="*/ 632765 h 1848345"/>
                              <a:gd name="connsiteX100" fmla="*/ 658368 w 899901"/>
                              <a:gd name="connsiteY100" fmla="*/ 643737 h 1848345"/>
                              <a:gd name="connsiteX101" fmla="*/ 665683 w 899901"/>
                              <a:gd name="connsiteY101" fmla="*/ 651053 h 1848345"/>
                              <a:gd name="connsiteX102" fmla="*/ 683971 w 899901"/>
                              <a:gd name="connsiteY102" fmla="*/ 705917 h 1848345"/>
                              <a:gd name="connsiteX103" fmla="*/ 691287 w 899901"/>
                              <a:gd name="connsiteY103" fmla="*/ 727862 h 1848345"/>
                              <a:gd name="connsiteX104" fmla="*/ 694944 w 899901"/>
                              <a:gd name="connsiteY104" fmla="*/ 738835 h 1848345"/>
                              <a:gd name="connsiteX105" fmla="*/ 691287 w 899901"/>
                              <a:gd name="connsiteY105" fmla="*/ 760781 h 1848345"/>
                              <a:gd name="connsiteX106" fmla="*/ 683971 w 899901"/>
                              <a:gd name="connsiteY106" fmla="*/ 768096 h 1848345"/>
                              <a:gd name="connsiteX107" fmla="*/ 676656 w 899901"/>
                              <a:gd name="connsiteY107" fmla="*/ 779069 h 1848345"/>
                              <a:gd name="connsiteX108" fmla="*/ 676656 w 899901"/>
                              <a:gd name="connsiteY108" fmla="*/ 841248 h 1848345"/>
                              <a:gd name="connsiteX109" fmla="*/ 683971 w 899901"/>
                              <a:gd name="connsiteY109" fmla="*/ 852221 h 1848345"/>
                              <a:gd name="connsiteX110" fmla="*/ 687629 w 899901"/>
                              <a:gd name="connsiteY110" fmla="*/ 863193 h 1848345"/>
                              <a:gd name="connsiteX111" fmla="*/ 683971 w 899901"/>
                              <a:gd name="connsiteY111" fmla="*/ 877824 h 1848345"/>
                              <a:gd name="connsiteX112" fmla="*/ 687629 w 899901"/>
                              <a:gd name="connsiteY112" fmla="*/ 896112 h 1848345"/>
                              <a:gd name="connsiteX113" fmla="*/ 709575 w 899901"/>
                              <a:gd name="connsiteY113" fmla="*/ 907085 h 1848345"/>
                              <a:gd name="connsiteX114" fmla="*/ 720547 w 899901"/>
                              <a:gd name="connsiteY114" fmla="*/ 929030 h 1848345"/>
                              <a:gd name="connsiteX115" fmla="*/ 724205 w 899901"/>
                              <a:gd name="connsiteY115" fmla="*/ 965606 h 1848345"/>
                              <a:gd name="connsiteX116" fmla="*/ 735178 w 899901"/>
                              <a:gd name="connsiteY116" fmla="*/ 983894 h 1848345"/>
                              <a:gd name="connsiteX117" fmla="*/ 753466 w 899901"/>
                              <a:gd name="connsiteY117" fmla="*/ 998525 h 1848345"/>
                              <a:gd name="connsiteX118" fmla="*/ 779069 w 899901"/>
                              <a:gd name="connsiteY118" fmla="*/ 1016813 h 1848345"/>
                              <a:gd name="connsiteX119" fmla="*/ 768096 w 899901"/>
                              <a:gd name="connsiteY119" fmla="*/ 1053389 h 1848345"/>
                              <a:gd name="connsiteX120" fmla="*/ 753466 w 899901"/>
                              <a:gd name="connsiteY120" fmla="*/ 1071677 h 1848345"/>
                              <a:gd name="connsiteX121" fmla="*/ 757123 w 899901"/>
                              <a:gd name="connsiteY121" fmla="*/ 1119225 h 1848345"/>
                              <a:gd name="connsiteX122" fmla="*/ 764439 w 899901"/>
                              <a:gd name="connsiteY122" fmla="*/ 1126541 h 1848345"/>
                              <a:gd name="connsiteX123" fmla="*/ 786384 w 899901"/>
                              <a:gd name="connsiteY123" fmla="*/ 1133856 h 1848345"/>
                              <a:gd name="connsiteX124" fmla="*/ 808330 w 899901"/>
                              <a:gd name="connsiteY124" fmla="*/ 1144829 h 1848345"/>
                              <a:gd name="connsiteX125" fmla="*/ 819303 w 899901"/>
                              <a:gd name="connsiteY125" fmla="*/ 1155801 h 1848345"/>
                              <a:gd name="connsiteX126" fmla="*/ 830275 w 899901"/>
                              <a:gd name="connsiteY126" fmla="*/ 1159459 h 1848345"/>
                              <a:gd name="connsiteX127" fmla="*/ 837591 w 899901"/>
                              <a:gd name="connsiteY127" fmla="*/ 1166774 h 1848345"/>
                              <a:gd name="connsiteX128" fmla="*/ 855879 w 899901"/>
                              <a:gd name="connsiteY128" fmla="*/ 1181405 h 1848345"/>
                              <a:gd name="connsiteX129" fmla="*/ 877824 w 899901"/>
                              <a:gd name="connsiteY129" fmla="*/ 1214323 h 1848345"/>
                              <a:gd name="connsiteX130" fmla="*/ 885139 w 899901"/>
                              <a:gd name="connsiteY130" fmla="*/ 1225296 h 1848345"/>
                              <a:gd name="connsiteX131" fmla="*/ 892455 w 899901"/>
                              <a:gd name="connsiteY131" fmla="*/ 1232611 h 1848345"/>
                              <a:gd name="connsiteX132" fmla="*/ 899770 w 899901"/>
                              <a:gd name="connsiteY132" fmla="*/ 1254557 h 1848345"/>
                              <a:gd name="connsiteX133" fmla="*/ 896112 w 899901"/>
                              <a:gd name="connsiteY133" fmla="*/ 1280160 h 1848345"/>
                              <a:gd name="connsiteX134" fmla="*/ 888797 w 899901"/>
                              <a:gd name="connsiteY134" fmla="*/ 1291133 h 1848345"/>
                              <a:gd name="connsiteX135" fmla="*/ 881482 w 899901"/>
                              <a:gd name="connsiteY135" fmla="*/ 1313078 h 1848345"/>
                              <a:gd name="connsiteX136" fmla="*/ 874167 w 899901"/>
                              <a:gd name="connsiteY136" fmla="*/ 1324051 h 1848345"/>
                              <a:gd name="connsiteX137" fmla="*/ 866851 w 899901"/>
                              <a:gd name="connsiteY137" fmla="*/ 1345997 h 1848345"/>
                              <a:gd name="connsiteX138" fmla="*/ 859536 w 899901"/>
                              <a:gd name="connsiteY138" fmla="*/ 1367942 h 1848345"/>
                              <a:gd name="connsiteX139" fmla="*/ 855879 w 899901"/>
                              <a:gd name="connsiteY139" fmla="*/ 1378915 h 1848345"/>
                              <a:gd name="connsiteX140" fmla="*/ 837591 w 899901"/>
                              <a:gd name="connsiteY140" fmla="*/ 1393545 h 1848345"/>
                              <a:gd name="connsiteX141" fmla="*/ 822960 w 899901"/>
                              <a:gd name="connsiteY141" fmla="*/ 1426464 h 1848345"/>
                              <a:gd name="connsiteX142" fmla="*/ 811987 w 899901"/>
                              <a:gd name="connsiteY142" fmla="*/ 1459382 h 1848345"/>
                              <a:gd name="connsiteX143" fmla="*/ 808330 w 899901"/>
                              <a:gd name="connsiteY143" fmla="*/ 1470355 h 1848345"/>
                              <a:gd name="connsiteX144" fmla="*/ 793699 w 899901"/>
                              <a:gd name="connsiteY144" fmla="*/ 1488643 h 1848345"/>
                              <a:gd name="connsiteX145" fmla="*/ 790042 w 899901"/>
                              <a:gd name="connsiteY145" fmla="*/ 1499616 h 1848345"/>
                              <a:gd name="connsiteX146" fmla="*/ 779069 w 899901"/>
                              <a:gd name="connsiteY146" fmla="*/ 1506931 h 1848345"/>
                              <a:gd name="connsiteX147" fmla="*/ 771754 w 899901"/>
                              <a:gd name="connsiteY147" fmla="*/ 1528877 h 1848345"/>
                              <a:gd name="connsiteX148" fmla="*/ 757123 w 899901"/>
                              <a:gd name="connsiteY148" fmla="*/ 1550822 h 1848345"/>
                              <a:gd name="connsiteX149" fmla="*/ 746151 w 899901"/>
                              <a:gd name="connsiteY149" fmla="*/ 1572768 h 1848345"/>
                              <a:gd name="connsiteX150" fmla="*/ 738835 w 899901"/>
                              <a:gd name="connsiteY150" fmla="*/ 1580083 h 1848345"/>
                              <a:gd name="connsiteX151" fmla="*/ 727863 w 899901"/>
                              <a:gd name="connsiteY151" fmla="*/ 1583741 h 1848345"/>
                              <a:gd name="connsiteX152" fmla="*/ 720547 w 899901"/>
                              <a:gd name="connsiteY152" fmla="*/ 1591056 h 1848345"/>
                              <a:gd name="connsiteX153" fmla="*/ 713232 w 899901"/>
                              <a:gd name="connsiteY153" fmla="*/ 1602029 h 1848345"/>
                              <a:gd name="connsiteX154" fmla="*/ 702259 w 899901"/>
                              <a:gd name="connsiteY154" fmla="*/ 1605686 h 1848345"/>
                              <a:gd name="connsiteX155" fmla="*/ 698602 w 899901"/>
                              <a:gd name="connsiteY155" fmla="*/ 1616659 h 1848345"/>
                              <a:gd name="connsiteX156" fmla="*/ 676656 w 899901"/>
                              <a:gd name="connsiteY156" fmla="*/ 1631289 h 1848345"/>
                              <a:gd name="connsiteX157" fmla="*/ 669341 w 899901"/>
                              <a:gd name="connsiteY157" fmla="*/ 1638605 h 1848345"/>
                              <a:gd name="connsiteX158" fmla="*/ 654711 w 899901"/>
                              <a:gd name="connsiteY158" fmla="*/ 1656893 h 1848345"/>
                              <a:gd name="connsiteX159" fmla="*/ 651053 w 899901"/>
                              <a:gd name="connsiteY159" fmla="*/ 1667865 h 1848345"/>
                              <a:gd name="connsiteX160" fmla="*/ 647395 w 899901"/>
                              <a:gd name="connsiteY160" fmla="*/ 1686153 h 1848345"/>
                              <a:gd name="connsiteX161" fmla="*/ 640080 w 899901"/>
                              <a:gd name="connsiteY161" fmla="*/ 1693469 h 1848345"/>
                              <a:gd name="connsiteX162" fmla="*/ 618135 w 899901"/>
                              <a:gd name="connsiteY162" fmla="*/ 1715414 h 1848345"/>
                              <a:gd name="connsiteX163" fmla="*/ 588874 w 899901"/>
                              <a:gd name="connsiteY163" fmla="*/ 1704441 h 1848345"/>
                              <a:gd name="connsiteX164" fmla="*/ 577901 w 899901"/>
                              <a:gd name="connsiteY164" fmla="*/ 1697126 h 1848345"/>
                              <a:gd name="connsiteX165" fmla="*/ 566928 w 899901"/>
                              <a:gd name="connsiteY165" fmla="*/ 1700784 h 1848345"/>
                              <a:gd name="connsiteX166" fmla="*/ 555955 w 899901"/>
                              <a:gd name="connsiteY166" fmla="*/ 1719072 h 1848345"/>
                              <a:gd name="connsiteX167" fmla="*/ 544983 w 899901"/>
                              <a:gd name="connsiteY167" fmla="*/ 1715414 h 1848345"/>
                              <a:gd name="connsiteX168" fmla="*/ 541325 w 899901"/>
                              <a:gd name="connsiteY168" fmla="*/ 1700784 h 1848345"/>
                              <a:gd name="connsiteX169" fmla="*/ 523037 w 899901"/>
                              <a:gd name="connsiteY169" fmla="*/ 1711757 h 1848345"/>
                              <a:gd name="connsiteX170" fmla="*/ 519379 w 899901"/>
                              <a:gd name="connsiteY170" fmla="*/ 1722729 h 1848345"/>
                              <a:gd name="connsiteX171" fmla="*/ 501091 w 899901"/>
                              <a:gd name="connsiteY171" fmla="*/ 1733702 h 1848345"/>
                              <a:gd name="connsiteX172" fmla="*/ 486461 w 899901"/>
                              <a:gd name="connsiteY172" fmla="*/ 1737360 h 1848345"/>
                              <a:gd name="connsiteX173" fmla="*/ 479146 w 899901"/>
                              <a:gd name="connsiteY173" fmla="*/ 1748333 h 1848345"/>
                              <a:gd name="connsiteX174" fmla="*/ 453543 w 899901"/>
                              <a:gd name="connsiteY174" fmla="*/ 1755648 h 1848345"/>
                              <a:gd name="connsiteX175" fmla="*/ 446227 w 899901"/>
                              <a:gd name="connsiteY175" fmla="*/ 1762963 h 1848345"/>
                              <a:gd name="connsiteX176" fmla="*/ 438912 w 899901"/>
                              <a:gd name="connsiteY176" fmla="*/ 1773936 h 1848345"/>
                              <a:gd name="connsiteX177" fmla="*/ 416967 w 899901"/>
                              <a:gd name="connsiteY177" fmla="*/ 1781251 h 1848345"/>
                              <a:gd name="connsiteX178" fmla="*/ 395021 w 899901"/>
                              <a:gd name="connsiteY178" fmla="*/ 1788566 h 1848345"/>
                              <a:gd name="connsiteX179" fmla="*/ 380391 w 899901"/>
                              <a:gd name="connsiteY179" fmla="*/ 1792224 h 1848345"/>
                              <a:gd name="connsiteX180" fmla="*/ 358445 w 899901"/>
                              <a:gd name="connsiteY180" fmla="*/ 1799539 h 1848345"/>
                              <a:gd name="connsiteX181" fmla="*/ 299923 w 899901"/>
                              <a:gd name="connsiteY181" fmla="*/ 1814169 h 1848345"/>
                              <a:gd name="connsiteX182" fmla="*/ 292608 w 899901"/>
                              <a:gd name="connsiteY182" fmla="*/ 1821485 h 1848345"/>
                              <a:gd name="connsiteX183" fmla="*/ 241402 w 899901"/>
                              <a:gd name="connsiteY183" fmla="*/ 1832457 h 1848345"/>
                              <a:gd name="connsiteX184" fmla="*/ 226771 w 899901"/>
                              <a:gd name="connsiteY184" fmla="*/ 1847088 h 1848345"/>
                              <a:gd name="connsiteX185" fmla="*/ 234087 w 899901"/>
                              <a:gd name="connsiteY185" fmla="*/ 1836115 h 1848345"/>
                              <a:gd name="connsiteX186" fmla="*/ 230429 w 899901"/>
                              <a:gd name="connsiteY186" fmla="*/ 1832457 h 1848345"/>
                              <a:gd name="connsiteX187" fmla="*/ 212141 w 899901"/>
                              <a:gd name="connsiteY187" fmla="*/ 1806854 h 1848345"/>
                              <a:gd name="connsiteX188" fmla="*/ 186538 w 899901"/>
                              <a:gd name="connsiteY188" fmla="*/ 1784909 h 1848345"/>
                              <a:gd name="connsiteX189" fmla="*/ 164592 w 899901"/>
                              <a:gd name="connsiteY189" fmla="*/ 1781251 h 1848345"/>
                              <a:gd name="connsiteX190" fmla="*/ 157277 w 899901"/>
                              <a:gd name="connsiteY190" fmla="*/ 1770278 h 1848345"/>
                              <a:gd name="connsiteX191" fmla="*/ 146304 w 899901"/>
                              <a:gd name="connsiteY191" fmla="*/ 1766621 h 1848345"/>
                              <a:gd name="connsiteX192" fmla="*/ 138989 w 899901"/>
                              <a:gd name="connsiteY192" fmla="*/ 1759305 h 1848345"/>
                              <a:gd name="connsiteX193" fmla="*/ 124359 w 899901"/>
                              <a:gd name="connsiteY193" fmla="*/ 1741017 h 1848345"/>
                              <a:gd name="connsiteX194" fmla="*/ 73152 w 899901"/>
                              <a:gd name="connsiteY194" fmla="*/ 1730045 h 1848345"/>
                              <a:gd name="connsiteX195" fmla="*/ 69495 w 899901"/>
                              <a:gd name="connsiteY195" fmla="*/ 1719072 h 1848345"/>
                              <a:gd name="connsiteX196" fmla="*/ 62179 w 899901"/>
                              <a:gd name="connsiteY196" fmla="*/ 1711757 h 1848345"/>
                              <a:gd name="connsiteX197" fmla="*/ 58522 w 899901"/>
                              <a:gd name="connsiteY197" fmla="*/ 1697126 h 1848345"/>
                              <a:gd name="connsiteX198" fmla="*/ 62179 w 899901"/>
                              <a:gd name="connsiteY198" fmla="*/ 1623974 h 1848345"/>
                              <a:gd name="connsiteX199" fmla="*/ 65837 w 899901"/>
                              <a:gd name="connsiteY199" fmla="*/ 1598371 h 1848345"/>
                              <a:gd name="connsiteX200" fmla="*/ 73152 w 899901"/>
                              <a:gd name="connsiteY200" fmla="*/ 1587398 h 1848345"/>
                              <a:gd name="connsiteX201" fmla="*/ 76810 w 899901"/>
                              <a:gd name="connsiteY201" fmla="*/ 1543507 h 1848345"/>
                              <a:gd name="connsiteX202" fmla="*/ 80467 w 899901"/>
                              <a:gd name="connsiteY202" fmla="*/ 1532534 h 1848345"/>
                              <a:gd name="connsiteX203" fmla="*/ 69495 w 899901"/>
                              <a:gd name="connsiteY203" fmla="*/ 1506931 h 1848345"/>
                              <a:gd name="connsiteX204" fmla="*/ 62179 w 899901"/>
                              <a:gd name="connsiteY204" fmla="*/ 1484985 h 1848345"/>
                              <a:gd name="connsiteX205" fmla="*/ 58522 w 899901"/>
                              <a:gd name="connsiteY205" fmla="*/ 1474013 h 1848345"/>
                              <a:gd name="connsiteX206" fmla="*/ 51207 w 899901"/>
                              <a:gd name="connsiteY206" fmla="*/ 1466697 h 1848345"/>
                              <a:gd name="connsiteX207" fmla="*/ 47549 w 899901"/>
                              <a:gd name="connsiteY207" fmla="*/ 1415491 h 1848345"/>
                              <a:gd name="connsiteX208" fmla="*/ 36576 w 899901"/>
                              <a:gd name="connsiteY208" fmla="*/ 1378915 h 1848345"/>
                              <a:gd name="connsiteX209" fmla="*/ 32919 w 899901"/>
                              <a:gd name="connsiteY209" fmla="*/ 1367942 h 1848345"/>
                              <a:gd name="connsiteX210" fmla="*/ 36576 w 899901"/>
                              <a:gd name="connsiteY210" fmla="*/ 1335024 h 1848345"/>
                              <a:gd name="connsiteX211" fmla="*/ 47549 w 899901"/>
                              <a:gd name="connsiteY211" fmla="*/ 1313078 h 1848345"/>
                              <a:gd name="connsiteX212" fmla="*/ 62179 w 899901"/>
                              <a:gd name="connsiteY212" fmla="*/ 1305763 h 1848345"/>
                              <a:gd name="connsiteX213" fmla="*/ 58522 w 899901"/>
                              <a:gd name="connsiteY213" fmla="*/ 1272845 h 1848345"/>
                              <a:gd name="connsiteX214" fmla="*/ 65837 w 899901"/>
                              <a:gd name="connsiteY214" fmla="*/ 1265529 h 1848345"/>
                              <a:gd name="connsiteX215" fmla="*/ 87783 w 899901"/>
                              <a:gd name="connsiteY215" fmla="*/ 1258214 h 1848345"/>
                              <a:gd name="connsiteX216" fmla="*/ 120701 w 899901"/>
                              <a:gd name="connsiteY216" fmla="*/ 1258214 h 1848345"/>
                              <a:gd name="connsiteX217" fmla="*/ 124359 w 899901"/>
                              <a:gd name="connsiteY217" fmla="*/ 1243584 h 1848345"/>
                              <a:gd name="connsiteX218" fmla="*/ 128016 w 899901"/>
                              <a:gd name="connsiteY218" fmla="*/ 1221638 h 1848345"/>
                              <a:gd name="connsiteX219" fmla="*/ 128016 w 899901"/>
                              <a:gd name="connsiteY219" fmla="*/ 1214323 h 1848345"/>
                              <a:gd name="connsiteX220" fmla="*/ 149962 w 899901"/>
                              <a:gd name="connsiteY220" fmla="*/ 1174089 h 1848345"/>
                              <a:gd name="connsiteX221" fmla="*/ 160935 w 899901"/>
                              <a:gd name="connsiteY221" fmla="*/ 1166774 h 1848345"/>
                              <a:gd name="connsiteX222" fmla="*/ 171907 w 899901"/>
                              <a:gd name="connsiteY222" fmla="*/ 1133856 h 1848345"/>
                              <a:gd name="connsiteX223" fmla="*/ 190195 w 899901"/>
                              <a:gd name="connsiteY223" fmla="*/ 1122883 h 1848345"/>
                              <a:gd name="connsiteX224" fmla="*/ 204826 w 899901"/>
                              <a:gd name="connsiteY224" fmla="*/ 1100937 h 1848345"/>
                              <a:gd name="connsiteX225" fmla="*/ 212141 w 899901"/>
                              <a:gd name="connsiteY225" fmla="*/ 1089965 h 1848345"/>
                              <a:gd name="connsiteX226" fmla="*/ 219456 w 899901"/>
                              <a:gd name="connsiteY226" fmla="*/ 1082649 h 1848345"/>
                              <a:gd name="connsiteX227" fmla="*/ 223114 w 899901"/>
                              <a:gd name="connsiteY227" fmla="*/ 1071677 h 1848345"/>
                              <a:gd name="connsiteX228" fmla="*/ 241402 w 899901"/>
                              <a:gd name="connsiteY228" fmla="*/ 1057046 h 1848345"/>
                              <a:gd name="connsiteX229" fmla="*/ 248717 w 899901"/>
                              <a:gd name="connsiteY229" fmla="*/ 1046073 h 1848345"/>
                              <a:gd name="connsiteX230" fmla="*/ 252375 w 899901"/>
                              <a:gd name="connsiteY230" fmla="*/ 1035101 h 1848345"/>
                              <a:gd name="connsiteX231" fmla="*/ 259690 w 899901"/>
                              <a:gd name="connsiteY231" fmla="*/ 1027785 h 1848345"/>
                              <a:gd name="connsiteX232" fmla="*/ 267005 w 899901"/>
                              <a:gd name="connsiteY232" fmla="*/ 1016813 h 1848345"/>
                              <a:gd name="connsiteX233" fmla="*/ 277978 w 899901"/>
                              <a:gd name="connsiteY233" fmla="*/ 1013155 h 1848345"/>
                              <a:gd name="connsiteX234" fmla="*/ 285293 w 899901"/>
                              <a:gd name="connsiteY234" fmla="*/ 991209 h 1848345"/>
                              <a:gd name="connsiteX235" fmla="*/ 288951 w 899901"/>
                              <a:gd name="connsiteY235" fmla="*/ 980237 h 1848345"/>
                              <a:gd name="connsiteX236" fmla="*/ 307239 w 899901"/>
                              <a:gd name="connsiteY236" fmla="*/ 965606 h 1848345"/>
                              <a:gd name="connsiteX237" fmla="*/ 336499 w 899901"/>
                              <a:gd name="connsiteY237" fmla="*/ 940003 h 1848345"/>
                              <a:gd name="connsiteX238" fmla="*/ 358445 w 899901"/>
                              <a:gd name="connsiteY238" fmla="*/ 929030 h 1848345"/>
                              <a:gd name="connsiteX239" fmla="*/ 351130 w 899901"/>
                              <a:gd name="connsiteY239" fmla="*/ 892454 h 1848345"/>
                              <a:gd name="connsiteX240" fmla="*/ 351130 w 899901"/>
                              <a:gd name="connsiteY240" fmla="*/ 885139 h 1848345"/>
                              <a:gd name="connsiteX241" fmla="*/ 343815 w 899901"/>
                              <a:gd name="connsiteY241" fmla="*/ 852221 h 1848345"/>
                              <a:gd name="connsiteX242" fmla="*/ 340157 w 899901"/>
                              <a:gd name="connsiteY242" fmla="*/ 815645 h 1848345"/>
                              <a:gd name="connsiteX243" fmla="*/ 329184 w 899901"/>
                              <a:gd name="connsiteY243" fmla="*/ 811987 h 1848345"/>
                              <a:gd name="connsiteX244" fmla="*/ 318211 w 899901"/>
                              <a:gd name="connsiteY244" fmla="*/ 804672 h 1848345"/>
                              <a:gd name="connsiteX245" fmla="*/ 288951 w 899901"/>
                              <a:gd name="connsiteY245" fmla="*/ 797357 h 1848345"/>
                              <a:gd name="connsiteX246" fmla="*/ 285293 w 899901"/>
                              <a:gd name="connsiteY246" fmla="*/ 786384 h 1848345"/>
                              <a:gd name="connsiteX247" fmla="*/ 281635 w 899901"/>
                              <a:gd name="connsiteY247" fmla="*/ 771753 h 1848345"/>
                              <a:gd name="connsiteX248" fmla="*/ 259690 w 899901"/>
                              <a:gd name="connsiteY248" fmla="*/ 764438 h 1848345"/>
                              <a:gd name="connsiteX249" fmla="*/ 248717 w 899901"/>
                              <a:gd name="connsiteY249" fmla="*/ 771753 h 184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899901" h="1848345">
                                <a:moveTo>
                                  <a:pt x="248717" y="771753"/>
                                </a:moveTo>
                                <a:lnTo>
                                  <a:pt x="248717" y="771753"/>
                                </a:lnTo>
                                <a:cubicBezTo>
                                  <a:pt x="245059" y="762000"/>
                                  <a:pt x="242402" y="751810"/>
                                  <a:pt x="237744" y="742493"/>
                                </a:cubicBezTo>
                                <a:cubicBezTo>
                                  <a:pt x="236202" y="739409"/>
                                  <a:pt x="232583" y="737870"/>
                                  <a:pt x="230429" y="735177"/>
                                </a:cubicBezTo>
                                <a:cubicBezTo>
                                  <a:pt x="227683" y="731745"/>
                                  <a:pt x="225552" y="727862"/>
                                  <a:pt x="223114" y="724205"/>
                                </a:cubicBezTo>
                                <a:cubicBezTo>
                                  <a:pt x="219498" y="691664"/>
                                  <a:pt x="216809" y="688337"/>
                                  <a:pt x="223114" y="654710"/>
                                </a:cubicBezTo>
                                <a:cubicBezTo>
                                  <a:pt x="224535" y="647131"/>
                                  <a:pt x="227991" y="640080"/>
                                  <a:pt x="230429" y="632765"/>
                                </a:cubicBezTo>
                                <a:cubicBezTo>
                                  <a:pt x="231648" y="629107"/>
                                  <a:pt x="234087" y="625648"/>
                                  <a:pt x="234087" y="621792"/>
                                </a:cubicBezTo>
                                <a:lnTo>
                                  <a:pt x="234087" y="607161"/>
                                </a:lnTo>
                                <a:lnTo>
                                  <a:pt x="237744" y="570585"/>
                                </a:lnTo>
                                <a:cubicBezTo>
                                  <a:pt x="229210" y="563270"/>
                                  <a:pt x="219163" y="557417"/>
                                  <a:pt x="212141" y="548640"/>
                                </a:cubicBezTo>
                                <a:cubicBezTo>
                                  <a:pt x="209001" y="544714"/>
                                  <a:pt x="209864" y="538843"/>
                                  <a:pt x="208483" y="534009"/>
                                </a:cubicBezTo>
                                <a:cubicBezTo>
                                  <a:pt x="207424" y="530302"/>
                                  <a:pt x="206045" y="526694"/>
                                  <a:pt x="204826" y="523037"/>
                                </a:cubicBezTo>
                                <a:cubicBezTo>
                                  <a:pt x="203607" y="507187"/>
                                  <a:pt x="204098" y="491112"/>
                                  <a:pt x="201168" y="475488"/>
                                </a:cubicBezTo>
                                <a:cubicBezTo>
                                  <a:pt x="200358" y="471167"/>
                                  <a:pt x="194377" y="468880"/>
                                  <a:pt x="193853" y="464515"/>
                                </a:cubicBezTo>
                                <a:cubicBezTo>
                                  <a:pt x="189974" y="432187"/>
                                  <a:pt x="190195" y="401269"/>
                                  <a:pt x="190195" y="369417"/>
                                </a:cubicBezTo>
                                <a:lnTo>
                                  <a:pt x="179223" y="362102"/>
                                </a:lnTo>
                                <a:cubicBezTo>
                                  <a:pt x="143719" y="312397"/>
                                  <a:pt x="176390" y="347523"/>
                                  <a:pt x="149962" y="332841"/>
                                </a:cubicBezTo>
                                <a:cubicBezTo>
                                  <a:pt x="142277" y="328571"/>
                                  <a:pt x="128016" y="318211"/>
                                  <a:pt x="128016" y="318211"/>
                                </a:cubicBezTo>
                                <a:cubicBezTo>
                                  <a:pt x="125578" y="314553"/>
                                  <a:pt x="124429" y="309568"/>
                                  <a:pt x="120701" y="307238"/>
                                </a:cubicBezTo>
                                <a:cubicBezTo>
                                  <a:pt x="114162" y="303151"/>
                                  <a:pt x="106236" y="301793"/>
                                  <a:pt x="98755" y="299923"/>
                                </a:cubicBezTo>
                                <a:cubicBezTo>
                                  <a:pt x="80385" y="295330"/>
                                  <a:pt x="88894" y="297854"/>
                                  <a:pt x="73152" y="292608"/>
                                </a:cubicBezTo>
                                <a:cubicBezTo>
                                  <a:pt x="53645" y="263347"/>
                                  <a:pt x="79248" y="298704"/>
                                  <a:pt x="54864" y="274320"/>
                                </a:cubicBezTo>
                                <a:cubicBezTo>
                                  <a:pt x="30480" y="249936"/>
                                  <a:pt x="65837" y="275539"/>
                                  <a:pt x="36576" y="256032"/>
                                </a:cubicBezTo>
                                <a:cubicBezTo>
                                  <a:pt x="28598" y="232093"/>
                                  <a:pt x="39679" y="255587"/>
                                  <a:pt x="21946" y="241401"/>
                                </a:cubicBezTo>
                                <a:cubicBezTo>
                                  <a:pt x="18514" y="238655"/>
                                  <a:pt x="17377" y="233861"/>
                                  <a:pt x="14631" y="230429"/>
                                </a:cubicBezTo>
                                <a:cubicBezTo>
                                  <a:pt x="-6216" y="204371"/>
                                  <a:pt x="22512" y="245908"/>
                                  <a:pt x="0" y="212141"/>
                                </a:cubicBezTo>
                                <a:lnTo>
                                  <a:pt x="10973" y="201168"/>
                                </a:lnTo>
                                <a:lnTo>
                                  <a:pt x="25603" y="153619"/>
                                </a:lnTo>
                                <a:cubicBezTo>
                                  <a:pt x="32918" y="162153"/>
                                  <a:pt x="41103" y="170014"/>
                                  <a:pt x="47549" y="179222"/>
                                </a:cubicBezTo>
                                <a:cubicBezTo>
                                  <a:pt x="55981" y="191267"/>
                                  <a:pt x="45210" y="190519"/>
                                  <a:pt x="58522" y="201168"/>
                                </a:cubicBezTo>
                                <a:cubicBezTo>
                                  <a:pt x="61533" y="203576"/>
                                  <a:pt x="65837" y="203606"/>
                                  <a:pt x="69495" y="204825"/>
                                </a:cubicBezTo>
                                <a:cubicBezTo>
                                  <a:pt x="71933" y="207264"/>
                                  <a:pt x="73853" y="210367"/>
                                  <a:pt x="76810" y="212141"/>
                                </a:cubicBezTo>
                                <a:cubicBezTo>
                                  <a:pt x="80116" y="214125"/>
                                  <a:pt x="85057" y="213072"/>
                                  <a:pt x="87783" y="215798"/>
                                </a:cubicBezTo>
                                <a:cubicBezTo>
                                  <a:pt x="90509" y="218524"/>
                                  <a:pt x="89032" y="223760"/>
                                  <a:pt x="91440" y="226771"/>
                                </a:cubicBezTo>
                                <a:cubicBezTo>
                                  <a:pt x="96596" y="233216"/>
                                  <a:pt x="106159" y="235335"/>
                                  <a:pt x="113386" y="237744"/>
                                </a:cubicBezTo>
                                <a:cubicBezTo>
                                  <a:pt x="115824" y="241402"/>
                                  <a:pt x="117393" y="245822"/>
                                  <a:pt x="120701" y="248717"/>
                                </a:cubicBezTo>
                                <a:cubicBezTo>
                                  <a:pt x="136178" y="262259"/>
                                  <a:pt x="138550" y="261981"/>
                                  <a:pt x="153619" y="267005"/>
                                </a:cubicBezTo>
                                <a:cubicBezTo>
                                  <a:pt x="157277" y="265786"/>
                                  <a:pt x="161581" y="265756"/>
                                  <a:pt x="164592" y="263347"/>
                                </a:cubicBezTo>
                                <a:cubicBezTo>
                                  <a:pt x="168025" y="260601"/>
                                  <a:pt x="168179" y="254704"/>
                                  <a:pt x="171907" y="252374"/>
                                </a:cubicBezTo>
                                <a:cubicBezTo>
                                  <a:pt x="178446" y="248287"/>
                                  <a:pt x="193853" y="245059"/>
                                  <a:pt x="193853" y="245059"/>
                                </a:cubicBezTo>
                                <a:cubicBezTo>
                                  <a:pt x="201168" y="247497"/>
                                  <a:pt x="211522" y="245958"/>
                                  <a:pt x="215799" y="252374"/>
                                </a:cubicBezTo>
                                <a:cubicBezTo>
                                  <a:pt x="218237" y="256032"/>
                                  <a:pt x="219386" y="261017"/>
                                  <a:pt x="223114" y="263347"/>
                                </a:cubicBezTo>
                                <a:cubicBezTo>
                                  <a:pt x="229653" y="267434"/>
                                  <a:pt x="245059" y="270662"/>
                                  <a:pt x="245059" y="270662"/>
                                </a:cubicBezTo>
                                <a:cubicBezTo>
                                  <a:pt x="253692" y="267785"/>
                                  <a:pt x="258325" y="268059"/>
                                  <a:pt x="263347" y="259689"/>
                                </a:cubicBezTo>
                                <a:cubicBezTo>
                                  <a:pt x="265331" y="256383"/>
                                  <a:pt x="264279" y="251443"/>
                                  <a:pt x="267005" y="248717"/>
                                </a:cubicBezTo>
                                <a:cubicBezTo>
                                  <a:pt x="269731" y="245991"/>
                                  <a:pt x="274608" y="246931"/>
                                  <a:pt x="277978" y="245059"/>
                                </a:cubicBezTo>
                                <a:cubicBezTo>
                                  <a:pt x="285663" y="240789"/>
                                  <a:pt x="291583" y="233209"/>
                                  <a:pt x="299923" y="230429"/>
                                </a:cubicBezTo>
                                <a:cubicBezTo>
                                  <a:pt x="303581" y="229210"/>
                                  <a:pt x="307448" y="228495"/>
                                  <a:pt x="310896" y="226771"/>
                                </a:cubicBezTo>
                                <a:cubicBezTo>
                                  <a:pt x="312438" y="226000"/>
                                  <a:pt x="313335" y="224332"/>
                                  <a:pt x="314554" y="223113"/>
                                </a:cubicBezTo>
                                <a:lnTo>
                                  <a:pt x="314554" y="171907"/>
                                </a:lnTo>
                                <a:cubicBezTo>
                                  <a:pt x="315773" y="158496"/>
                                  <a:pt x="315183" y="144795"/>
                                  <a:pt x="318211" y="131673"/>
                                </a:cubicBezTo>
                                <a:cubicBezTo>
                                  <a:pt x="318986" y="128313"/>
                                  <a:pt x="325241" y="127795"/>
                                  <a:pt x="325527" y="124358"/>
                                </a:cubicBezTo>
                                <a:cubicBezTo>
                                  <a:pt x="326545" y="112148"/>
                                  <a:pt x="323088" y="99974"/>
                                  <a:pt x="321869" y="87782"/>
                                </a:cubicBezTo>
                                <a:cubicBezTo>
                                  <a:pt x="323088" y="80467"/>
                                  <a:pt x="323182" y="72872"/>
                                  <a:pt x="325527" y="65837"/>
                                </a:cubicBezTo>
                                <a:cubicBezTo>
                                  <a:pt x="326917" y="61667"/>
                                  <a:pt x="331057" y="58881"/>
                                  <a:pt x="332842" y="54864"/>
                                </a:cubicBezTo>
                                <a:cubicBezTo>
                                  <a:pt x="335974" y="47818"/>
                                  <a:pt x="337719" y="40233"/>
                                  <a:pt x="340157" y="32918"/>
                                </a:cubicBezTo>
                                <a:lnTo>
                                  <a:pt x="340157" y="32918"/>
                                </a:lnTo>
                                <a:cubicBezTo>
                                  <a:pt x="344382" y="7571"/>
                                  <a:pt x="338572" y="16217"/>
                                  <a:pt x="351130" y="3657"/>
                                </a:cubicBezTo>
                                <a:cubicBezTo>
                                  <a:pt x="359664" y="4876"/>
                                  <a:pt x="368476" y="4838"/>
                                  <a:pt x="376733" y="7315"/>
                                </a:cubicBezTo>
                                <a:cubicBezTo>
                                  <a:pt x="380944" y="8578"/>
                                  <a:pt x="383774" y="12664"/>
                                  <a:pt x="387706" y="14630"/>
                                </a:cubicBezTo>
                                <a:cubicBezTo>
                                  <a:pt x="391155" y="16354"/>
                                  <a:pt x="395021" y="17069"/>
                                  <a:pt x="398679" y="18288"/>
                                </a:cubicBezTo>
                                <a:cubicBezTo>
                                  <a:pt x="402336" y="17069"/>
                                  <a:pt x="406345" y="16614"/>
                                  <a:pt x="409651" y="14630"/>
                                </a:cubicBezTo>
                                <a:cubicBezTo>
                                  <a:pt x="412608" y="12856"/>
                                  <a:pt x="414274" y="9469"/>
                                  <a:pt x="416967" y="7315"/>
                                </a:cubicBezTo>
                                <a:cubicBezTo>
                                  <a:pt x="420399" y="4569"/>
                                  <a:pt x="424282" y="2438"/>
                                  <a:pt x="427939" y="0"/>
                                </a:cubicBezTo>
                                <a:cubicBezTo>
                                  <a:pt x="436474" y="1219"/>
                                  <a:pt x="445364" y="931"/>
                                  <a:pt x="453543" y="3657"/>
                                </a:cubicBezTo>
                                <a:cubicBezTo>
                                  <a:pt x="456815" y="4748"/>
                                  <a:pt x="458099" y="8904"/>
                                  <a:pt x="460858" y="10973"/>
                                </a:cubicBezTo>
                                <a:cubicBezTo>
                                  <a:pt x="467891" y="16248"/>
                                  <a:pt x="476586" y="19387"/>
                                  <a:pt x="482803" y="25603"/>
                                </a:cubicBezTo>
                                <a:cubicBezTo>
                                  <a:pt x="485242" y="28041"/>
                                  <a:pt x="486890" y="31707"/>
                                  <a:pt x="490119" y="32918"/>
                                </a:cubicBezTo>
                                <a:cubicBezTo>
                                  <a:pt x="497063" y="35522"/>
                                  <a:pt x="504749" y="35357"/>
                                  <a:pt x="512064" y="36576"/>
                                </a:cubicBezTo>
                                <a:cubicBezTo>
                                  <a:pt x="514502" y="40234"/>
                                  <a:pt x="515946" y="44803"/>
                                  <a:pt x="519379" y="47549"/>
                                </a:cubicBezTo>
                                <a:cubicBezTo>
                                  <a:pt x="522390" y="49957"/>
                                  <a:pt x="528111" y="48069"/>
                                  <a:pt x="530352" y="51206"/>
                                </a:cubicBezTo>
                                <a:cubicBezTo>
                                  <a:pt x="534834" y="57481"/>
                                  <a:pt x="535229" y="65837"/>
                                  <a:pt x="537667" y="73152"/>
                                </a:cubicBezTo>
                                <a:lnTo>
                                  <a:pt x="541325" y="84125"/>
                                </a:lnTo>
                                <a:cubicBezTo>
                                  <a:pt x="545118" y="118255"/>
                                  <a:pt x="544983" y="106003"/>
                                  <a:pt x="544983" y="120701"/>
                                </a:cubicBezTo>
                                <a:lnTo>
                                  <a:pt x="534010" y="157277"/>
                                </a:lnTo>
                                <a:cubicBezTo>
                                  <a:pt x="530352" y="167030"/>
                                  <a:pt x="524329" y="176201"/>
                                  <a:pt x="523037" y="186537"/>
                                </a:cubicBezTo>
                                <a:cubicBezTo>
                                  <a:pt x="521818" y="196291"/>
                                  <a:pt x="526695" y="205968"/>
                                  <a:pt x="526695" y="215798"/>
                                </a:cubicBezTo>
                                <a:cubicBezTo>
                                  <a:pt x="526695" y="223369"/>
                                  <a:pt x="519420" y="232197"/>
                                  <a:pt x="515722" y="237744"/>
                                </a:cubicBezTo>
                                <a:cubicBezTo>
                                  <a:pt x="516941" y="248717"/>
                                  <a:pt x="519379" y="252984"/>
                                  <a:pt x="519379" y="270662"/>
                                </a:cubicBezTo>
                                <a:lnTo>
                                  <a:pt x="519379" y="270662"/>
                                </a:lnTo>
                                <a:cubicBezTo>
                                  <a:pt x="525475" y="279196"/>
                                  <a:pt x="532271" y="287272"/>
                                  <a:pt x="537667" y="296265"/>
                                </a:cubicBezTo>
                                <a:cubicBezTo>
                                  <a:pt x="539651" y="299571"/>
                                  <a:pt x="538599" y="304512"/>
                                  <a:pt x="541325" y="307238"/>
                                </a:cubicBezTo>
                                <a:cubicBezTo>
                                  <a:pt x="547542" y="313455"/>
                                  <a:pt x="555956" y="316992"/>
                                  <a:pt x="563271" y="321869"/>
                                </a:cubicBezTo>
                                <a:cubicBezTo>
                                  <a:pt x="566928" y="324307"/>
                                  <a:pt x="571135" y="326076"/>
                                  <a:pt x="574243" y="329184"/>
                                </a:cubicBezTo>
                                <a:lnTo>
                                  <a:pt x="592531" y="347472"/>
                                </a:lnTo>
                                <a:cubicBezTo>
                                  <a:pt x="594970" y="349910"/>
                                  <a:pt x="596978" y="352874"/>
                                  <a:pt x="599847" y="354787"/>
                                </a:cubicBezTo>
                                <a:lnTo>
                                  <a:pt x="610819" y="362102"/>
                                </a:lnTo>
                                <a:cubicBezTo>
                                  <a:pt x="620014" y="389686"/>
                                  <a:pt x="606541" y="356753"/>
                                  <a:pt x="625450" y="380390"/>
                                </a:cubicBezTo>
                                <a:cubicBezTo>
                                  <a:pt x="627858" y="383401"/>
                                  <a:pt x="627888" y="387705"/>
                                  <a:pt x="629107" y="391363"/>
                                </a:cubicBezTo>
                                <a:cubicBezTo>
                                  <a:pt x="627888" y="407213"/>
                                  <a:pt x="627929" y="423210"/>
                                  <a:pt x="625450" y="438912"/>
                                </a:cubicBezTo>
                                <a:cubicBezTo>
                                  <a:pt x="624248" y="446528"/>
                                  <a:pt x="620573" y="453542"/>
                                  <a:pt x="618135" y="460857"/>
                                </a:cubicBezTo>
                                <a:cubicBezTo>
                                  <a:pt x="616916" y="464515"/>
                                  <a:pt x="616616" y="468622"/>
                                  <a:pt x="614477" y="471830"/>
                                </a:cubicBezTo>
                                <a:cubicBezTo>
                                  <a:pt x="612039" y="475488"/>
                                  <a:pt x="609128" y="478871"/>
                                  <a:pt x="607162" y="482803"/>
                                </a:cubicBezTo>
                                <a:cubicBezTo>
                                  <a:pt x="603239" y="490650"/>
                                  <a:pt x="601518" y="504546"/>
                                  <a:pt x="599847" y="512064"/>
                                </a:cubicBezTo>
                                <a:cubicBezTo>
                                  <a:pt x="598757" y="516971"/>
                                  <a:pt x="597408" y="521817"/>
                                  <a:pt x="596189" y="526694"/>
                                </a:cubicBezTo>
                                <a:cubicBezTo>
                                  <a:pt x="596502" y="530140"/>
                                  <a:pt x="597903" y="579613"/>
                                  <a:pt x="607162" y="588873"/>
                                </a:cubicBezTo>
                                <a:cubicBezTo>
                                  <a:pt x="609600" y="591312"/>
                                  <a:pt x="611718" y="594120"/>
                                  <a:pt x="614477" y="596189"/>
                                </a:cubicBezTo>
                                <a:cubicBezTo>
                                  <a:pt x="621510" y="601464"/>
                                  <a:pt x="636423" y="610819"/>
                                  <a:pt x="636423" y="610819"/>
                                </a:cubicBezTo>
                                <a:lnTo>
                                  <a:pt x="651053" y="632765"/>
                                </a:lnTo>
                                <a:cubicBezTo>
                                  <a:pt x="653491" y="636422"/>
                                  <a:pt x="655260" y="640629"/>
                                  <a:pt x="658368" y="643737"/>
                                </a:cubicBezTo>
                                <a:lnTo>
                                  <a:pt x="665683" y="651053"/>
                                </a:lnTo>
                                <a:lnTo>
                                  <a:pt x="683971" y="705917"/>
                                </a:lnTo>
                                <a:lnTo>
                                  <a:pt x="691287" y="727862"/>
                                </a:lnTo>
                                <a:lnTo>
                                  <a:pt x="694944" y="738835"/>
                                </a:lnTo>
                                <a:cubicBezTo>
                                  <a:pt x="693725" y="746150"/>
                                  <a:pt x="693891" y="753837"/>
                                  <a:pt x="691287" y="760781"/>
                                </a:cubicBezTo>
                                <a:cubicBezTo>
                                  <a:pt x="690076" y="764010"/>
                                  <a:pt x="686125" y="765403"/>
                                  <a:pt x="683971" y="768096"/>
                                </a:cubicBezTo>
                                <a:cubicBezTo>
                                  <a:pt x="681225" y="771529"/>
                                  <a:pt x="679094" y="775411"/>
                                  <a:pt x="676656" y="779069"/>
                                </a:cubicBezTo>
                                <a:cubicBezTo>
                                  <a:pt x="668440" y="803720"/>
                                  <a:pt x="668943" y="797540"/>
                                  <a:pt x="676656" y="841248"/>
                                </a:cubicBezTo>
                                <a:cubicBezTo>
                                  <a:pt x="677420" y="845577"/>
                                  <a:pt x="682005" y="848289"/>
                                  <a:pt x="683971" y="852221"/>
                                </a:cubicBezTo>
                                <a:cubicBezTo>
                                  <a:pt x="685695" y="855669"/>
                                  <a:pt x="686410" y="859536"/>
                                  <a:pt x="687629" y="863193"/>
                                </a:cubicBezTo>
                                <a:cubicBezTo>
                                  <a:pt x="686410" y="868070"/>
                                  <a:pt x="683971" y="872797"/>
                                  <a:pt x="683971" y="877824"/>
                                </a:cubicBezTo>
                                <a:cubicBezTo>
                                  <a:pt x="683971" y="884041"/>
                                  <a:pt x="684545" y="890714"/>
                                  <a:pt x="687629" y="896112"/>
                                </a:cubicBezTo>
                                <a:cubicBezTo>
                                  <a:pt x="690965" y="901950"/>
                                  <a:pt x="703943" y="905208"/>
                                  <a:pt x="709575" y="907085"/>
                                </a:cubicBezTo>
                                <a:cubicBezTo>
                                  <a:pt x="715002" y="915224"/>
                                  <a:pt x="719032" y="919185"/>
                                  <a:pt x="720547" y="929030"/>
                                </a:cubicBezTo>
                                <a:cubicBezTo>
                                  <a:pt x="722410" y="941140"/>
                                  <a:pt x="720601" y="953895"/>
                                  <a:pt x="724205" y="965606"/>
                                </a:cubicBezTo>
                                <a:cubicBezTo>
                                  <a:pt x="736902" y="1006870"/>
                                  <a:pt x="735178" y="957940"/>
                                  <a:pt x="735178" y="983894"/>
                                </a:cubicBezTo>
                                <a:lnTo>
                                  <a:pt x="753466" y="998525"/>
                                </a:lnTo>
                                <a:cubicBezTo>
                                  <a:pt x="762000" y="1004621"/>
                                  <a:pt x="774674" y="1007290"/>
                                  <a:pt x="779069" y="1016813"/>
                                </a:cubicBezTo>
                                <a:cubicBezTo>
                                  <a:pt x="790113" y="1040742"/>
                                  <a:pt x="777053" y="1042193"/>
                                  <a:pt x="768096" y="1053389"/>
                                </a:cubicBezTo>
                                <a:cubicBezTo>
                                  <a:pt x="749640" y="1076460"/>
                                  <a:pt x="771129" y="1054012"/>
                                  <a:pt x="753466" y="1071677"/>
                                </a:cubicBezTo>
                                <a:cubicBezTo>
                                  <a:pt x="754685" y="1087526"/>
                                  <a:pt x="754005" y="1103638"/>
                                  <a:pt x="757123" y="1119225"/>
                                </a:cubicBezTo>
                                <a:cubicBezTo>
                                  <a:pt x="757799" y="1122607"/>
                                  <a:pt x="761354" y="1124999"/>
                                  <a:pt x="764439" y="1126541"/>
                                </a:cubicBezTo>
                                <a:cubicBezTo>
                                  <a:pt x="771336" y="1129989"/>
                                  <a:pt x="779968" y="1129579"/>
                                  <a:pt x="786384" y="1133856"/>
                                </a:cubicBezTo>
                                <a:cubicBezTo>
                                  <a:pt x="800565" y="1143310"/>
                                  <a:pt x="793187" y="1139781"/>
                                  <a:pt x="808330" y="1144829"/>
                                </a:cubicBezTo>
                                <a:cubicBezTo>
                                  <a:pt x="811988" y="1148486"/>
                                  <a:pt x="814999" y="1152932"/>
                                  <a:pt x="819303" y="1155801"/>
                                </a:cubicBezTo>
                                <a:cubicBezTo>
                                  <a:pt x="822511" y="1157940"/>
                                  <a:pt x="826969" y="1157475"/>
                                  <a:pt x="830275" y="1159459"/>
                                </a:cubicBezTo>
                                <a:cubicBezTo>
                                  <a:pt x="833232" y="1161233"/>
                                  <a:pt x="834898" y="1164620"/>
                                  <a:pt x="837591" y="1166774"/>
                                </a:cubicBezTo>
                                <a:cubicBezTo>
                                  <a:pt x="846588" y="1173972"/>
                                  <a:pt x="849256" y="1172574"/>
                                  <a:pt x="855879" y="1181405"/>
                                </a:cubicBezTo>
                                <a:cubicBezTo>
                                  <a:pt x="855886" y="1181414"/>
                                  <a:pt x="874163" y="1208832"/>
                                  <a:pt x="877824" y="1214323"/>
                                </a:cubicBezTo>
                                <a:cubicBezTo>
                                  <a:pt x="880262" y="1217981"/>
                                  <a:pt x="882030" y="1222188"/>
                                  <a:pt x="885139" y="1225296"/>
                                </a:cubicBezTo>
                                <a:lnTo>
                                  <a:pt x="892455" y="1232611"/>
                                </a:lnTo>
                                <a:cubicBezTo>
                                  <a:pt x="894893" y="1239926"/>
                                  <a:pt x="900861" y="1246924"/>
                                  <a:pt x="899770" y="1254557"/>
                                </a:cubicBezTo>
                                <a:cubicBezTo>
                                  <a:pt x="898551" y="1263091"/>
                                  <a:pt x="898589" y="1271903"/>
                                  <a:pt x="896112" y="1280160"/>
                                </a:cubicBezTo>
                                <a:cubicBezTo>
                                  <a:pt x="894849" y="1284371"/>
                                  <a:pt x="890582" y="1287116"/>
                                  <a:pt x="888797" y="1291133"/>
                                </a:cubicBezTo>
                                <a:cubicBezTo>
                                  <a:pt x="885665" y="1298179"/>
                                  <a:pt x="885759" y="1306662"/>
                                  <a:pt x="881482" y="1313078"/>
                                </a:cubicBezTo>
                                <a:cubicBezTo>
                                  <a:pt x="879044" y="1316736"/>
                                  <a:pt x="875952" y="1320034"/>
                                  <a:pt x="874167" y="1324051"/>
                                </a:cubicBezTo>
                                <a:cubicBezTo>
                                  <a:pt x="871035" y="1331097"/>
                                  <a:pt x="869290" y="1338682"/>
                                  <a:pt x="866851" y="1345997"/>
                                </a:cubicBezTo>
                                <a:lnTo>
                                  <a:pt x="859536" y="1367942"/>
                                </a:lnTo>
                                <a:cubicBezTo>
                                  <a:pt x="858317" y="1371600"/>
                                  <a:pt x="858605" y="1376189"/>
                                  <a:pt x="855879" y="1378915"/>
                                </a:cubicBezTo>
                                <a:cubicBezTo>
                                  <a:pt x="845455" y="1389338"/>
                                  <a:pt x="851432" y="1384317"/>
                                  <a:pt x="837591" y="1393545"/>
                                </a:cubicBezTo>
                                <a:cubicBezTo>
                                  <a:pt x="828885" y="1419661"/>
                                  <a:pt x="834552" y="1409075"/>
                                  <a:pt x="822960" y="1426464"/>
                                </a:cubicBezTo>
                                <a:lnTo>
                                  <a:pt x="811987" y="1459382"/>
                                </a:lnTo>
                                <a:cubicBezTo>
                                  <a:pt x="810768" y="1463040"/>
                                  <a:pt x="810469" y="1467147"/>
                                  <a:pt x="808330" y="1470355"/>
                                </a:cubicBezTo>
                                <a:cubicBezTo>
                                  <a:pt x="799102" y="1484197"/>
                                  <a:pt x="804124" y="1478220"/>
                                  <a:pt x="793699" y="1488643"/>
                                </a:cubicBezTo>
                                <a:cubicBezTo>
                                  <a:pt x="792480" y="1492301"/>
                                  <a:pt x="792450" y="1496605"/>
                                  <a:pt x="790042" y="1499616"/>
                                </a:cubicBezTo>
                                <a:cubicBezTo>
                                  <a:pt x="787296" y="1503049"/>
                                  <a:pt x="781399" y="1503203"/>
                                  <a:pt x="779069" y="1506931"/>
                                </a:cubicBezTo>
                                <a:cubicBezTo>
                                  <a:pt x="774982" y="1513470"/>
                                  <a:pt x="776031" y="1522461"/>
                                  <a:pt x="771754" y="1528877"/>
                                </a:cubicBezTo>
                                <a:lnTo>
                                  <a:pt x="757123" y="1550822"/>
                                </a:lnTo>
                                <a:cubicBezTo>
                                  <a:pt x="753261" y="1562411"/>
                                  <a:pt x="754254" y="1562640"/>
                                  <a:pt x="746151" y="1572768"/>
                                </a:cubicBezTo>
                                <a:cubicBezTo>
                                  <a:pt x="743997" y="1575461"/>
                                  <a:pt x="741792" y="1578309"/>
                                  <a:pt x="738835" y="1580083"/>
                                </a:cubicBezTo>
                                <a:cubicBezTo>
                                  <a:pt x="735529" y="1582067"/>
                                  <a:pt x="731520" y="1582522"/>
                                  <a:pt x="727863" y="1583741"/>
                                </a:cubicBezTo>
                                <a:cubicBezTo>
                                  <a:pt x="725424" y="1586179"/>
                                  <a:pt x="722701" y="1588363"/>
                                  <a:pt x="720547" y="1591056"/>
                                </a:cubicBezTo>
                                <a:cubicBezTo>
                                  <a:pt x="717801" y="1594489"/>
                                  <a:pt x="716665" y="1599283"/>
                                  <a:pt x="713232" y="1602029"/>
                                </a:cubicBezTo>
                                <a:cubicBezTo>
                                  <a:pt x="710221" y="1604437"/>
                                  <a:pt x="705917" y="1604467"/>
                                  <a:pt x="702259" y="1605686"/>
                                </a:cubicBezTo>
                                <a:cubicBezTo>
                                  <a:pt x="701040" y="1609344"/>
                                  <a:pt x="701328" y="1613933"/>
                                  <a:pt x="698602" y="1616659"/>
                                </a:cubicBezTo>
                                <a:cubicBezTo>
                                  <a:pt x="692385" y="1622876"/>
                                  <a:pt x="682872" y="1625072"/>
                                  <a:pt x="676656" y="1631289"/>
                                </a:cubicBezTo>
                                <a:cubicBezTo>
                                  <a:pt x="674218" y="1633728"/>
                                  <a:pt x="671495" y="1635912"/>
                                  <a:pt x="669341" y="1638605"/>
                                </a:cubicBezTo>
                                <a:cubicBezTo>
                                  <a:pt x="650885" y="1661676"/>
                                  <a:pt x="672374" y="1639228"/>
                                  <a:pt x="654711" y="1656893"/>
                                </a:cubicBezTo>
                                <a:cubicBezTo>
                                  <a:pt x="653492" y="1660550"/>
                                  <a:pt x="651988" y="1664125"/>
                                  <a:pt x="651053" y="1667865"/>
                                </a:cubicBezTo>
                                <a:cubicBezTo>
                                  <a:pt x="649545" y="1673896"/>
                                  <a:pt x="649844" y="1680439"/>
                                  <a:pt x="647395" y="1686153"/>
                                </a:cubicBezTo>
                                <a:cubicBezTo>
                                  <a:pt x="646037" y="1689323"/>
                                  <a:pt x="648614" y="1687373"/>
                                  <a:pt x="640080" y="1693469"/>
                                </a:cubicBezTo>
                                <a:lnTo>
                                  <a:pt x="618135" y="1715414"/>
                                </a:lnTo>
                                <a:cubicBezTo>
                                  <a:pt x="608381" y="1711756"/>
                                  <a:pt x="598357" y="1708752"/>
                                  <a:pt x="588874" y="1704441"/>
                                </a:cubicBezTo>
                                <a:cubicBezTo>
                                  <a:pt x="584872" y="1702622"/>
                                  <a:pt x="582237" y="1697849"/>
                                  <a:pt x="577901" y="1697126"/>
                                </a:cubicBezTo>
                                <a:cubicBezTo>
                                  <a:pt x="574098" y="1696492"/>
                                  <a:pt x="570586" y="1699565"/>
                                  <a:pt x="566928" y="1700784"/>
                                </a:cubicBezTo>
                                <a:cubicBezTo>
                                  <a:pt x="565387" y="1705407"/>
                                  <a:pt x="563129" y="1717637"/>
                                  <a:pt x="555955" y="1719072"/>
                                </a:cubicBezTo>
                                <a:cubicBezTo>
                                  <a:pt x="552175" y="1719828"/>
                                  <a:pt x="548640" y="1716633"/>
                                  <a:pt x="544983" y="1715414"/>
                                </a:cubicBezTo>
                                <a:cubicBezTo>
                                  <a:pt x="543764" y="1710537"/>
                                  <a:pt x="545346" y="1703800"/>
                                  <a:pt x="541325" y="1700784"/>
                                </a:cubicBezTo>
                                <a:cubicBezTo>
                                  <a:pt x="535897" y="1696713"/>
                                  <a:pt x="525192" y="1709602"/>
                                  <a:pt x="523037" y="1711757"/>
                                </a:cubicBezTo>
                                <a:cubicBezTo>
                                  <a:pt x="521818" y="1715414"/>
                                  <a:pt x="521363" y="1719423"/>
                                  <a:pt x="519379" y="1722729"/>
                                </a:cubicBezTo>
                                <a:cubicBezTo>
                                  <a:pt x="514623" y="1730655"/>
                                  <a:pt x="509427" y="1731320"/>
                                  <a:pt x="501091" y="1733702"/>
                                </a:cubicBezTo>
                                <a:cubicBezTo>
                                  <a:pt x="496258" y="1735083"/>
                                  <a:pt x="491338" y="1736141"/>
                                  <a:pt x="486461" y="1737360"/>
                                </a:cubicBezTo>
                                <a:cubicBezTo>
                                  <a:pt x="484023" y="1741018"/>
                                  <a:pt x="482579" y="1745587"/>
                                  <a:pt x="479146" y="1748333"/>
                                </a:cubicBezTo>
                                <a:cubicBezTo>
                                  <a:pt x="476763" y="1750239"/>
                                  <a:pt x="454495" y="1755410"/>
                                  <a:pt x="453543" y="1755648"/>
                                </a:cubicBezTo>
                                <a:cubicBezTo>
                                  <a:pt x="451104" y="1758086"/>
                                  <a:pt x="448381" y="1760270"/>
                                  <a:pt x="446227" y="1762963"/>
                                </a:cubicBezTo>
                                <a:cubicBezTo>
                                  <a:pt x="443481" y="1766396"/>
                                  <a:pt x="442640" y="1771606"/>
                                  <a:pt x="438912" y="1773936"/>
                                </a:cubicBezTo>
                                <a:cubicBezTo>
                                  <a:pt x="432373" y="1778023"/>
                                  <a:pt x="424282" y="1778813"/>
                                  <a:pt x="416967" y="1781251"/>
                                </a:cubicBezTo>
                                <a:lnTo>
                                  <a:pt x="395021" y="1788566"/>
                                </a:lnTo>
                                <a:cubicBezTo>
                                  <a:pt x="390144" y="1789785"/>
                                  <a:pt x="385206" y="1790780"/>
                                  <a:pt x="380391" y="1792224"/>
                                </a:cubicBezTo>
                                <a:cubicBezTo>
                                  <a:pt x="373005" y="1794440"/>
                                  <a:pt x="358445" y="1799539"/>
                                  <a:pt x="358445" y="1799539"/>
                                </a:cubicBezTo>
                                <a:cubicBezTo>
                                  <a:pt x="340375" y="1826645"/>
                                  <a:pt x="360431" y="1802824"/>
                                  <a:pt x="299923" y="1814169"/>
                                </a:cubicBezTo>
                                <a:cubicBezTo>
                                  <a:pt x="296534" y="1814805"/>
                                  <a:pt x="295692" y="1819943"/>
                                  <a:pt x="292608" y="1821485"/>
                                </a:cubicBezTo>
                                <a:cubicBezTo>
                                  <a:pt x="275236" y="1830171"/>
                                  <a:pt x="260596" y="1830058"/>
                                  <a:pt x="241402" y="1832457"/>
                                </a:cubicBezTo>
                                <a:cubicBezTo>
                                  <a:pt x="236525" y="1837334"/>
                                  <a:pt x="222945" y="1852827"/>
                                  <a:pt x="226771" y="1847088"/>
                                </a:cubicBezTo>
                                <a:cubicBezTo>
                                  <a:pt x="229210" y="1843430"/>
                                  <a:pt x="245669" y="1839773"/>
                                  <a:pt x="234087" y="1836115"/>
                                </a:cubicBezTo>
                                <a:lnTo>
                                  <a:pt x="230429" y="1832457"/>
                                </a:lnTo>
                                <a:cubicBezTo>
                                  <a:pt x="224333" y="1823923"/>
                                  <a:pt x="216272" y="1816494"/>
                                  <a:pt x="212141" y="1806854"/>
                                </a:cubicBezTo>
                                <a:cubicBezTo>
                                  <a:pt x="198649" y="1775374"/>
                                  <a:pt x="224544" y="1778574"/>
                                  <a:pt x="186538" y="1784909"/>
                                </a:cubicBezTo>
                                <a:cubicBezTo>
                                  <a:pt x="179223" y="1783690"/>
                                  <a:pt x="171225" y="1784568"/>
                                  <a:pt x="164592" y="1781251"/>
                                </a:cubicBezTo>
                                <a:cubicBezTo>
                                  <a:pt x="160660" y="1779285"/>
                                  <a:pt x="160710" y="1773024"/>
                                  <a:pt x="157277" y="1770278"/>
                                </a:cubicBezTo>
                                <a:cubicBezTo>
                                  <a:pt x="154266" y="1767870"/>
                                  <a:pt x="149962" y="1767840"/>
                                  <a:pt x="146304" y="1766621"/>
                                </a:cubicBezTo>
                                <a:cubicBezTo>
                                  <a:pt x="143866" y="1764182"/>
                                  <a:pt x="141143" y="1761998"/>
                                  <a:pt x="138989" y="1759305"/>
                                </a:cubicBezTo>
                                <a:cubicBezTo>
                                  <a:pt x="135545" y="1755000"/>
                                  <a:pt x="130244" y="1743960"/>
                                  <a:pt x="124359" y="1741017"/>
                                </a:cubicBezTo>
                                <a:cubicBezTo>
                                  <a:pt x="106987" y="1732331"/>
                                  <a:pt x="92346" y="1732444"/>
                                  <a:pt x="73152" y="1730045"/>
                                </a:cubicBezTo>
                                <a:cubicBezTo>
                                  <a:pt x="71933" y="1726387"/>
                                  <a:pt x="71479" y="1722378"/>
                                  <a:pt x="69495" y="1719072"/>
                                </a:cubicBezTo>
                                <a:cubicBezTo>
                                  <a:pt x="67721" y="1716115"/>
                                  <a:pt x="63721" y="1714841"/>
                                  <a:pt x="62179" y="1711757"/>
                                </a:cubicBezTo>
                                <a:cubicBezTo>
                                  <a:pt x="59931" y="1707261"/>
                                  <a:pt x="59741" y="1702003"/>
                                  <a:pt x="58522" y="1697126"/>
                                </a:cubicBezTo>
                                <a:cubicBezTo>
                                  <a:pt x="59741" y="1672742"/>
                                  <a:pt x="58880" y="1648165"/>
                                  <a:pt x="62179" y="1623974"/>
                                </a:cubicBezTo>
                                <a:cubicBezTo>
                                  <a:pt x="67877" y="1582193"/>
                                  <a:pt x="81014" y="1674248"/>
                                  <a:pt x="65837" y="1598371"/>
                                </a:cubicBezTo>
                                <a:cubicBezTo>
                                  <a:pt x="68275" y="1594713"/>
                                  <a:pt x="72290" y="1591709"/>
                                  <a:pt x="73152" y="1587398"/>
                                </a:cubicBezTo>
                                <a:cubicBezTo>
                                  <a:pt x="76031" y="1573002"/>
                                  <a:pt x="74870" y="1558059"/>
                                  <a:pt x="76810" y="1543507"/>
                                </a:cubicBezTo>
                                <a:cubicBezTo>
                                  <a:pt x="77320" y="1539685"/>
                                  <a:pt x="79248" y="1536192"/>
                                  <a:pt x="80467" y="1532534"/>
                                </a:cubicBezTo>
                                <a:cubicBezTo>
                                  <a:pt x="70795" y="1493841"/>
                                  <a:pt x="83926" y="1539400"/>
                                  <a:pt x="69495" y="1506931"/>
                                </a:cubicBezTo>
                                <a:cubicBezTo>
                                  <a:pt x="66363" y="1499885"/>
                                  <a:pt x="64618" y="1492300"/>
                                  <a:pt x="62179" y="1484985"/>
                                </a:cubicBezTo>
                                <a:cubicBezTo>
                                  <a:pt x="60960" y="1481328"/>
                                  <a:pt x="61248" y="1476739"/>
                                  <a:pt x="58522" y="1474013"/>
                                </a:cubicBezTo>
                                <a:lnTo>
                                  <a:pt x="51207" y="1466697"/>
                                </a:lnTo>
                                <a:cubicBezTo>
                                  <a:pt x="40782" y="1435427"/>
                                  <a:pt x="42934" y="1452403"/>
                                  <a:pt x="47549" y="1415491"/>
                                </a:cubicBezTo>
                                <a:cubicBezTo>
                                  <a:pt x="42020" y="1393377"/>
                                  <a:pt x="45482" y="1405635"/>
                                  <a:pt x="36576" y="1378915"/>
                                </a:cubicBezTo>
                                <a:lnTo>
                                  <a:pt x="32919" y="1367942"/>
                                </a:lnTo>
                                <a:cubicBezTo>
                                  <a:pt x="34138" y="1356969"/>
                                  <a:pt x="34761" y="1345914"/>
                                  <a:pt x="36576" y="1335024"/>
                                </a:cubicBezTo>
                                <a:cubicBezTo>
                                  <a:pt x="39243" y="1319019"/>
                                  <a:pt x="26823" y="1320393"/>
                                  <a:pt x="47549" y="1313078"/>
                                </a:cubicBezTo>
                                <a:lnTo>
                                  <a:pt x="62179" y="1305763"/>
                                </a:lnTo>
                                <a:cubicBezTo>
                                  <a:pt x="60960" y="1294790"/>
                                  <a:pt x="57522" y="1283840"/>
                                  <a:pt x="58522" y="1272845"/>
                                </a:cubicBezTo>
                                <a:cubicBezTo>
                                  <a:pt x="58834" y="1269411"/>
                                  <a:pt x="62753" y="1267071"/>
                                  <a:pt x="65837" y="1265529"/>
                                </a:cubicBezTo>
                                <a:cubicBezTo>
                                  <a:pt x="72734" y="1262080"/>
                                  <a:pt x="87783" y="1258214"/>
                                  <a:pt x="87783" y="1258214"/>
                                </a:cubicBezTo>
                                <a:cubicBezTo>
                                  <a:pt x="95031" y="1259664"/>
                                  <a:pt x="112952" y="1265963"/>
                                  <a:pt x="120701" y="1258214"/>
                                </a:cubicBezTo>
                                <a:cubicBezTo>
                                  <a:pt x="124255" y="1254660"/>
                                  <a:pt x="122978" y="1248417"/>
                                  <a:pt x="124359" y="1243584"/>
                                </a:cubicBezTo>
                                <a:cubicBezTo>
                                  <a:pt x="129172" y="1226737"/>
                                  <a:pt x="128016" y="1238748"/>
                                  <a:pt x="128016" y="1221638"/>
                                </a:cubicBezTo>
                                <a:lnTo>
                                  <a:pt x="128016" y="1214323"/>
                                </a:lnTo>
                                <a:cubicBezTo>
                                  <a:pt x="128034" y="1214288"/>
                                  <a:pt x="143281" y="1180770"/>
                                  <a:pt x="149962" y="1174089"/>
                                </a:cubicBezTo>
                                <a:cubicBezTo>
                                  <a:pt x="153070" y="1170981"/>
                                  <a:pt x="157277" y="1169212"/>
                                  <a:pt x="160935" y="1166774"/>
                                </a:cubicBezTo>
                                <a:cubicBezTo>
                                  <a:pt x="179784" y="1138499"/>
                                  <a:pt x="155009" y="1178916"/>
                                  <a:pt x="171907" y="1133856"/>
                                </a:cubicBezTo>
                                <a:cubicBezTo>
                                  <a:pt x="174776" y="1126207"/>
                                  <a:pt x="183971" y="1124958"/>
                                  <a:pt x="190195" y="1122883"/>
                                </a:cubicBezTo>
                                <a:lnTo>
                                  <a:pt x="204826" y="1100937"/>
                                </a:lnTo>
                                <a:cubicBezTo>
                                  <a:pt x="207264" y="1097280"/>
                                  <a:pt x="209033" y="1093073"/>
                                  <a:pt x="212141" y="1089965"/>
                                </a:cubicBezTo>
                                <a:lnTo>
                                  <a:pt x="219456" y="1082649"/>
                                </a:lnTo>
                                <a:cubicBezTo>
                                  <a:pt x="220675" y="1078992"/>
                                  <a:pt x="221130" y="1074983"/>
                                  <a:pt x="223114" y="1071677"/>
                                </a:cubicBezTo>
                                <a:cubicBezTo>
                                  <a:pt x="226590" y="1065884"/>
                                  <a:pt x="236415" y="1060370"/>
                                  <a:pt x="241402" y="1057046"/>
                                </a:cubicBezTo>
                                <a:cubicBezTo>
                                  <a:pt x="243840" y="1053388"/>
                                  <a:pt x="246751" y="1050005"/>
                                  <a:pt x="248717" y="1046073"/>
                                </a:cubicBezTo>
                                <a:cubicBezTo>
                                  <a:pt x="250441" y="1042625"/>
                                  <a:pt x="250391" y="1038407"/>
                                  <a:pt x="252375" y="1035101"/>
                                </a:cubicBezTo>
                                <a:cubicBezTo>
                                  <a:pt x="254149" y="1032144"/>
                                  <a:pt x="257536" y="1030478"/>
                                  <a:pt x="259690" y="1027785"/>
                                </a:cubicBezTo>
                                <a:cubicBezTo>
                                  <a:pt x="262436" y="1024353"/>
                                  <a:pt x="263573" y="1019559"/>
                                  <a:pt x="267005" y="1016813"/>
                                </a:cubicBezTo>
                                <a:cubicBezTo>
                                  <a:pt x="270016" y="1014404"/>
                                  <a:pt x="274320" y="1014374"/>
                                  <a:pt x="277978" y="1013155"/>
                                </a:cubicBezTo>
                                <a:lnTo>
                                  <a:pt x="285293" y="991209"/>
                                </a:lnTo>
                                <a:cubicBezTo>
                                  <a:pt x="286512" y="987552"/>
                                  <a:pt x="286225" y="982963"/>
                                  <a:pt x="288951" y="980237"/>
                                </a:cubicBezTo>
                                <a:cubicBezTo>
                                  <a:pt x="317453" y="951731"/>
                                  <a:pt x="270352" y="997882"/>
                                  <a:pt x="307239" y="965606"/>
                                </a:cubicBezTo>
                                <a:cubicBezTo>
                                  <a:pt x="319950" y="954484"/>
                                  <a:pt x="322782" y="946862"/>
                                  <a:pt x="336499" y="940003"/>
                                </a:cubicBezTo>
                                <a:cubicBezTo>
                                  <a:pt x="366790" y="924857"/>
                                  <a:pt x="326994" y="949997"/>
                                  <a:pt x="358445" y="929030"/>
                                </a:cubicBezTo>
                                <a:cubicBezTo>
                                  <a:pt x="354507" y="913280"/>
                                  <a:pt x="353372" y="910396"/>
                                  <a:pt x="351130" y="892454"/>
                                </a:cubicBezTo>
                                <a:cubicBezTo>
                                  <a:pt x="350828" y="890034"/>
                                  <a:pt x="351130" y="887577"/>
                                  <a:pt x="351130" y="885139"/>
                                </a:cubicBezTo>
                                <a:lnTo>
                                  <a:pt x="343815" y="852221"/>
                                </a:lnTo>
                                <a:cubicBezTo>
                                  <a:pt x="342596" y="840029"/>
                                  <a:pt x="344344" y="827160"/>
                                  <a:pt x="340157" y="815645"/>
                                </a:cubicBezTo>
                                <a:cubicBezTo>
                                  <a:pt x="338839" y="812022"/>
                                  <a:pt x="332633" y="813711"/>
                                  <a:pt x="329184" y="811987"/>
                                </a:cubicBezTo>
                                <a:cubicBezTo>
                                  <a:pt x="325252" y="810021"/>
                                  <a:pt x="322342" y="806174"/>
                                  <a:pt x="318211" y="804672"/>
                                </a:cubicBezTo>
                                <a:cubicBezTo>
                                  <a:pt x="308763" y="801236"/>
                                  <a:pt x="288951" y="797357"/>
                                  <a:pt x="288951" y="797357"/>
                                </a:cubicBezTo>
                                <a:cubicBezTo>
                                  <a:pt x="287732" y="793699"/>
                                  <a:pt x="286352" y="790091"/>
                                  <a:pt x="285293" y="786384"/>
                                </a:cubicBezTo>
                                <a:cubicBezTo>
                                  <a:pt x="283912" y="781550"/>
                                  <a:pt x="285452" y="775025"/>
                                  <a:pt x="281635" y="771753"/>
                                </a:cubicBezTo>
                                <a:cubicBezTo>
                                  <a:pt x="275781" y="766735"/>
                                  <a:pt x="267005" y="766876"/>
                                  <a:pt x="259690" y="764438"/>
                                </a:cubicBezTo>
                                <a:lnTo>
                                  <a:pt x="248717" y="771753"/>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nvGrpSpPr>
                      <p:cNvPr id="153" name="Group 152"/>
                      <p:cNvGrpSpPr/>
                      <p:nvPr/>
                    </p:nvGrpSpPr>
                    <p:grpSpPr>
                      <a:xfrm>
                        <a:off x="5208104" y="182880"/>
                        <a:ext cx="3554233" cy="4890052"/>
                        <a:chOff x="5208104" y="182880"/>
                        <a:chExt cx="3554233" cy="4890052"/>
                      </a:xfrm>
                      <a:grpFill/>
                    </p:grpSpPr>
                    <p:sp>
                      <p:nvSpPr>
                        <p:cNvPr id="154" name="Freeform 153"/>
                        <p:cNvSpPr/>
                        <p:nvPr/>
                      </p:nvSpPr>
                      <p:spPr>
                        <a:xfrm>
                          <a:off x="5208104" y="182880"/>
                          <a:ext cx="3554233" cy="4890052"/>
                        </a:xfrm>
                        <a:custGeom>
                          <a:avLst/>
                          <a:gdLst>
                            <a:gd name="connsiteX0" fmla="*/ 95416 w 3554233"/>
                            <a:gd name="connsiteY0" fmla="*/ 278296 h 4890052"/>
                            <a:gd name="connsiteX1" fmla="*/ 95416 w 3554233"/>
                            <a:gd name="connsiteY1" fmla="*/ 278296 h 4890052"/>
                            <a:gd name="connsiteX2" fmla="*/ 79513 w 3554233"/>
                            <a:gd name="connsiteY2" fmla="*/ 365760 h 4890052"/>
                            <a:gd name="connsiteX3" fmla="*/ 63611 w 3554233"/>
                            <a:gd name="connsiteY3" fmla="*/ 365760 h 4890052"/>
                            <a:gd name="connsiteX4" fmla="*/ 31806 w 3554233"/>
                            <a:gd name="connsiteY4" fmla="*/ 389614 h 4890052"/>
                            <a:gd name="connsiteX5" fmla="*/ 31806 w 3554233"/>
                            <a:gd name="connsiteY5" fmla="*/ 413468 h 4890052"/>
                            <a:gd name="connsiteX6" fmla="*/ 7952 w 3554233"/>
                            <a:gd name="connsiteY6" fmla="*/ 453224 h 4890052"/>
                            <a:gd name="connsiteX7" fmla="*/ 0 w 3554233"/>
                            <a:gd name="connsiteY7" fmla="*/ 532737 h 4890052"/>
                            <a:gd name="connsiteX8" fmla="*/ 23854 w 3554233"/>
                            <a:gd name="connsiteY8" fmla="*/ 596348 h 4890052"/>
                            <a:gd name="connsiteX9" fmla="*/ 47708 w 3554233"/>
                            <a:gd name="connsiteY9" fmla="*/ 612250 h 4890052"/>
                            <a:gd name="connsiteX10" fmla="*/ 87465 w 3554233"/>
                            <a:gd name="connsiteY10" fmla="*/ 652007 h 4890052"/>
                            <a:gd name="connsiteX11" fmla="*/ 95416 w 3554233"/>
                            <a:gd name="connsiteY11" fmla="*/ 675861 h 4890052"/>
                            <a:gd name="connsiteX12" fmla="*/ 119270 w 3554233"/>
                            <a:gd name="connsiteY12" fmla="*/ 691763 h 4890052"/>
                            <a:gd name="connsiteX13" fmla="*/ 95416 w 3554233"/>
                            <a:gd name="connsiteY13" fmla="*/ 739471 h 4890052"/>
                            <a:gd name="connsiteX14" fmla="*/ 95416 w 3554233"/>
                            <a:gd name="connsiteY14" fmla="*/ 882595 h 4890052"/>
                            <a:gd name="connsiteX15" fmla="*/ 119270 w 3554233"/>
                            <a:gd name="connsiteY15" fmla="*/ 898497 h 4890052"/>
                            <a:gd name="connsiteX16" fmla="*/ 143124 w 3554233"/>
                            <a:gd name="connsiteY16" fmla="*/ 946205 h 4890052"/>
                            <a:gd name="connsiteX17" fmla="*/ 159026 w 3554233"/>
                            <a:gd name="connsiteY17" fmla="*/ 993913 h 4890052"/>
                            <a:gd name="connsiteX18" fmla="*/ 166978 w 3554233"/>
                            <a:gd name="connsiteY18" fmla="*/ 1017767 h 4890052"/>
                            <a:gd name="connsiteX19" fmla="*/ 166978 w 3554233"/>
                            <a:gd name="connsiteY19" fmla="*/ 1105231 h 4890052"/>
                            <a:gd name="connsiteX20" fmla="*/ 174929 w 3554233"/>
                            <a:gd name="connsiteY20" fmla="*/ 1144988 h 4890052"/>
                            <a:gd name="connsiteX21" fmla="*/ 198783 w 3554233"/>
                            <a:gd name="connsiteY21" fmla="*/ 1208598 h 4890052"/>
                            <a:gd name="connsiteX22" fmla="*/ 206734 w 3554233"/>
                            <a:gd name="connsiteY22" fmla="*/ 1232452 h 4890052"/>
                            <a:gd name="connsiteX23" fmla="*/ 238539 w 3554233"/>
                            <a:gd name="connsiteY23" fmla="*/ 1280160 h 4890052"/>
                            <a:gd name="connsiteX24" fmla="*/ 254442 w 3554233"/>
                            <a:gd name="connsiteY24" fmla="*/ 1304014 h 4890052"/>
                            <a:gd name="connsiteX25" fmla="*/ 262393 w 3554233"/>
                            <a:gd name="connsiteY25" fmla="*/ 1327868 h 4890052"/>
                            <a:gd name="connsiteX26" fmla="*/ 254442 w 3554233"/>
                            <a:gd name="connsiteY26" fmla="*/ 1399430 h 4890052"/>
                            <a:gd name="connsiteX27" fmla="*/ 302150 w 3554233"/>
                            <a:gd name="connsiteY27" fmla="*/ 1431235 h 4890052"/>
                            <a:gd name="connsiteX28" fmla="*/ 326004 w 3554233"/>
                            <a:gd name="connsiteY28" fmla="*/ 1478943 h 4890052"/>
                            <a:gd name="connsiteX29" fmla="*/ 349858 w 3554233"/>
                            <a:gd name="connsiteY29" fmla="*/ 1486894 h 4890052"/>
                            <a:gd name="connsiteX30" fmla="*/ 365760 w 3554233"/>
                            <a:gd name="connsiteY30" fmla="*/ 1510748 h 4890052"/>
                            <a:gd name="connsiteX31" fmla="*/ 381663 w 3554233"/>
                            <a:gd name="connsiteY31" fmla="*/ 1598212 h 4890052"/>
                            <a:gd name="connsiteX32" fmla="*/ 357809 w 3554233"/>
                            <a:gd name="connsiteY32" fmla="*/ 1606163 h 4890052"/>
                            <a:gd name="connsiteX33" fmla="*/ 333955 w 3554233"/>
                            <a:gd name="connsiteY33" fmla="*/ 1669774 h 4890052"/>
                            <a:gd name="connsiteX34" fmla="*/ 318053 w 3554233"/>
                            <a:gd name="connsiteY34" fmla="*/ 1717482 h 4890052"/>
                            <a:gd name="connsiteX35" fmla="*/ 286247 w 3554233"/>
                            <a:gd name="connsiteY35" fmla="*/ 1765190 h 4890052"/>
                            <a:gd name="connsiteX36" fmla="*/ 254442 w 3554233"/>
                            <a:gd name="connsiteY36" fmla="*/ 1796995 h 4890052"/>
                            <a:gd name="connsiteX37" fmla="*/ 246491 w 3554233"/>
                            <a:gd name="connsiteY37" fmla="*/ 1820849 h 4890052"/>
                            <a:gd name="connsiteX38" fmla="*/ 222637 w 3554233"/>
                            <a:gd name="connsiteY38" fmla="*/ 1876508 h 4890052"/>
                            <a:gd name="connsiteX39" fmla="*/ 174929 w 3554233"/>
                            <a:gd name="connsiteY39" fmla="*/ 1892410 h 4890052"/>
                            <a:gd name="connsiteX40" fmla="*/ 159026 w 3554233"/>
                            <a:gd name="connsiteY40" fmla="*/ 1916264 h 4890052"/>
                            <a:gd name="connsiteX41" fmla="*/ 135173 w 3554233"/>
                            <a:gd name="connsiteY41" fmla="*/ 1948070 h 4890052"/>
                            <a:gd name="connsiteX42" fmla="*/ 190832 w 3554233"/>
                            <a:gd name="connsiteY42" fmla="*/ 1995777 h 4890052"/>
                            <a:gd name="connsiteX43" fmla="*/ 214686 w 3554233"/>
                            <a:gd name="connsiteY43" fmla="*/ 2011680 h 4890052"/>
                            <a:gd name="connsiteX44" fmla="*/ 230588 w 3554233"/>
                            <a:gd name="connsiteY44" fmla="*/ 2035534 h 4890052"/>
                            <a:gd name="connsiteX45" fmla="*/ 270345 w 3554233"/>
                            <a:gd name="connsiteY45" fmla="*/ 2027583 h 4890052"/>
                            <a:gd name="connsiteX46" fmla="*/ 349858 w 3554233"/>
                            <a:gd name="connsiteY46" fmla="*/ 2043485 h 4890052"/>
                            <a:gd name="connsiteX47" fmla="*/ 254442 w 3554233"/>
                            <a:gd name="connsiteY47" fmla="*/ 2075290 h 4890052"/>
                            <a:gd name="connsiteX48" fmla="*/ 238539 w 3554233"/>
                            <a:gd name="connsiteY48" fmla="*/ 2099144 h 4890052"/>
                            <a:gd name="connsiteX49" fmla="*/ 151075 w 3554233"/>
                            <a:gd name="connsiteY49" fmla="*/ 2138901 h 4890052"/>
                            <a:gd name="connsiteX50" fmla="*/ 159026 w 3554233"/>
                            <a:gd name="connsiteY50" fmla="*/ 2162755 h 4890052"/>
                            <a:gd name="connsiteX51" fmla="*/ 182880 w 3554233"/>
                            <a:gd name="connsiteY51" fmla="*/ 2178657 h 4890052"/>
                            <a:gd name="connsiteX52" fmla="*/ 174929 w 3554233"/>
                            <a:gd name="connsiteY52" fmla="*/ 2210463 h 4890052"/>
                            <a:gd name="connsiteX53" fmla="*/ 135173 w 3554233"/>
                            <a:gd name="connsiteY53" fmla="*/ 2289976 h 4890052"/>
                            <a:gd name="connsiteX54" fmla="*/ 135173 w 3554233"/>
                            <a:gd name="connsiteY54" fmla="*/ 2329732 h 4890052"/>
                            <a:gd name="connsiteX55" fmla="*/ 151075 w 3554233"/>
                            <a:gd name="connsiteY55" fmla="*/ 2369489 h 4890052"/>
                            <a:gd name="connsiteX56" fmla="*/ 143124 w 3554233"/>
                            <a:gd name="connsiteY56" fmla="*/ 2385391 h 4890052"/>
                            <a:gd name="connsiteX57" fmla="*/ 174929 w 3554233"/>
                            <a:gd name="connsiteY57" fmla="*/ 2464904 h 4890052"/>
                            <a:gd name="connsiteX58" fmla="*/ 159026 w 3554233"/>
                            <a:gd name="connsiteY58" fmla="*/ 2504661 h 4890052"/>
                            <a:gd name="connsiteX59" fmla="*/ 127221 w 3554233"/>
                            <a:gd name="connsiteY59" fmla="*/ 2520563 h 4890052"/>
                            <a:gd name="connsiteX60" fmla="*/ 190832 w 3554233"/>
                            <a:gd name="connsiteY60" fmla="*/ 2552369 h 4890052"/>
                            <a:gd name="connsiteX61" fmla="*/ 198783 w 3554233"/>
                            <a:gd name="connsiteY61" fmla="*/ 2623930 h 4890052"/>
                            <a:gd name="connsiteX62" fmla="*/ 222637 w 3554233"/>
                            <a:gd name="connsiteY62" fmla="*/ 2639833 h 4890052"/>
                            <a:gd name="connsiteX63" fmla="*/ 238539 w 3554233"/>
                            <a:gd name="connsiteY63" fmla="*/ 2687541 h 4890052"/>
                            <a:gd name="connsiteX64" fmla="*/ 254442 w 3554233"/>
                            <a:gd name="connsiteY64" fmla="*/ 2735249 h 4890052"/>
                            <a:gd name="connsiteX65" fmla="*/ 270345 w 3554233"/>
                            <a:gd name="connsiteY65" fmla="*/ 2767054 h 4890052"/>
                            <a:gd name="connsiteX66" fmla="*/ 294199 w 3554233"/>
                            <a:gd name="connsiteY66" fmla="*/ 2806810 h 4890052"/>
                            <a:gd name="connsiteX67" fmla="*/ 333955 w 3554233"/>
                            <a:gd name="connsiteY67" fmla="*/ 2790908 h 4890052"/>
                            <a:gd name="connsiteX68" fmla="*/ 397566 w 3554233"/>
                            <a:gd name="connsiteY68" fmla="*/ 2822713 h 4890052"/>
                            <a:gd name="connsiteX69" fmla="*/ 453225 w 3554233"/>
                            <a:gd name="connsiteY69" fmla="*/ 2814762 h 4890052"/>
                            <a:gd name="connsiteX70" fmla="*/ 508884 w 3554233"/>
                            <a:gd name="connsiteY70" fmla="*/ 2822713 h 4890052"/>
                            <a:gd name="connsiteX71" fmla="*/ 524786 w 3554233"/>
                            <a:gd name="connsiteY71" fmla="*/ 2854518 h 4890052"/>
                            <a:gd name="connsiteX72" fmla="*/ 548640 w 3554233"/>
                            <a:gd name="connsiteY72" fmla="*/ 2886323 h 4890052"/>
                            <a:gd name="connsiteX73" fmla="*/ 580446 w 3554233"/>
                            <a:gd name="connsiteY73" fmla="*/ 2926080 h 4890052"/>
                            <a:gd name="connsiteX74" fmla="*/ 580446 w 3554233"/>
                            <a:gd name="connsiteY74" fmla="*/ 2989690 h 4890052"/>
                            <a:gd name="connsiteX75" fmla="*/ 604299 w 3554233"/>
                            <a:gd name="connsiteY75" fmla="*/ 3021496 h 4890052"/>
                            <a:gd name="connsiteX76" fmla="*/ 683813 w 3554233"/>
                            <a:gd name="connsiteY76" fmla="*/ 3116911 h 4890052"/>
                            <a:gd name="connsiteX77" fmla="*/ 755374 w 3554233"/>
                            <a:gd name="connsiteY77" fmla="*/ 3164619 h 4890052"/>
                            <a:gd name="connsiteX78" fmla="*/ 787179 w 3554233"/>
                            <a:gd name="connsiteY78" fmla="*/ 3212327 h 4890052"/>
                            <a:gd name="connsiteX79" fmla="*/ 763326 w 3554233"/>
                            <a:gd name="connsiteY79" fmla="*/ 3260035 h 4890052"/>
                            <a:gd name="connsiteX80" fmla="*/ 739472 w 3554233"/>
                            <a:gd name="connsiteY80" fmla="*/ 3267986 h 4890052"/>
                            <a:gd name="connsiteX81" fmla="*/ 683813 w 3554233"/>
                            <a:gd name="connsiteY81" fmla="*/ 3260035 h 4890052"/>
                            <a:gd name="connsiteX82" fmla="*/ 675861 w 3554233"/>
                            <a:gd name="connsiteY82" fmla="*/ 3260035 h 4890052"/>
                            <a:gd name="connsiteX83" fmla="*/ 659959 w 3554233"/>
                            <a:gd name="connsiteY83" fmla="*/ 3283889 h 4890052"/>
                            <a:gd name="connsiteX84" fmla="*/ 683813 w 3554233"/>
                            <a:gd name="connsiteY84" fmla="*/ 3323645 h 4890052"/>
                            <a:gd name="connsiteX85" fmla="*/ 691764 w 3554233"/>
                            <a:gd name="connsiteY85" fmla="*/ 3339548 h 4890052"/>
                            <a:gd name="connsiteX86" fmla="*/ 707666 w 3554233"/>
                            <a:gd name="connsiteY86" fmla="*/ 3411110 h 4890052"/>
                            <a:gd name="connsiteX87" fmla="*/ 715618 w 3554233"/>
                            <a:gd name="connsiteY87" fmla="*/ 3434963 h 4890052"/>
                            <a:gd name="connsiteX88" fmla="*/ 707666 w 3554233"/>
                            <a:gd name="connsiteY88" fmla="*/ 3458817 h 4890052"/>
                            <a:gd name="connsiteX89" fmla="*/ 779228 w 3554233"/>
                            <a:gd name="connsiteY89" fmla="*/ 3458817 h 4890052"/>
                            <a:gd name="connsiteX90" fmla="*/ 779228 w 3554233"/>
                            <a:gd name="connsiteY90" fmla="*/ 3427012 h 4890052"/>
                            <a:gd name="connsiteX91" fmla="*/ 795131 w 3554233"/>
                            <a:gd name="connsiteY91" fmla="*/ 3395207 h 4890052"/>
                            <a:gd name="connsiteX92" fmla="*/ 834887 w 3554233"/>
                            <a:gd name="connsiteY92" fmla="*/ 3395207 h 4890052"/>
                            <a:gd name="connsiteX93" fmla="*/ 850790 w 3554233"/>
                            <a:gd name="connsiteY93" fmla="*/ 3387256 h 4890052"/>
                            <a:gd name="connsiteX94" fmla="*/ 922352 w 3554233"/>
                            <a:gd name="connsiteY94" fmla="*/ 3371353 h 4890052"/>
                            <a:gd name="connsiteX95" fmla="*/ 970059 w 3554233"/>
                            <a:gd name="connsiteY95" fmla="*/ 3387256 h 4890052"/>
                            <a:gd name="connsiteX96" fmla="*/ 1009816 w 3554233"/>
                            <a:gd name="connsiteY96" fmla="*/ 3434963 h 4890052"/>
                            <a:gd name="connsiteX97" fmla="*/ 1033670 w 3554233"/>
                            <a:gd name="connsiteY97" fmla="*/ 3442915 h 4890052"/>
                            <a:gd name="connsiteX98" fmla="*/ 1025719 w 3554233"/>
                            <a:gd name="connsiteY98" fmla="*/ 3482671 h 4890052"/>
                            <a:gd name="connsiteX99" fmla="*/ 1025719 w 3554233"/>
                            <a:gd name="connsiteY99" fmla="*/ 3530379 h 4890052"/>
                            <a:gd name="connsiteX100" fmla="*/ 1041621 w 3554233"/>
                            <a:gd name="connsiteY100" fmla="*/ 3554233 h 4890052"/>
                            <a:gd name="connsiteX101" fmla="*/ 1137037 w 3554233"/>
                            <a:gd name="connsiteY101" fmla="*/ 3562184 h 4890052"/>
                            <a:gd name="connsiteX102" fmla="*/ 1152939 w 3554233"/>
                            <a:gd name="connsiteY102" fmla="*/ 3586038 h 4890052"/>
                            <a:gd name="connsiteX103" fmla="*/ 1168842 w 3554233"/>
                            <a:gd name="connsiteY103" fmla="*/ 3633746 h 4890052"/>
                            <a:gd name="connsiteX104" fmla="*/ 1192696 w 3554233"/>
                            <a:gd name="connsiteY104" fmla="*/ 3641697 h 4890052"/>
                            <a:gd name="connsiteX105" fmla="*/ 1200647 w 3554233"/>
                            <a:gd name="connsiteY105" fmla="*/ 3673503 h 4890052"/>
                            <a:gd name="connsiteX106" fmla="*/ 1288112 w 3554233"/>
                            <a:gd name="connsiteY106" fmla="*/ 3665551 h 4890052"/>
                            <a:gd name="connsiteX107" fmla="*/ 1319917 w 3554233"/>
                            <a:gd name="connsiteY107" fmla="*/ 3673503 h 4890052"/>
                            <a:gd name="connsiteX108" fmla="*/ 1367625 w 3554233"/>
                            <a:gd name="connsiteY108" fmla="*/ 3657600 h 4890052"/>
                            <a:gd name="connsiteX109" fmla="*/ 1391479 w 3554233"/>
                            <a:gd name="connsiteY109" fmla="*/ 3649649 h 4890052"/>
                            <a:gd name="connsiteX110" fmla="*/ 1423284 w 3554233"/>
                            <a:gd name="connsiteY110" fmla="*/ 3657600 h 4890052"/>
                            <a:gd name="connsiteX111" fmla="*/ 1470992 w 3554233"/>
                            <a:gd name="connsiteY111" fmla="*/ 3689405 h 4890052"/>
                            <a:gd name="connsiteX112" fmla="*/ 1486894 w 3554233"/>
                            <a:gd name="connsiteY112" fmla="*/ 3697357 h 4890052"/>
                            <a:gd name="connsiteX113" fmla="*/ 1542553 w 3554233"/>
                            <a:gd name="connsiteY113" fmla="*/ 3681454 h 4890052"/>
                            <a:gd name="connsiteX114" fmla="*/ 1590261 w 3554233"/>
                            <a:gd name="connsiteY114" fmla="*/ 3681454 h 4890052"/>
                            <a:gd name="connsiteX115" fmla="*/ 1645920 w 3554233"/>
                            <a:gd name="connsiteY115" fmla="*/ 3681454 h 4890052"/>
                            <a:gd name="connsiteX116" fmla="*/ 1645920 w 3554233"/>
                            <a:gd name="connsiteY116" fmla="*/ 3681454 h 4890052"/>
                            <a:gd name="connsiteX117" fmla="*/ 1677726 w 3554233"/>
                            <a:gd name="connsiteY117" fmla="*/ 3689405 h 4890052"/>
                            <a:gd name="connsiteX118" fmla="*/ 1709531 w 3554233"/>
                            <a:gd name="connsiteY118" fmla="*/ 3689405 h 4890052"/>
                            <a:gd name="connsiteX119" fmla="*/ 1773141 w 3554233"/>
                            <a:gd name="connsiteY119" fmla="*/ 3721210 h 4890052"/>
                            <a:gd name="connsiteX120" fmla="*/ 1789044 w 3554233"/>
                            <a:gd name="connsiteY120" fmla="*/ 3768918 h 4890052"/>
                            <a:gd name="connsiteX121" fmla="*/ 1796995 w 3554233"/>
                            <a:gd name="connsiteY121" fmla="*/ 3792772 h 4890052"/>
                            <a:gd name="connsiteX122" fmla="*/ 1789044 w 3554233"/>
                            <a:gd name="connsiteY122" fmla="*/ 3848431 h 4890052"/>
                            <a:gd name="connsiteX123" fmla="*/ 1773141 w 3554233"/>
                            <a:gd name="connsiteY123" fmla="*/ 3872285 h 4890052"/>
                            <a:gd name="connsiteX124" fmla="*/ 1804946 w 3554233"/>
                            <a:gd name="connsiteY124" fmla="*/ 3912042 h 4890052"/>
                            <a:gd name="connsiteX125" fmla="*/ 1812898 w 3554233"/>
                            <a:gd name="connsiteY125" fmla="*/ 3935896 h 4890052"/>
                            <a:gd name="connsiteX126" fmla="*/ 1789044 w 3554233"/>
                            <a:gd name="connsiteY126" fmla="*/ 4015409 h 4890052"/>
                            <a:gd name="connsiteX127" fmla="*/ 1741336 w 3554233"/>
                            <a:gd name="connsiteY127" fmla="*/ 4031311 h 4890052"/>
                            <a:gd name="connsiteX128" fmla="*/ 1725433 w 3554233"/>
                            <a:gd name="connsiteY128" fmla="*/ 4055165 h 4890052"/>
                            <a:gd name="connsiteX129" fmla="*/ 1701579 w 3554233"/>
                            <a:gd name="connsiteY129" fmla="*/ 4063117 h 4890052"/>
                            <a:gd name="connsiteX130" fmla="*/ 1693628 w 3554233"/>
                            <a:gd name="connsiteY130" fmla="*/ 4086970 h 4890052"/>
                            <a:gd name="connsiteX131" fmla="*/ 1661823 w 3554233"/>
                            <a:gd name="connsiteY131" fmla="*/ 4110824 h 4890052"/>
                            <a:gd name="connsiteX132" fmla="*/ 1661823 w 3554233"/>
                            <a:gd name="connsiteY132" fmla="*/ 4190337 h 4890052"/>
                            <a:gd name="connsiteX133" fmla="*/ 1701579 w 3554233"/>
                            <a:gd name="connsiteY133" fmla="*/ 4142630 h 4890052"/>
                            <a:gd name="connsiteX134" fmla="*/ 1717482 w 3554233"/>
                            <a:gd name="connsiteY134" fmla="*/ 4158532 h 4890052"/>
                            <a:gd name="connsiteX135" fmla="*/ 1773141 w 3554233"/>
                            <a:gd name="connsiteY135" fmla="*/ 4110824 h 4890052"/>
                            <a:gd name="connsiteX136" fmla="*/ 1796995 w 3554233"/>
                            <a:gd name="connsiteY136" fmla="*/ 4166483 h 4890052"/>
                            <a:gd name="connsiteX137" fmla="*/ 1709531 w 3554233"/>
                            <a:gd name="connsiteY137" fmla="*/ 4214191 h 4890052"/>
                            <a:gd name="connsiteX138" fmla="*/ 1693628 w 3554233"/>
                            <a:gd name="connsiteY138" fmla="*/ 4277802 h 4890052"/>
                            <a:gd name="connsiteX139" fmla="*/ 1630018 w 3554233"/>
                            <a:gd name="connsiteY139" fmla="*/ 4301656 h 4890052"/>
                            <a:gd name="connsiteX140" fmla="*/ 1637969 w 3554233"/>
                            <a:gd name="connsiteY140" fmla="*/ 4325510 h 4890052"/>
                            <a:gd name="connsiteX141" fmla="*/ 1661823 w 3554233"/>
                            <a:gd name="connsiteY141" fmla="*/ 4341412 h 4890052"/>
                            <a:gd name="connsiteX142" fmla="*/ 1709531 w 3554233"/>
                            <a:gd name="connsiteY142" fmla="*/ 4357315 h 4890052"/>
                            <a:gd name="connsiteX143" fmla="*/ 1725433 w 3554233"/>
                            <a:gd name="connsiteY143" fmla="*/ 4381169 h 4890052"/>
                            <a:gd name="connsiteX144" fmla="*/ 1677726 w 3554233"/>
                            <a:gd name="connsiteY144" fmla="*/ 4405023 h 4890052"/>
                            <a:gd name="connsiteX145" fmla="*/ 1653872 w 3554233"/>
                            <a:gd name="connsiteY145" fmla="*/ 4452730 h 4890052"/>
                            <a:gd name="connsiteX146" fmla="*/ 1630018 w 3554233"/>
                            <a:gd name="connsiteY146" fmla="*/ 4540195 h 4890052"/>
                            <a:gd name="connsiteX147" fmla="*/ 1582310 w 3554233"/>
                            <a:gd name="connsiteY147" fmla="*/ 4548146 h 4890052"/>
                            <a:gd name="connsiteX148" fmla="*/ 1558456 w 3554233"/>
                            <a:gd name="connsiteY148" fmla="*/ 4556097 h 4890052"/>
                            <a:gd name="connsiteX149" fmla="*/ 1550505 w 3554233"/>
                            <a:gd name="connsiteY149" fmla="*/ 4587903 h 4890052"/>
                            <a:gd name="connsiteX150" fmla="*/ 1574359 w 3554233"/>
                            <a:gd name="connsiteY150" fmla="*/ 4595854 h 4890052"/>
                            <a:gd name="connsiteX151" fmla="*/ 1653872 w 3554233"/>
                            <a:gd name="connsiteY151" fmla="*/ 4627659 h 4890052"/>
                            <a:gd name="connsiteX152" fmla="*/ 1661823 w 3554233"/>
                            <a:gd name="connsiteY152" fmla="*/ 4651513 h 4890052"/>
                            <a:gd name="connsiteX153" fmla="*/ 1717482 w 3554233"/>
                            <a:gd name="connsiteY153" fmla="*/ 4651513 h 4890052"/>
                            <a:gd name="connsiteX154" fmla="*/ 1781093 w 3554233"/>
                            <a:gd name="connsiteY154" fmla="*/ 4675367 h 4890052"/>
                            <a:gd name="connsiteX155" fmla="*/ 1828800 w 3554233"/>
                            <a:gd name="connsiteY155" fmla="*/ 4683318 h 4890052"/>
                            <a:gd name="connsiteX156" fmla="*/ 1892411 w 3554233"/>
                            <a:gd name="connsiteY156" fmla="*/ 4707172 h 4890052"/>
                            <a:gd name="connsiteX157" fmla="*/ 1940119 w 3554233"/>
                            <a:gd name="connsiteY157" fmla="*/ 4746929 h 4890052"/>
                            <a:gd name="connsiteX158" fmla="*/ 1987826 w 3554233"/>
                            <a:gd name="connsiteY158" fmla="*/ 4762831 h 4890052"/>
                            <a:gd name="connsiteX159" fmla="*/ 2019632 w 3554233"/>
                            <a:gd name="connsiteY159" fmla="*/ 4786685 h 4890052"/>
                            <a:gd name="connsiteX160" fmla="*/ 2043486 w 3554233"/>
                            <a:gd name="connsiteY160" fmla="*/ 4778734 h 4890052"/>
                            <a:gd name="connsiteX161" fmla="*/ 2107096 w 3554233"/>
                            <a:gd name="connsiteY161" fmla="*/ 4754880 h 4890052"/>
                            <a:gd name="connsiteX162" fmla="*/ 2130950 w 3554233"/>
                            <a:gd name="connsiteY162" fmla="*/ 4746929 h 4890052"/>
                            <a:gd name="connsiteX163" fmla="*/ 2186609 w 3554233"/>
                            <a:gd name="connsiteY163" fmla="*/ 4762831 h 4890052"/>
                            <a:gd name="connsiteX164" fmla="*/ 2258171 w 3554233"/>
                            <a:gd name="connsiteY164" fmla="*/ 4778734 h 4890052"/>
                            <a:gd name="connsiteX165" fmla="*/ 2305879 w 3554233"/>
                            <a:gd name="connsiteY165" fmla="*/ 4762831 h 4890052"/>
                            <a:gd name="connsiteX166" fmla="*/ 2305879 w 3554233"/>
                            <a:gd name="connsiteY166" fmla="*/ 4762831 h 4890052"/>
                            <a:gd name="connsiteX167" fmla="*/ 2377440 w 3554233"/>
                            <a:gd name="connsiteY167" fmla="*/ 4754880 h 4890052"/>
                            <a:gd name="connsiteX168" fmla="*/ 2401294 w 3554233"/>
                            <a:gd name="connsiteY168" fmla="*/ 4738977 h 4890052"/>
                            <a:gd name="connsiteX169" fmla="*/ 2456953 w 3554233"/>
                            <a:gd name="connsiteY169" fmla="*/ 4754880 h 4890052"/>
                            <a:gd name="connsiteX170" fmla="*/ 2512613 w 3554233"/>
                            <a:gd name="connsiteY170" fmla="*/ 4770783 h 4890052"/>
                            <a:gd name="connsiteX171" fmla="*/ 2536466 w 3554233"/>
                            <a:gd name="connsiteY171" fmla="*/ 4786685 h 4890052"/>
                            <a:gd name="connsiteX172" fmla="*/ 2592126 w 3554233"/>
                            <a:gd name="connsiteY172" fmla="*/ 4794637 h 4890052"/>
                            <a:gd name="connsiteX173" fmla="*/ 2615979 w 3554233"/>
                            <a:gd name="connsiteY173" fmla="*/ 4762831 h 4890052"/>
                            <a:gd name="connsiteX174" fmla="*/ 2655736 w 3554233"/>
                            <a:gd name="connsiteY174" fmla="*/ 4754880 h 4890052"/>
                            <a:gd name="connsiteX175" fmla="*/ 2695493 w 3554233"/>
                            <a:gd name="connsiteY175" fmla="*/ 4746929 h 4890052"/>
                            <a:gd name="connsiteX176" fmla="*/ 2711395 w 3554233"/>
                            <a:gd name="connsiteY176" fmla="*/ 4738977 h 4890052"/>
                            <a:gd name="connsiteX177" fmla="*/ 2711395 w 3554233"/>
                            <a:gd name="connsiteY177" fmla="*/ 4738977 h 4890052"/>
                            <a:gd name="connsiteX178" fmla="*/ 2775006 w 3554233"/>
                            <a:gd name="connsiteY178" fmla="*/ 4738977 h 4890052"/>
                            <a:gd name="connsiteX179" fmla="*/ 2806811 w 3554233"/>
                            <a:gd name="connsiteY179" fmla="*/ 4762831 h 4890052"/>
                            <a:gd name="connsiteX180" fmla="*/ 2854519 w 3554233"/>
                            <a:gd name="connsiteY180" fmla="*/ 4810539 h 4890052"/>
                            <a:gd name="connsiteX181" fmla="*/ 2910178 w 3554233"/>
                            <a:gd name="connsiteY181" fmla="*/ 4810539 h 4890052"/>
                            <a:gd name="connsiteX182" fmla="*/ 2949934 w 3554233"/>
                            <a:gd name="connsiteY182" fmla="*/ 4826442 h 4890052"/>
                            <a:gd name="connsiteX183" fmla="*/ 3013545 w 3554233"/>
                            <a:gd name="connsiteY183" fmla="*/ 4842344 h 4890052"/>
                            <a:gd name="connsiteX184" fmla="*/ 3045350 w 3554233"/>
                            <a:gd name="connsiteY184" fmla="*/ 4842344 h 4890052"/>
                            <a:gd name="connsiteX185" fmla="*/ 3077155 w 3554233"/>
                            <a:gd name="connsiteY185" fmla="*/ 4866198 h 4890052"/>
                            <a:gd name="connsiteX186" fmla="*/ 3101009 w 3554233"/>
                            <a:gd name="connsiteY186" fmla="*/ 4890052 h 4890052"/>
                            <a:gd name="connsiteX187" fmla="*/ 3156668 w 3554233"/>
                            <a:gd name="connsiteY187" fmla="*/ 4842344 h 4890052"/>
                            <a:gd name="connsiteX188" fmla="*/ 3156668 w 3554233"/>
                            <a:gd name="connsiteY188" fmla="*/ 4794637 h 4890052"/>
                            <a:gd name="connsiteX189" fmla="*/ 3180522 w 3554233"/>
                            <a:gd name="connsiteY189" fmla="*/ 4778734 h 4890052"/>
                            <a:gd name="connsiteX190" fmla="*/ 3188473 w 3554233"/>
                            <a:gd name="connsiteY190" fmla="*/ 4746929 h 4890052"/>
                            <a:gd name="connsiteX191" fmla="*/ 3204376 w 3554233"/>
                            <a:gd name="connsiteY191" fmla="*/ 4731026 h 4890052"/>
                            <a:gd name="connsiteX192" fmla="*/ 3236181 w 3554233"/>
                            <a:gd name="connsiteY192" fmla="*/ 4738977 h 4890052"/>
                            <a:gd name="connsiteX193" fmla="*/ 3188473 w 3554233"/>
                            <a:gd name="connsiteY193" fmla="*/ 4699221 h 4890052"/>
                            <a:gd name="connsiteX194" fmla="*/ 3180522 w 3554233"/>
                            <a:gd name="connsiteY194" fmla="*/ 4683318 h 4890052"/>
                            <a:gd name="connsiteX195" fmla="*/ 3069204 w 3554233"/>
                            <a:gd name="connsiteY195" fmla="*/ 4619708 h 4890052"/>
                            <a:gd name="connsiteX196" fmla="*/ 3021496 w 3554233"/>
                            <a:gd name="connsiteY196" fmla="*/ 4587903 h 4890052"/>
                            <a:gd name="connsiteX197" fmla="*/ 3013545 w 3554233"/>
                            <a:gd name="connsiteY197" fmla="*/ 4564049 h 4890052"/>
                            <a:gd name="connsiteX198" fmla="*/ 2997642 w 3554233"/>
                            <a:gd name="connsiteY198" fmla="*/ 4540195 h 4890052"/>
                            <a:gd name="connsiteX199" fmla="*/ 2981739 w 3554233"/>
                            <a:gd name="connsiteY199" fmla="*/ 4500438 h 4890052"/>
                            <a:gd name="connsiteX200" fmla="*/ 2949934 w 3554233"/>
                            <a:gd name="connsiteY200" fmla="*/ 4436828 h 4890052"/>
                            <a:gd name="connsiteX201" fmla="*/ 2926080 w 3554233"/>
                            <a:gd name="connsiteY201" fmla="*/ 4420925 h 4890052"/>
                            <a:gd name="connsiteX202" fmla="*/ 2894275 w 3554233"/>
                            <a:gd name="connsiteY202" fmla="*/ 4389120 h 4890052"/>
                            <a:gd name="connsiteX203" fmla="*/ 2886324 w 3554233"/>
                            <a:gd name="connsiteY203" fmla="*/ 4365266 h 4890052"/>
                            <a:gd name="connsiteX204" fmla="*/ 2838616 w 3554233"/>
                            <a:gd name="connsiteY204" fmla="*/ 4357315 h 4890052"/>
                            <a:gd name="connsiteX205" fmla="*/ 2814762 w 3554233"/>
                            <a:gd name="connsiteY205" fmla="*/ 4349363 h 4890052"/>
                            <a:gd name="connsiteX206" fmla="*/ 2814762 w 3554233"/>
                            <a:gd name="connsiteY206" fmla="*/ 4349363 h 4890052"/>
                            <a:gd name="connsiteX207" fmla="*/ 2798859 w 3554233"/>
                            <a:gd name="connsiteY207" fmla="*/ 4301656 h 4890052"/>
                            <a:gd name="connsiteX208" fmla="*/ 2830665 w 3554233"/>
                            <a:gd name="connsiteY208" fmla="*/ 4277802 h 4890052"/>
                            <a:gd name="connsiteX209" fmla="*/ 2838616 w 3554233"/>
                            <a:gd name="connsiteY209" fmla="*/ 4206240 h 4890052"/>
                            <a:gd name="connsiteX210" fmla="*/ 2822713 w 3554233"/>
                            <a:gd name="connsiteY210" fmla="*/ 4142630 h 4890052"/>
                            <a:gd name="connsiteX211" fmla="*/ 2838616 w 3554233"/>
                            <a:gd name="connsiteY211" fmla="*/ 4118776 h 4890052"/>
                            <a:gd name="connsiteX212" fmla="*/ 2846567 w 3554233"/>
                            <a:gd name="connsiteY212" fmla="*/ 4071068 h 4890052"/>
                            <a:gd name="connsiteX213" fmla="*/ 2870421 w 3554233"/>
                            <a:gd name="connsiteY213" fmla="*/ 4079019 h 4890052"/>
                            <a:gd name="connsiteX214" fmla="*/ 2878373 w 3554233"/>
                            <a:gd name="connsiteY214" fmla="*/ 4079019 h 4890052"/>
                            <a:gd name="connsiteX215" fmla="*/ 2918129 w 3554233"/>
                            <a:gd name="connsiteY215" fmla="*/ 4039263 h 4890052"/>
                            <a:gd name="connsiteX216" fmla="*/ 2957886 w 3554233"/>
                            <a:gd name="connsiteY216" fmla="*/ 3983603 h 4890052"/>
                            <a:gd name="connsiteX217" fmla="*/ 2926080 w 3554233"/>
                            <a:gd name="connsiteY217" fmla="*/ 3975652 h 4890052"/>
                            <a:gd name="connsiteX218" fmla="*/ 2989691 w 3554233"/>
                            <a:gd name="connsiteY218" fmla="*/ 3951798 h 4890052"/>
                            <a:gd name="connsiteX219" fmla="*/ 2997642 w 3554233"/>
                            <a:gd name="connsiteY219" fmla="*/ 3927944 h 4890052"/>
                            <a:gd name="connsiteX220" fmla="*/ 2926080 w 3554233"/>
                            <a:gd name="connsiteY220" fmla="*/ 3896139 h 4890052"/>
                            <a:gd name="connsiteX221" fmla="*/ 2902226 w 3554233"/>
                            <a:gd name="connsiteY221" fmla="*/ 3888188 h 4890052"/>
                            <a:gd name="connsiteX222" fmla="*/ 2886324 w 3554233"/>
                            <a:gd name="connsiteY222" fmla="*/ 3880237 h 4890052"/>
                            <a:gd name="connsiteX223" fmla="*/ 2870421 w 3554233"/>
                            <a:gd name="connsiteY223" fmla="*/ 3808675 h 4890052"/>
                            <a:gd name="connsiteX224" fmla="*/ 2846567 w 3554233"/>
                            <a:gd name="connsiteY224" fmla="*/ 3792772 h 4890052"/>
                            <a:gd name="connsiteX225" fmla="*/ 2806811 w 3554233"/>
                            <a:gd name="connsiteY225" fmla="*/ 3760967 h 4890052"/>
                            <a:gd name="connsiteX226" fmla="*/ 2798859 w 3554233"/>
                            <a:gd name="connsiteY226" fmla="*/ 3713259 h 4890052"/>
                            <a:gd name="connsiteX227" fmla="*/ 2727298 w 3554233"/>
                            <a:gd name="connsiteY227" fmla="*/ 3713259 h 4890052"/>
                            <a:gd name="connsiteX228" fmla="*/ 2703444 w 3554233"/>
                            <a:gd name="connsiteY228" fmla="*/ 3729162 h 4890052"/>
                            <a:gd name="connsiteX229" fmla="*/ 2679590 w 3554233"/>
                            <a:gd name="connsiteY229" fmla="*/ 3753016 h 4890052"/>
                            <a:gd name="connsiteX230" fmla="*/ 2663687 w 3554233"/>
                            <a:gd name="connsiteY230" fmla="*/ 3729162 h 4890052"/>
                            <a:gd name="connsiteX231" fmla="*/ 2655736 w 3554233"/>
                            <a:gd name="connsiteY231" fmla="*/ 3705308 h 4890052"/>
                            <a:gd name="connsiteX232" fmla="*/ 2631882 w 3554233"/>
                            <a:gd name="connsiteY232" fmla="*/ 3697357 h 4890052"/>
                            <a:gd name="connsiteX233" fmla="*/ 2552369 w 3554233"/>
                            <a:gd name="connsiteY233" fmla="*/ 3673503 h 4890052"/>
                            <a:gd name="connsiteX234" fmla="*/ 2544418 w 3554233"/>
                            <a:gd name="connsiteY234" fmla="*/ 3570136 h 4890052"/>
                            <a:gd name="connsiteX235" fmla="*/ 2568272 w 3554233"/>
                            <a:gd name="connsiteY235" fmla="*/ 3554233 h 4890052"/>
                            <a:gd name="connsiteX236" fmla="*/ 2560320 w 3554233"/>
                            <a:gd name="connsiteY236" fmla="*/ 3530379 h 4890052"/>
                            <a:gd name="connsiteX237" fmla="*/ 2536466 w 3554233"/>
                            <a:gd name="connsiteY237" fmla="*/ 3514477 h 4890052"/>
                            <a:gd name="connsiteX238" fmla="*/ 2512613 w 3554233"/>
                            <a:gd name="connsiteY238" fmla="*/ 3490623 h 4890052"/>
                            <a:gd name="connsiteX239" fmla="*/ 2504661 w 3554233"/>
                            <a:gd name="connsiteY239" fmla="*/ 3466769 h 4890052"/>
                            <a:gd name="connsiteX240" fmla="*/ 2504661 w 3554233"/>
                            <a:gd name="connsiteY240" fmla="*/ 3387256 h 4890052"/>
                            <a:gd name="connsiteX241" fmla="*/ 2536466 w 3554233"/>
                            <a:gd name="connsiteY241" fmla="*/ 3339548 h 4890052"/>
                            <a:gd name="connsiteX242" fmla="*/ 2512613 w 3554233"/>
                            <a:gd name="connsiteY242" fmla="*/ 3315694 h 4890052"/>
                            <a:gd name="connsiteX243" fmla="*/ 2592126 w 3554233"/>
                            <a:gd name="connsiteY243" fmla="*/ 3283889 h 4890052"/>
                            <a:gd name="connsiteX244" fmla="*/ 2615979 w 3554233"/>
                            <a:gd name="connsiteY244" fmla="*/ 3299791 h 4890052"/>
                            <a:gd name="connsiteX245" fmla="*/ 2655736 w 3554233"/>
                            <a:gd name="connsiteY245" fmla="*/ 3331597 h 4890052"/>
                            <a:gd name="connsiteX246" fmla="*/ 2679590 w 3554233"/>
                            <a:gd name="connsiteY246" fmla="*/ 3323645 h 4890052"/>
                            <a:gd name="connsiteX247" fmla="*/ 2687541 w 3554233"/>
                            <a:gd name="connsiteY247" fmla="*/ 3252083 h 4890052"/>
                            <a:gd name="connsiteX248" fmla="*/ 2663687 w 3554233"/>
                            <a:gd name="connsiteY248" fmla="*/ 3236181 h 4890052"/>
                            <a:gd name="connsiteX249" fmla="*/ 2639833 w 3554233"/>
                            <a:gd name="connsiteY249" fmla="*/ 3188473 h 4890052"/>
                            <a:gd name="connsiteX250" fmla="*/ 2663687 w 3554233"/>
                            <a:gd name="connsiteY250" fmla="*/ 3172570 h 4890052"/>
                            <a:gd name="connsiteX251" fmla="*/ 2687541 w 3554233"/>
                            <a:gd name="connsiteY251" fmla="*/ 3124863 h 4890052"/>
                            <a:gd name="connsiteX252" fmla="*/ 2695493 w 3554233"/>
                            <a:gd name="connsiteY252" fmla="*/ 3069203 h 4890052"/>
                            <a:gd name="connsiteX253" fmla="*/ 2727298 w 3554233"/>
                            <a:gd name="connsiteY253" fmla="*/ 3021496 h 4890052"/>
                            <a:gd name="connsiteX254" fmla="*/ 2743200 w 3554233"/>
                            <a:gd name="connsiteY254" fmla="*/ 2997642 h 4890052"/>
                            <a:gd name="connsiteX255" fmla="*/ 2759103 w 3554233"/>
                            <a:gd name="connsiteY255" fmla="*/ 2973788 h 4890052"/>
                            <a:gd name="connsiteX256" fmla="*/ 2782957 w 3554233"/>
                            <a:gd name="connsiteY256" fmla="*/ 2918129 h 4890052"/>
                            <a:gd name="connsiteX257" fmla="*/ 2830665 w 3554233"/>
                            <a:gd name="connsiteY257" fmla="*/ 2902226 h 4890052"/>
                            <a:gd name="connsiteX258" fmla="*/ 2854519 w 3554233"/>
                            <a:gd name="connsiteY258" fmla="*/ 2918129 h 4890052"/>
                            <a:gd name="connsiteX259" fmla="*/ 2910178 w 3554233"/>
                            <a:gd name="connsiteY259" fmla="*/ 2862470 h 4890052"/>
                            <a:gd name="connsiteX260" fmla="*/ 2957886 w 3554233"/>
                            <a:gd name="connsiteY260" fmla="*/ 2838616 h 4890052"/>
                            <a:gd name="connsiteX261" fmla="*/ 2981739 w 3554233"/>
                            <a:gd name="connsiteY261" fmla="*/ 2846567 h 4890052"/>
                            <a:gd name="connsiteX262" fmla="*/ 3005593 w 3554233"/>
                            <a:gd name="connsiteY262" fmla="*/ 2862470 h 4890052"/>
                            <a:gd name="connsiteX263" fmla="*/ 3029447 w 3554233"/>
                            <a:gd name="connsiteY263" fmla="*/ 2854518 h 4890052"/>
                            <a:gd name="connsiteX264" fmla="*/ 3101009 w 3554233"/>
                            <a:gd name="connsiteY264" fmla="*/ 2838616 h 4890052"/>
                            <a:gd name="connsiteX265" fmla="*/ 3148717 w 3554233"/>
                            <a:gd name="connsiteY265" fmla="*/ 2854518 h 4890052"/>
                            <a:gd name="connsiteX266" fmla="*/ 3172571 w 3554233"/>
                            <a:gd name="connsiteY266" fmla="*/ 2870421 h 4890052"/>
                            <a:gd name="connsiteX267" fmla="*/ 3196425 w 3554233"/>
                            <a:gd name="connsiteY267" fmla="*/ 2878372 h 4890052"/>
                            <a:gd name="connsiteX268" fmla="*/ 3252084 w 3554233"/>
                            <a:gd name="connsiteY268" fmla="*/ 2926080 h 4890052"/>
                            <a:gd name="connsiteX269" fmla="*/ 3275938 w 3554233"/>
                            <a:gd name="connsiteY269" fmla="*/ 2918129 h 4890052"/>
                            <a:gd name="connsiteX270" fmla="*/ 3244133 w 3554233"/>
                            <a:gd name="connsiteY270" fmla="*/ 2870421 h 4890052"/>
                            <a:gd name="connsiteX271" fmla="*/ 3355451 w 3554233"/>
                            <a:gd name="connsiteY271" fmla="*/ 2846567 h 4890052"/>
                            <a:gd name="connsiteX272" fmla="*/ 3371353 w 3554233"/>
                            <a:gd name="connsiteY272" fmla="*/ 2822713 h 4890052"/>
                            <a:gd name="connsiteX273" fmla="*/ 3403159 w 3554233"/>
                            <a:gd name="connsiteY273" fmla="*/ 2751151 h 4890052"/>
                            <a:gd name="connsiteX274" fmla="*/ 3450866 w 3554233"/>
                            <a:gd name="connsiteY274" fmla="*/ 2719346 h 4890052"/>
                            <a:gd name="connsiteX275" fmla="*/ 3474720 w 3554233"/>
                            <a:gd name="connsiteY275" fmla="*/ 2703443 h 4890052"/>
                            <a:gd name="connsiteX276" fmla="*/ 3538331 w 3554233"/>
                            <a:gd name="connsiteY276" fmla="*/ 2703443 h 4890052"/>
                            <a:gd name="connsiteX277" fmla="*/ 3554233 w 3554233"/>
                            <a:gd name="connsiteY277" fmla="*/ 2655736 h 4890052"/>
                            <a:gd name="connsiteX278" fmla="*/ 3554233 w 3554233"/>
                            <a:gd name="connsiteY278" fmla="*/ 1892410 h 4890052"/>
                            <a:gd name="connsiteX279" fmla="*/ 3403159 w 3554233"/>
                            <a:gd name="connsiteY279" fmla="*/ 1637969 h 4890052"/>
                            <a:gd name="connsiteX280" fmla="*/ 3228230 w 3554233"/>
                            <a:gd name="connsiteY280" fmla="*/ 1383527 h 4890052"/>
                            <a:gd name="connsiteX281" fmla="*/ 2965837 w 3554233"/>
                            <a:gd name="connsiteY281" fmla="*/ 1017767 h 4890052"/>
                            <a:gd name="connsiteX282" fmla="*/ 2735249 w 3554233"/>
                            <a:gd name="connsiteY282" fmla="*/ 747423 h 4890052"/>
                            <a:gd name="connsiteX283" fmla="*/ 2425148 w 3554233"/>
                            <a:gd name="connsiteY283" fmla="*/ 453224 h 4890052"/>
                            <a:gd name="connsiteX284" fmla="*/ 2138901 w 3554233"/>
                            <a:gd name="connsiteY284" fmla="*/ 230588 h 4890052"/>
                            <a:gd name="connsiteX285" fmla="*/ 1884459 w 3554233"/>
                            <a:gd name="connsiteY285" fmla="*/ 71562 h 4890052"/>
                            <a:gd name="connsiteX286" fmla="*/ 1765190 w 3554233"/>
                            <a:gd name="connsiteY286" fmla="*/ 0 h 4890052"/>
                            <a:gd name="connsiteX287" fmla="*/ 1685677 w 3554233"/>
                            <a:gd name="connsiteY287" fmla="*/ 0 h 4890052"/>
                            <a:gd name="connsiteX288" fmla="*/ 1661823 w 3554233"/>
                            <a:gd name="connsiteY288" fmla="*/ 23854 h 4890052"/>
                            <a:gd name="connsiteX289" fmla="*/ 1606164 w 3554233"/>
                            <a:gd name="connsiteY289" fmla="*/ 71562 h 4890052"/>
                            <a:gd name="connsiteX290" fmla="*/ 1582310 w 3554233"/>
                            <a:gd name="connsiteY290" fmla="*/ 87464 h 4890052"/>
                            <a:gd name="connsiteX291" fmla="*/ 1598213 w 3554233"/>
                            <a:gd name="connsiteY291" fmla="*/ 63610 h 4890052"/>
                            <a:gd name="connsiteX292" fmla="*/ 1526651 w 3554233"/>
                            <a:gd name="connsiteY292" fmla="*/ 23854 h 4890052"/>
                            <a:gd name="connsiteX293" fmla="*/ 1502797 w 3554233"/>
                            <a:gd name="connsiteY293" fmla="*/ 39757 h 4890052"/>
                            <a:gd name="connsiteX294" fmla="*/ 1534602 w 3554233"/>
                            <a:gd name="connsiteY294" fmla="*/ 87464 h 4890052"/>
                            <a:gd name="connsiteX295" fmla="*/ 1510748 w 3554233"/>
                            <a:gd name="connsiteY295" fmla="*/ 103367 h 4890052"/>
                            <a:gd name="connsiteX296" fmla="*/ 1478943 w 3554233"/>
                            <a:gd name="connsiteY296" fmla="*/ 95416 h 4890052"/>
                            <a:gd name="connsiteX297" fmla="*/ 1463040 w 3554233"/>
                            <a:gd name="connsiteY297" fmla="*/ 119270 h 4890052"/>
                            <a:gd name="connsiteX298" fmla="*/ 1423284 w 3554233"/>
                            <a:gd name="connsiteY298" fmla="*/ 159026 h 4890052"/>
                            <a:gd name="connsiteX299" fmla="*/ 1391479 w 3554233"/>
                            <a:gd name="connsiteY299" fmla="*/ 246490 h 4890052"/>
                            <a:gd name="connsiteX300" fmla="*/ 1383527 w 3554233"/>
                            <a:gd name="connsiteY300" fmla="*/ 278296 h 4890052"/>
                            <a:gd name="connsiteX301" fmla="*/ 1335819 w 3554233"/>
                            <a:gd name="connsiteY301" fmla="*/ 278296 h 4890052"/>
                            <a:gd name="connsiteX302" fmla="*/ 1383527 w 3554233"/>
                            <a:gd name="connsiteY302" fmla="*/ 310101 h 4890052"/>
                            <a:gd name="connsiteX303" fmla="*/ 1335819 w 3554233"/>
                            <a:gd name="connsiteY303" fmla="*/ 326003 h 4890052"/>
                            <a:gd name="connsiteX304" fmla="*/ 1319917 w 3554233"/>
                            <a:gd name="connsiteY304" fmla="*/ 365760 h 4890052"/>
                            <a:gd name="connsiteX305" fmla="*/ 1335819 w 3554233"/>
                            <a:gd name="connsiteY305" fmla="*/ 461176 h 4890052"/>
                            <a:gd name="connsiteX306" fmla="*/ 1335819 w 3554233"/>
                            <a:gd name="connsiteY306" fmla="*/ 492981 h 4890052"/>
                            <a:gd name="connsiteX307" fmla="*/ 1272209 w 3554233"/>
                            <a:gd name="connsiteY307" fmla="*/ 524786 h 4890052"/>
                            <a:gd name="connsiteX308" fmla="*/ 1224501 w 3554233"/>
                            <a:gd name="connsiteY308" fmla="*/ 540689 h 4890052"/>
                            <a:gd name="connsiteX309" fmla="*/ 1176793 w 3554233"/>
                            <a:gd name="connsiteY309" fmla="*/ 508883 h 4890052"/>
                            <a:gd name="connsiteX310" fmla="*/ 1160891 w 3554233"/>
                            <a:gd name="connsiteY310" fmla="*/ 485030 h 4890052"/>
                            <a:gd name="connsiteX311" fmla="*/ 1137037 w 3554233"/>
                            <a:gd name="connsiteY311" fmla="*/ 477078 h 4890052"/>
                            <a:gd name="connsiteX312" fmla="*/ 1160891 w 3554233"/>
                            <a:gd name="connsiteY312" fmla="*/ 389614 h 4890052"/>
                            <a:gd name="connsiteX313" fmla="*/ 1184745 w 3554233"/>
                            <a:gd name="connsiteY313" fmla="*/ 381663 h 4890052"/>
                            <a:gd name="connsiteX314" fmla="*/ 1208599 w 3554233"/>
                            <a:gd name="connsiteY314" fmla="*/ 365760 h 4890052"/>
                            <a:gd name="connsiteX315" fmla="*/ 1176793 w 3554233"/>
                            <a:gd name="connsiteY315" fmla="*/ 333955 h 4890052"/>
                            <a:gd name="connsiteX316" fmla="*/ 1160891 w 3554233"/>
                            <a:gd name="connsiteY316" fmla="*/ 302150 h 4890052"/>
                            <a:gd name="connsiteX317" fmla="*/ 1025719 w 3554233"/>
                            <a:gd name="connsiteY317" fmla="*/ 286247 h 4890052"/>
                            <a:gd name="connsiteX318" fmla="*/ 978011 w 3554233"/>
                            <a:gd name="connsiteY318" fmla="*/ 278296 h 4890052"/>
                            <a:gd name="connsiteX319" fmla="*/ 985962 w 3554233"/>
                            <a:gd name="connsiteY319" fmla="*/ 310101 h 4890052"/>
                            <a:gd name="connsiteX320" fmla="*/ 1033670 w 3554233"/>
                            <a:gd name="connsiteY320" fmla="*/ 326003 h 4890052"/>
                            <a:gd name="connsiteX321" fmla="*/ 1049573 w 3554233"/>
                            <a:gd name="connsiteY321" fmla="*/ 373711 h 4890052"/>
                            <a:gd name="connsiteX322" fmla="*/ 1057524 w 3554233"/>
                            <a:gd name="connsiteY322" fmla="*/ 397565 h 4890052"/>
                            <a:gd name="connsiteX323" fmla="*/ 1073426 w 3554233"/>
                            <a:gd name="connsiteY323" fmla="*/ 461176 h 4890052"/>
                            <a:gd name="connsiteX324" fmla="*/ 1081378 w 3554233"/>
                            <a:gd name="connsiteY324" fmla="*/ 516835 h 4890052"/>
                            <a:gd name="connsiteX325" fmla="*/ 1089329 w 3554233"/>
                            <a:gd name="connsiteY325" fmla="*/ 540689 h 4890052"/>
                            <a:gd name="connsiteX326" fmla="*/ 1121134 w 3554233"/>
                            <a:gd name="connsiteY326" fmla="*/ 548640 h 4890052"/>
                            <a:gd name="connsiteX327" fmla="*/ 1144988 w 3554233"/>
                            <a:gd name="connsiteY327" fmla="*/ 612250 h 4890052"/>
                            <a:gd name="connsiteX328" fmla="*/ 1160891 w 3554233"/>
                            <a:gd name="connsiteY328" fmla="*/ 699715 h 4890052"/>
                            <a:gd name="connsiteX329" fmla="*/ 1137037 w 3554233"/>
                            <a:gd name="connsiteY329" fmla="*/ 715617 h 4890052"/>
                            <a:gd name="connsiteX330" fmla="*/ 1065475 w 3554233"/>
                            <a:gd name="connsiteY330" fmla="*/ 691763 h 4890052"/>
                            <a:gd name="connsiteX331" fmla="*/ 1041621 w 3554233"/>
                            <a:gd name="connsiteY331" fmla="*/ 683812 h 4890052"/>
                            <a:gd name="connsiteX332" fmla="*/ 1017767 w 3554233"/>
                            <a:gd name="connsiteY332" fmla="*/ 675861 h 4890052"/>
                            <a:gd name="connsiteX333" fmla="*/ 1001865 w 3554233"/>
                            <a:gd name="connsiteY333" fmla="*/ 699715 h 4890052"/>
                            <a:gd name="connsiteX334" fmla="*/ 993913 w 3554233"/>
                            <a:gd name="connsiteY334" fmla="*/ 755374 h 4890052"/>
                            <a:gd name="connsiteX335" fmla="*/ 970059 w 3554233"/>
                            <a:gd name="connsiteY335" fmla="*/ 771277 h 4890052"/>
                            <a:gd name="connsiteX336" fmla="*/ 962108 w 3554233"/>
                            <a:gd name="connsiteY336" fmla="*/ 795130 h 4890052"/>
                            <a:gd name="connsiteX337" fmla="*/ 938254 w 3554233"/>
                            <a:gd name="connsiteY337" fmla="*/ 803082 h 4890052"/>
                            <a:gd name="connsiteX338" fmla="*/ 930303 w 3554233"/>
                            <a:gd name="connsiteY338" fmla="*/ 842838 h 4890052"/>
                            <a:gd name="connsiteX339" fmla="*/ 914400 w 3554233"/>
                            <a:gd name="connsiteY339" fmla="*/ 866692 h 4890052"/>
                            <a:gd name="connsiteX340" fmla="*/ 922352 w 3554233"/>
                            <a:gd name="connsiteY340" fmla="*/ 930303 h 4890052"/>
                            <a:gd name="connsiteX341" fmla="*/ 970059 w 3554233"/>
                            <a:gd name="connsiteY341" fmla="*/ 962108 h 4890052"/>
                            <a:gd name="connsiteX342" fmla="*/ 985962 w 3554233"/>
                            <a:gd name="connsiteY342" fmla="*/ 985962 h 4890052"/>
                            <a:gd name="connsiteX343" fmla="*/ 993913 w 3554233"/>
                            <a:gd name="connsiteY343" fmla="*/ 1073426 h 4890052"/>
                            <a:gd name="connsiteX344" fmla="*/ 970059 w 3554233"/>
                            <a:gd name="connsiteY344" fmla="*/ 1057523 h 4890052"/>
                            <a:gd name="connsiteX345" fmla="*/ 882595 w 3554233"/>
                            <a:gd name="connsiteY345" fmla="*/ 1073426 h 4890052"/>
                            <a:gd name="connsiteX346" fmla="*/ 866693 w 3554233"/>
                            <a:gd name="connsiteY346" fmla="*/ 1057523 h 4890052"/>
                            <a:gd name="connsiteX347" fmla="*/ 755374 w 3554233"/>
                            <a:gd name="connsiteY347" fmla="*/ 1041621 h 4890052"/>
                            <a:gd name="connsiteX348" fmla="*/ 731520 w 3554233"/>
                            <a:gd name="connsiteY348" fmla="*/ 1025718 h 4890052"/>
                            <a:gd name="connsiteX349" fmla="*/ 707666 w 3554233"/>
                            <a:gd name="connsiteY349" fmla="*/ 1097280 h 4890052"/>
                            <a:gd name="connsiteX350" fmla="*/ 731520 w 3554233"/>
                            <a:gd name="connsiteY350" fmla="*/ 1105231 h 4890052"/>
                            <a:gd name="connsiteX351" fmla="*/ 739472 w 3554233"/>
                            <a:gd name="connsiteY351" fmla="*/ 1129085 h 4890052"/>
                            <a:gd name="connsiteX352" fmla="*/ 787179 w 3554233"/>
                            <a:gd name="connsiteY352" fmla="*/ 1152939 h 4890052"/>
                            <a:gd name="connsiteX353" fmla="*/ 834887 w 3554233"/>
                            <a:gd name="connsiteY353" fmla="*/ 1152939 h 4890052"/>
                            <a:gd name="connsiteX354" fmla="*/ 850790 w 3554233"/>
                            <a:gd name="connsiteY354" fmla="*/ 1200647 h 4890052"/>
                            <a:gd name="connsiteX355" fmla="*/ 811033 w 3554233"/>
                            <a:gd name="connsiteY355" fmla="*/ 1256306 h 4890052"/>
                            <a:gd name="connsiteX356" fmla="*/ 763326 w 3554233"/>
                            <a:gd name="connsiteY356" fmla="*/ 1240403 h 4890052"/>
                            <a:gd name="connsiteX357" fmla="*/ 699715 w 3554233"/>
                            <a:gd name="connsiteY357" fmla="*/ 1232452 h 4890052"/>
                            <a:gd name="connsiteX358" fmla="*/ 675861 w 3554233"/>
                            <a:gd name="connsiteY358" fmla="*/ 1208598 h 4890052"/>
                            <a:gd name="connsiteX359" fmla="*/ 628153 w 3554233"/>
                            <a:gd name="connsiteY359" fmla="*/ 1192696 h 4890052"/>
                            <a:gd name="connsiteX360" fmla="*/ 572494 w 3554233"/>
                            <a:gd name="connsiteY360" fmla="*/ 1176793 h 4890052"/>
                            <a:gd name="connsiteX361" fmla="*/ 556592 w 3554233"/>
                            <a:gd name="connsiteY361" fmla="*/ 1121134 h 4890052"/>
                            <a:gd name="connsiteX362" fmla="*/ 548640 w 3554233"/>
                            <a:gd name="connsiteY362" fmla="*/ 1081377 h 4890052"/>
                            <a:gd name="connsiteX363" fmla="*/ 524786 w 3554233"/>
                            <a:gd name="connsiteY363" fmla="*/ 1065475 h 4890052"/>
                            <a:gd name="connsiteX364" fmla="*/ 516835 w 3554233"/>
                            <a:gd name="connsiteY364" fmla="*/ 1041621 h 4890052"/>
                            <a:gd name="connsiteX365" fmla="*/ 532738 w 3554233"/>
                            <a:gd name="connsiteY365" fmla="*/ 993913 h 4890052"/>
                            <a:gd name="connsiteX366" fmla="*/ 492981 w 3554233"/>
                            <a:gd name="connsiteY366" fmla="*/ 930303 h 4890052"/>
                            <a:gd name="connsiteX367" fmla="*/ 437322 w 3554233"/>
                            <a:gd name="connsiteY367" fmla="*/ 874643 h 4890052"/>
                            <a:gd name="connsiteX368" fmla="*/ 413468 w 3554233"/>
                            <a:gd name="connsiteY368" fmla="*/ 850790 h 4890052"/>
                            <a:gd name="connsiteX369" fmla="*/ 373712 w 3554233"/>
                            <a:gd name="connsiteY369" fmla="*/ 811033 h 4890052"/>
                            <a:gd name="connsiteX370" fmla="*/ 326004 w 3554233"/>
                            <a:gd name="connsiteY370" fmla="*/ 795130 h 4890052"/>
                            <a:gd name="connsiteX371" fmla="*/ 318053 w 3554233"/>
                            <a:gd name="connsiteY371" fmla="*/ 771277 h 4890052"/>
                            <a:gd name="connsiteX372" fmla="*/ 333955 w 3554233"/>
                            <a:gd name="connsiteY372" fmla="*/ 795130 h 4890052"/>
                            <a:gd name="connsiteX373" fmla="*/ 357809 w 3554233"/>
                            <a:gd name="connsiteY373" fmla="*/ 803082 h 4890052"/>
                            <a:gd name="connsiteX374" fmla="*/ 437322 w 3554233"/>
                            <a:gd name="connsiteY374" fmla="*/ 811033 h 4890052"/>
                            <a:gd name="connsiteX375" fmla="*/ 469127 w 3554233"/>
                            <a:gd name="connsiteY375" fmla="*/ 818984 h 4890052"/>
                            <a:gd name="connsiteX376" fmla="*/ 492981 w 3554233"/>
                            <a:gd name="connsiteY376" fmla="*/ 826936 h 4890052"/>
                            <a:gd name="connsiteX377" fmla="*/ 540689 w 3554233"/>
                            <a:gd name="connsiteY377" fmla="*/ 834887 h 4890052"/>
                            <a:gd name="connsiteX378" fmla="*/ 659959 w 3554233"/>
                            <a:gd name="connsiteY378" fmla="*/ 826936 h 4890052"/>
                            <a:gd name="connsiteX379" fmla="*/ 811033 w 3554233"/>
                            <a:gd name="connsiteY379" fmla="*/ 818984 h 4890052"/>
                            <a:gd name="connsiteX380" fmla="*/ 818985 w 3554233"/>
                            <a:gd name="connsiteY380" fmla="*/ 811033 h 4890052"/>
                            <a:gd name="connsiteX381" fmla="*/ 882595 w 3554233"/>
                            <a:gd name="connsiteY381" fmla="*/ 771277 h 4890052"/>
                            <a:gd name="connsiteX382" fmla="*/ 930303 w 3554233"/>
                            <a:gd name="connsiteY382" fmla="*/ 691763 h 4890052"/>
                            <a:gd name="connsiteX383" fmla="*/ 922352 w 3554233"/>
                            <a:gd name="connsiteY383" fmla="*/ 604299 h 4890052"/>
                            <a:gd name="connsiteX384" fmla="*/ 898498 w 3554233"/>
                            <a:gd name="connsiteY384" fmla="*/ 596348 h 4890052"/>
                            <a:gd name="connsiteX385" fmla="*/ 882595 w 3554233"/>
                            <a:gd name="connsiteY385" fmla="*/ 548640 h 4890052"/>
                            <a:gd name="connsiteX386" fmla="*/ 874644 w 3554233"/>
                            <a:gd name="connsiteY386" fmla="*/ 524786 h 4890052"/>
                            <a:gd name="connsiteX387" fmla="*/ 858741 w 3554233"/>
                            <a:gd name="connsiteY387" fmla="*/ 500932 h 4890052"/>
                            <a:gd name="connsiteX388" fmla="*/ 811033 w 3554233"/>
                            <a:gd name="connsiteY388" fmla="*/ 485030 h 4890052"/>
                            <a:gd name="connsiteX389" fmla="*/ 763326 w 3554233"/>
                            <a:gd name="connsiteY389" fmla="*/ 453224 h 4890052"/>
                            <a:gd name="connsiteX390" fmla="*/ 731520 w 3554233"/>
                            <a:gd name="connsiteY390" fmla="*/ 469127 h 4890052"/>
                            <a:gd name="connsiteX391" fmla="*/ 683813 w 3554233"/>
                            <a:gd name="connsiteY391" fmla="*/ 453224 h 4890052"/>
                            <a:gd name="connsiteX392" fmla="*/ 675861 w 3554233"/>
                            <a:gd name="connsiteY392" fmla="*/ 429370 h 4890052"/>
                            <a:gd name="connsiteX393" fmla="*/ 652007 w 3554233"/>
                            <a:gd name="connsiteY393" fmla="*/ 421419 h 4890052"/>
                            <a:gd name="connsiteX394" fmla="*/ 628153 w 3554233"/>
                            <a:gd name="connsiteY394" fmla="*/ 405517 h 4890052"/>
                            <a:gd name="connsiteX395" fmla="*/ 596348 w 3554233"/>
                            <a:gd name="connsiteY395" fmla="*/ 389614 h 4890052"/>
                            <a:gd name="connsiteX396" fmla="*/ 516835 w 3554233"/>
                            <a:gd name="connsiteY396" fmla="*/ 365760 h 4890052"/>
                            <a:gd name="connsiteX397" fmla="*/ 453225 w 3554233"/>
                            <a:gd name="connsiteY397" fmla="*/ 333955 h 4890052"/>
                            <a:gd name="connsiteX398" fmla="*/ 405517 w 3554233"/>
                            <a:gd name="connsiteY398" fmla="*/ 341906 h 4890052"/>
                            <a:gd name="connsiteX399" fmla="*/ 341906 w 3554233"/>
                            <a:gd name="connsiteY399" fmla="*/ 333955 h 4890052"/>
                            <a:gd name="connsiteX400" fmla="*/ 294199 w 3554233"/>
                            <a:gd name="connsiteY400" fmla="*/ 341906 h 4890052"/>
                            <a:gd name="connsiteX401" fmla="*/ 270345 w 3554233"/>
                            <a:gd name="connsiteY401" fmla="*/ 357809 h 4890052"/>
                            <a:gd name="connsiteX402" fmla="*/ 238539 w 3554233"/>
                            <a:gd name="connsiteY402" fmla="*/ 333955 h 4890052"/>
                            <a:gd name="connsiteX403" fmla="*/ 214686 w 3554233"/>
                            <a:gd name="connsiteY403" fmla="*/ 270344 h 4890052"/>
                            <a:gd name="connsiteX404" fmla="*/ 143124 w 3554233"/>
                            <a:gd name="connsiteY404" fmla="*/ 302150 h 4890052"/>
                            <a:gd name="connsiteX405" fmla="*/ 95416 w 3554233"/>
                            <a:gd name="connsiteY405" fmla="*/ 278296 h 4890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Lst>
                          <a:rect l="l" t="t" r="r" b="b"/>
                          <a:pathLst>
                            <a:path w="3554233" h="4890052">
                              <a:moveTo>
                                <a:pt x="95416" y="278296"/>
                              </a:moveTo>
                              <a:lnTo>
                                <a:pt x="95416" y="278296"/>
                              </a:lnTo>
                              <a:cubicBezTo>
                                <a:pt x="78363" y="355032"/>
                                <a:pt x="79513" y="325421"/>
                                <a:pt x="79513" y="365760"/>
                              </a:cubicBezTo>
                              <a:lnTo>
                                <a:pt x="63611" y="365760"/>
                              </a:lnTo>
                              <a:lnTo>
                                <a:pt x="31806" y="389614"/>
                              </a:lnTo>
                              <a:lnTo>
                                <a:pt x="31806" y="413468"/>
                              </a:lnTo>
                              <a:lnTo>
                                <a:pt x="7952" y="453224"/>
                              </a:lnTo>
                              <a:lnTo>
                                <a:pt x="0" y="532737"/>
                              </a:lnTo>
                              <a:cubicBezTo>
                                <a:pt x="7951" y="553941"/>
                                <a:pt x="12203" y="576930"/>
                                <a:pt x="23854" y="596348"/>
                              </a:cubicBezTo>
                              <a:cubicBezTo>
                                <a:pt x="28771" y="604542"/>
                                <a:pt x="40951" y="605493"/>
                                <a:pt x="47708" y="612250"/>
                              </a:cubicBezTo>
                              <a:cubicBezTo>
                                <a:pt x="100721" y="665262"/>
                                <a:pt x="23850" y="609596"/>
                                <a:pt x="87465" y="652007"/>
                              </a:cubicBezTo>
                              <a:cubicBezTo>
                                <a:pt x="90115" y="659958"/>
                                <a:pt x="90180" y="669316"/>
                                <a:pt x="95416" y="675861"/>
                              </a:cubicBezTo>
                              <a:cubicBezTo>
                                <a:pt x="101386" y="683323"/>
                                <a:pt x="115721" y="682890"/>
                                <a:pt x="119270" y="691763"/>
                              </a:cubicBezTo>
                              <a:cubicBezTo>
                                <a:pt x="123385" y="702051"/>
                                <a:pt x="98765" y="734448"/>
                                <a:pt x="95416" y="739471"/>
                              </a:cubicBezTo>
                              <a:cubicBezTo>
                                <a:pt x="77519" y="793163"/>
                                <a:pt x="74291" y="792813"/>
                                <a:pt x="95416" y="882595"/>
                              </a:cubicBezTo>
                              <a:cubicBezTo>
                                <a:pt x="97605" y="891897"/>
                                <a:pt x="111319" y="893196"/>
                                <a:pt x="119270" y="898497"/>
                              </a:cubicBezTo>
                              <a:cubicBezTo>
                                <a:pt x="148267" y="985492"/>
                                <a:pt x="102021" y="853722"/>
                                <a:pt x="143124" y="946205"/>
                              </a:cubicBezTo>
                              <a:cubicBezTo>
                                <a:pt x="149932" y="961523"/>
                                <a:pt x="153725" y="978010"/>
                                <a:pt x="159026" y="993913"/>
                              </a:cubicBezTo>
                              <a:cubicBezTo>
                                <a:pt x="161676" y="1001864"/>
                                <a:pt x="166978" y="1009385"/>
                                <a:pt x="166978" y="1017767"/>
                              </a:cubicBezTo>
                              <a:lnTo>
                                <a:pt x="166978" y="1105231"/>
                              </a:lnTo>
                              <a:lnTo>
                                <a:pt x="174929" y="1144988"/>
                              </a:lnTo>
                              <a:cubicBezTo>
                                <a:pt x="182880" y="1166191"/>
                                <a:pt x="191044" y="1187316"/>
                                <a:pt x="198783" y="1208598"/>
                              </a:cubicBezTo>
                              <a:cubicBezTo>
                                <a:pt x="201647" y="1216475"/>
                                <a:pt x="202664" y="1225125"/>
                                <a:pt x="206734" y="1232452"/>
                              </a:cubicBezTo>
                              <a:cubicBezTo>
                                <a:pt x="216016" y="1249159"/>
                                <a:pt x="227937" y="1264257"/>
                                <a:pt x="238539" y="1280160"/>
                              </a:cubicBezTo>
                              <a:lnTo>
                                <a:pt x="254442" y="1304014"/>
                              </a:lnTo>
                              <a:cubicBezTo>
                                <a:pt x="257092" y="1311965"/>
                                <a:pt x="263771" y="1319601"/>
                                <a:pt x="262393" y="1327868"/>
                              </a:cubicBezTo>
                              <a:cubicBezTo>
                                <a:pt x="256072" y="1365796"/>
                                <a:pt x="213669" y="1341183"/>
                                <a:pt x="254442" y="1399430"/>
                              </a:cubicBezTo>
                              <a:cubicBezTo>
                                <a:pt x="265402" y="1415088"/>
                                <a:pt x="302150" y="1431235"/>
                                <a:pt x="302150" y="1431235"/>
                              </a:cubicBezTo>
                              <a:cubicBezTo>
                                <a:pt x="307388" y="1446950"/>
                                <a:pt x="311991" y="1467732"/>
                                <a:pt x="326004" y="1478943"/>
                              </a:cubicBezTo>
                              <a:cubicBezTo>
                                <a:pt x="332549" y="1484179"/>
                                <a:pt x="341907" y="1484244"/>
                                <a:pt x="349858" y="1486894"/>
                              </a:cubicBezTo>
                              <a:cubicBezTo>
                                <a:pt x="355159" y="1494845"/>
                                <a:pt x="361879" y="1502015"/>
                                <a:pt x="365760" y="1510748"/>
                              </a:cubicBezTo>
                              <a:cubicBezTo>
                                <a:pt x="385854" y="1555959"/>
                                <a:pt x="381663" y="1553606"/>
                                <a:pt x="381663" y="1598212"/>
                              </a:cubicBezTo>
                              <a:lnTo>
                                <a:pt x="357809" y="1606163"/>
                              </a:lnTo>
                              <a:cubicBezTo>
                                <a:pt x="349858" y="1627367"/>
                                <a:pt x="341571" y="1648448"/>
                                <a:pt x="333955" y="1669774"/>
                              </a:cubicBezTo>
                              <a:cubicBezTo>
                                <a:pt x="328317" y="1685560"/>
                                <a:pt x="327351" y="1703535"/>
                                <a:pt x="318053" y="1717482"/>
                              </a:cubicBezTo>
                              <a:lnTo>
                                <a:pt x="286247" y="1765190"/>
                              </a:lnTo>
                              <a:cubicBezTo>
                                <a:pt x="265044" y="1828798"/>
                                <a:pt x="296849" y="1754587"/>
                                <a:pt x="254442" y="1796995"/>
                              </a:cubicBezTo>
                              <a:cubicBezTo>
                                <a:pt x="248516" y="1802922"/>
                                <a:pt x="248794" y="1812790"/>
                                <a:pt x="246491" y="1820849"/>
                              </a:cubicBezTo>
                              <a:cubicBezTo>
                                <a:pt x="242081" y="1836284"/>
                                <a:pt x="239476" y="1865983"/>
                                <a:pt x="222637" y="1876508"/>
                              </a:cubicBezTo>
                              <a:cubicBezTo>
                                <a:pt x="208422" y="1885392"/>
                                <a:pt x="174929" y="1892410"/>
                                <a:pt x="174929" y="1892410"/>
                              </a:cubicBezTo>
                              <a:cubicBezTo>
                                <a:pt x="169628" y="1900361"/>
                                <a:pt x="143123" y="1889760"/>
                                <a:pt x="159026" y="1916264"/>
                              </a:cubicBezTo>
                              <a:lnTo>
                                <a:pt x="135173" y="1948070"/>
                              </a:lnTo>
                              <a:cubicBezTo>
                                <a:pt x="153726" y="1963972"/>
                                <a:pt x="171751" y="1980512"/>
                                <a:pt x="190832" y="1995777"/>
                              </a:cubicBezTo>
                              <a:cubicBezTo>
                                <a:pt x="198294" y="2001747"/>
                                <a:pt x="207929" y="2004923"/>
                                <a:pt x="214686" y="2011680"/>
                              </a:cubicBezTo>
                              <a:cubicBezTo>
                                <a:pt x="221443" y="2018437"/>
                                <a:pt x="225287" y="2027583"/>
                                <a:pt x="230588" y="2035534"/>
                              </a:cubicBezTo>
                              <a:cubicBezTo>
                                <a:pt x="243840" y="2032884"/>
                                <a:pt x="256830" y="2027583"/>
                                <a:pt x="270345" y="2027583"/>
                              </a:cubicBezTo>
                              <a:cubicBezTo>
                                <a:pt x="306891" y="2027583"/>
                                <a:pt x="320482" y="2033694"/>
                                <a:pt x="349858" y="2043485"/>
                              </a:cubicBezTo>
                              <a:cubicBezTo>
                                <a:pt x="332149" y="2096608"/>
                                <a:pt x="304800" y="2032883"/>
                                <a:pt x="254442" y="2075290"/>
                              </a:cubicBezTo>
                              <a:lnTo>
                                <a:pt x="238539" y="2099144"/>
                              </a:lnTo>
                              <a:cubicBezTo>
                                <a:pt x="216313" y="2104083"/>
                                <a:pt x="157590" y="2099814"/>
                                <a:pt x="151075" y="2138901"/>
                              </a:cubicBezTo>
                              <a:cubicBezTo>
                                <a:pt x="149697" y="2147168"/>
                                <a:pt x="153790" y="2156210"/>
                                <a:pt x="159026" y="2162755"/>
                              </a:cubicBezTo>
                              <a:cubicBezTo>
                                <a:pt x="164996" y="2170217"/>
                                <a:pt x="182880" y="2178657"/>
                                <a:pt x="182880" y="2178657"/>
                              </a:cubicBezTo>
                              <a:lnTo>
                                <a:pt x="174929" y="2210463"/>
                              </a:lnTo>
                              <a:cubicBezTo>
                                <a:pt x="130551" y="2272592"/>
                                <a:pt x="135173" y="2243322"/>
                                <a:pt x="135173" y="2289976"/>
                              </a:cubicBezTo>
                              <a:lnTo>
                                <a:pt x="135173" y="2329732"/>
                              </a:lnTo>
                              <a:lnTo>
                                <a:pt x="151075" y="2369489"/>
                              </a:lnTo>
                              <a:lnTo>
                                <a:pt x="143124" y="2385391"/>
                              </a:lnTo>
                              <a:lnTo>
                                <a:pt x="174929" y="2464904"/>
                              </a:lnTo>
                              <a:lnTo>
                                <a:pt x="159026" y="2504661"/>
                              </a:lnTo>
                              <a:lnTo>
                                <a:pt x="127221" y="2520563"/>
                              </a:lnTo>
                              <a:lnTo>
                                <a:pt x="190832" y="2552369"/>
                              </a:lnTo>
                              <a:cubicBezTo>
                                <a:pt x="193482" y="2576223"/>
                                <a:pt x="190581" y="2601375"/>
                                <a:pt x="198783" y="2623930"/>
                              </a:cubicBezTo>
                              <a:cubicBezTo>
                                <a:pt x="202049" y="2632911"/>
                                <a:pt x="217572" y="2631729"/>
                                <a:pt x="222637" y="2639833"/>
                              </a:cubicBezTo>
                              <a:cubicBezTo>
                                <a:pt x="231521" y="2654048"/>
                                <a:pt x="233238" y="2671638"/>
                                <a:pt x="238539" y="2687541"/>
                              </a:cubicBezTo>
                              <a:lnTo>
                                <a:pt x="254442" y="2735249"/>
                              </a:lnTo>
                              <a:cubicBezTo>
                                <a:pt x="263578" y="2762659"/>
                                <a:pt x="256466" y="2753177"/>
                                <a:pt x="270345" y="2767054"/>
                              </a:cubicBezTo>
                              <a:lnTo>
                                <a:pt x="294199" y="2806810"/>
                              </a:lnTo>
                              <a:lnTo>
                                <a:pt x="333955" y="2790908"/>
                              </a:lnTo>
                              <a:cubicBezTo>
                                <a:pt x="355159" y="2801510"/>
                                <a:pt x="374320" y="2818064"/>
                                <a:pt x="397566" y="2822713"/>
                              </a:cubicBezTo>
                              <a:cubicBezTo>
                                <a:pt x="415943" y="2826388"/>
                                <a:pt x="434484" y="2814762"/>
                                <a:pt x="453225" y="2814762"/>
                              </a:cubicBezTo>
                              <a:cubicBezTo>
                                <a:pt x="471966" y="2814762"/>
                                <a:pt x="490331" y="2820063"/>
                                <a:pt x="508884" y="2822713"/>
                              </a:cubicBezTo>
                              <a:cubicBezTo>
                                <a:pt x="518020" y="2850123"/>
                                <a:pt x="510908" y="2840640"/>
                                <a:pt x="524786" y="2854518"/>
                              </a:cubicBezTo>
                              <a:lnTo>
                                <a:pt x="548640" y="2886323"/>
                              </a:lnTo>
                              <a:lnTo>
                                <a:pt x="580446" y="2926080"/>
                              </a:lnTo>
                              <a:lnTo>
                                <a:pt x="580446" y="2989690"/>
                              </a:lnTo>
                              <a:lnTo>
                                <a:pt x="604299" y="3021496"/>
                              </a:lnTo>
                              <a:cubicBezTo>
                                <a:pt x="665439" y="3108838"/>
                                <a:pt x="633039" y="3083063"/>
                                <a:pt x="683813" y="3116911"/>
                              </a:cubicBezTo>
                              <a:cubicBezTo>
                                <a:pt x="701009" y="3202897"/>
                                <a:pt x="670361" y="3115028"/>
                                <a:pt x="755374" y="3164619"/>
                              </a:cubicBezTo>
                              <a:cubicBezTo>
                                <a:pt x="771883" y="3174249"/>
                                <a:pt x="787179" y="3212327"/>
                                <a:pt x="787179" y="3212327"/>
                              </a:cubicBezTo>
                              <a:cubicBezTo>
                                <a:pt x="781941" y="3228040"/>
                                <a:pt x="777338" y="3248825"/>
                                <a:pt x="763326" y="3260035"/>
                              </a:cubicBezTo>
                              <a:cubicBezTo>
                                <a:pt x="756781" y="3265271"/>
                                <a:pt x="747423" y="3265336"/>
                                <a:pt x="739472" y="3267986"/>
                              </a:cubicBezTo>
                              <a:cubicBezTo>
                                <a:pt x="705560" y="3256683"/>
                                <a:pt x="699716" y="3218953"/>
                                <a:pt x="683813" y="3260035"/>
                              </a:cubicBezTo>
                              <a:lnTo>
                                <a:pt x="675861" y="3260035"/>
                              </a:lnTo>
                              <a:lnTo>
                                <a:pt x="659959" y="3283889"/>
                              </a:lnTo>
                              <a:lnTo>
                                <a:pt x="683813" y="3323645"/>
                              </a:lnTo>
                              <a:lnTo>
                                <a:pt x="691764" y="3339548"/>
                              </a:lnTo>
                              <a:cubicBezTo>
                                <a:pt x="697065" y="3363402"/>
                                <a:pt x="701739" y="3387404"/>
                                <a:pt x="707666" y="3411110"/>
                              </a:cubicBezTo>
                              <a:cubicBezTo>
                                <a:pt x="709699" y="3419241"/>
                                <a:pt x="715618" y="3426582"/>
                                <a:pt x="715618" y="3434963"/>
                              </a:cubicBezTo>
                              <a:cubicBezTo>
                                <a:pt x="715618" y="3443345"/>
                                <a:pt x="710317" y="3450866"/>
                                <a:pt x="707666" y="3458817"/>
                              </a:cubicBezTo>
                              <a:cubicBezTo>
                                <a:pt x="730186" y="3466324"/>
                                <a:pt x="755237" y="3478809"/>
                                <a:pt x="779228" y="3458817"/>
                              </a:cubicBezTo>
                              <a:cubicBezTo>
                                <a:pt x="787372" y="3452030"/>
                                <a:pt x="779228" y="3437614"/>
                                <a:pt x="779228" y="3427012"/>
                              </a:cubicBezTo>
                              <a:lnTo>
                                <a:pt x="795131" y="3395207"/>
                              </a:lnTo>
                              <a:lnTo>
                                <a:pt x="834887" y="3395207"/>
                              </a:lnTo>
                              <a:lnTo>
                                <a:pt x="850790" y="3387256"/>
                              </a:lnTo>
                              <a:cubicBezTo>
                                <a:pt x="874644" y="3381955"/>
                                <a:pt x="897916" y="3371353"/>
                                <a:pt x="922352" y="3371353"/>
                              </a:cubicBezTo>
                              <a:cubicBezTo>
                                <a:pt x="939115" y="3371353"/>
                                <a:pt x="970059" y="3387256"/>
                                <a:pt x="970059" y="3387256"/>
                              </a:cubicBezTo>
                              <a:cubicBezTo>
                                <a:pt x="981794" y="3404858"/>
                                <a:pt x="991448" y="3422718"/>
                                <a:pt x="1009816" y="3434963"/>
                              </a:cubicBezTo>
                              <a:cubicBezTo>
                                <a:pt x="1016790" y="3439612"/>
                                <a:pt x="1025719" y="3440264"/>
                                <a:pt x="1033670" y="3442915"/>
                              </a:cubicBezTo>
                              <a:cubicBezTo>
                                <a:pt x="1031020" y="3456167"/>
                                <a:pt x="1028997" y="3469560"/>
                                <a:pt x="1025719" y="3482671"/>
                              </a:cubicBezTo>
                              <a:cubicBezTo>
                                <a:pt x="1018650" y="3510944"/>
                                <a:pt x="1011582" y="3502106"/>
                                <a:pt x="1025719" y="3530379"/>
                              </a:cubicBezTo>
                              <a:cubicBezTo>
                                <a:pt x="1029993" y="3538926"/>
                                <a:pt x="1032432" y="3551608"/>
                                <a:pt x="1041621" y="3554233"/>
                              </a:cubicBezTo>
                              <a:cubicBezTo>
                                <a:pt x="1072309" y="3563001"/>
                                <a:pt x="1105232" y="3559534"/>
                                <a:pt x="1137037" y="3562184"/>
                              </a:cubicBezTo>
                              <a:cubicBezTo>
                                <a:pt x="1142338" y="3570135"/>
                                <a:pt x="1149058" y="3577305"/>
                                <a:pt x="1152939" y="3586038"/>
                              </a:cubicBezTo>
                              <a:cubicBezTo>
                                <a:pt x="1159747" y="3601356"/>
                                <a:pt x="1152939" y="3628445"/>
                                <a:pt x="1168842" y="3633746"/>
                              </a:cubicBezTo>
                              <a:lnTo>
                                <a:pt x="1192696" y="3641697"/>
                              </a:lnTo>
                              <a:cubicBezTo>
                                <a:pt x="1195346" y="3652299"/>
                                <a:pt x="1190045" y="3670853"/>
                                <a:pt x="1200647" y="3673503"/>
                              </a:cubicBezTo>
                              <a:cubicBezTo>
                                <a:pt x="1229048" y="3680603"/>
                                <a:pt x="1258837" y="3665551"/>
                                <a:pt x="1288112" y="3665551"/>
                              </a:cubicBezTo>
                              <a:cubicBezTo>
                                <a:pt x="1299040" y="3665551"/>
                                <a:pt x="1309315" y="3670852"/>
                                <a:pt x="1319917" y="3673503"/>
                              </a:cubicBezTo>
                              <a:lnTo>
                                <a:pt x="1367625" y="3657600"/>
                              </a:lnTo>
                              <a:lnTo>
                                <a:pt x="1391479" y="3649649"/>
                              </a:lnTo>
                              <a:cubicBezTo>
                                <a:pt x="1402081" y="3652299"/>
                                <a:pt x="1413510" y="3652713"/>
                                <a:pt x="1423284" y="3657600"/>
                              </a:cubicBezTo>
                              <a:cubicBezTo>
                                <a:pt x="1440379" y="3666147"/>
                                <a:pt x="1453898" y="3680857"/>
                                <a:pt x="1470992" y="3689405"/>
                              </a:cubicBezTo>
                              <a:lnTo>
                                <a:pt x="1486894" y="3697357"/>
                              </a:lnTo>
                              <a:lnTo>
                                <a:pt x="1542553" y="3681454"/>
                              </a:lnTo>
                              <a:lnTo>
                                <a:pt x="1590261" y="3681454"/>
                              </a:lnTo>
                              <a:lnTo>
                                <a:pt x="1645920" y="3681454"/>
                              </a:lnTo>
                              <a:lnTo>
                                <a:pt x="1645920" y="3681454"/>
                              </a:lnTo>
                              <a:lnTo>
                                <a:pt x="1677726" y="3689405"/>
                              </a:lnTo>
                              <a:lnTo>
                                <a:pt x="1709531" y="3689405"/>
                              </a:lnTo>
                              <a:cubicBezTo>
                                <a:pt x="1730734" y="3700007"/>
                                <a:pt x="1756378" y="3704447"/>
                                <a:pt x="1773141" y="3721210"/>
                              </a:cubicBezTo>
                              <a:cubicBezTo>
                                <a:pt x="1784994" y="3733063"/>
                                <a:pt x="1783743" y="3753015"/>
                                <a:pt x="1789044" y="3768918"/>
                              </a:cubicBezTo>
                              <a:lnTo>
                                <a:pt x="1796995" y="3792772"/>
                              </a:lnTo>
                              <a:cubicBezTo>
                                <a:pt x="1757071" y="3852661"/>
                                <a:pt x="1799314" y="3776545"/>
                                <a:pt x="1789044" y="3848431"/>
                              </a:cubicBezTo>
                              <a:cubicBezTo>
                                <a:pt x="1787692" y="3857891"/>
                                <a:pt x="1778442" y="3864334"/>
                                <a:pt x="1773141" y="3872285"/>
                              </a:cubicBezTo>
                              <a:cubicBezTo>
                                <a:pt x="1793129" y="3932243"/>
                                <a:pt x="1763842" y="3860662"/>
                                <a:pt x="1804946" y="3912042"/>
                              </a:cubicBezTo>
                              <a:cubicBezTo>
                                <a:pt x="1810182" y="3918587"/>
                                <a:pt x="1810247" y="3927945"/>
                                <a:pt x="1812898" y="3935896"/>
                              </a:cubicBezTo>
                              <a:cubicBezTo>
                                <a:pt x="1810674" y="3951459"/>
                                <a:pt x="1811731" y="4001229"/>
                                <a:pt x="1789044" y="4015409"/>
                              </a:cubicBezTo>
                              <a:cubicBezTo>
                                <a:pt x="1774829" y="4024293"/>
                                <a:pt x="1741336" y="4031311"/>
                                <a:pt x="1741336" y="4031311"/>
                              </a:cubicBezTo>
                              <a:cubicBezTo>
                                <a:pt x="1736035" y="4039262"/>
                                <a:pt x="1732895" y="4049195"/>
                                <a:pt x="1725433" y="4055165"/>
                              </a:cubicBezTo>
                              <a:cubicBezTo>
                                <a:pt x="1718888" y="4060401"/>
                                <a:pt x="1707506" y="4057190"/>
                                <a:pt x="1701579" y="4063117"/>
                              </a:cubicBezTo>
                              <a:cubicBezTo>
                                <a:pt x="1695653" y="4069043"/>
                                <a:pt x="1677725" y="4039262"/>
                                <a:pt x="1693628" y="4086970"/>
                              </a:cubicBezTo>
                              <a:lnTo>
                                <a:pt x="1661823" y="4110824"/>
                              </a:lnTo>
                              <a:lnTo>
                                <a:pt x="1661823" y="4190337"/>
                              </a:lnTo>
                              <a:lnTo>
                                <a:pt x="1701579" y="4142630"/>
                              </a:lnTo>
                              <a:lnTo>
                                <a:pt x="1717482" y="4158532"/>
                              </a:lnTo>
                              <a:lnTo>
                                <a:pt x="1773141" y="4110824"/>
                              </a:lnTo>
                              <a:lnTo>
                                <a:pt x="1796995" y="4166483"/>
                              </a:lnTo>
                              <a:lnTo>
                                <a:pt x="1709531" y="4214191"/>
                              </a:lnTo>
                              <a:lnTo>
                                <a:pt x="1693628" y="4277802"/>
                              </a:lnTo>
                              <a:cubicBezTo>
                                <a:pt x="1672425" y="4285753"/>
                                <a:pt x="1647211" y="4286919"/>
                                <a:pt x="1630018" y="4301656"/>
                              </a:cubicBezTo>
                              <a:cubicBezTo>
                                <a:pt x="1623654" y="4307111"/>
                                <a:pt x="1632733" y="4318965"/>
                                <a:pt x="1637969" y="4325510"/>
                              </a:cubicBezTo>
                              <a:cubicBezTo>
                                <a:pt x="1643939" y="4332972"/>
                                <a:pt x="1653090" y="4337531"/>
                                <a:pt x="1661823" y="4341412"/>
                              </a:cubicBezTo>
                              <a:cubicBezTo>
                                <a:pt x="1677141" y="4348220"/>
                                <a:pt x="1709531" y="4357315"/>
                                <a:pt x="1709531" y="4357315"/>
                              </a:cubicBezTo>
                              <a:cubicBezTo>
                                <a:pt x="1714832" y="4365266"/>
                                <a:pt x="1727307" y="4371798"/>
                                <a:pt x="1725433" y="4381169"/>
                              </a:cubicBezTo>
                              <a:cubicBezTo>
                                <a:pt x="1723231" y="4392177"/>
                                <a:pt x="1685539" y="4402418"/>
                                <a:pt x="1677726" y="4405023"/>
                              </a:cubicBezTo>
                              <a:cubicBezTo>
                                <a:pt x="1664994" y="4424121"/>
                                <a:pt x="1657987" y="4430098"/>
                                <a:pt x="1653872" y="4452730"/>
                              </a:cubicBezTo>
                              <a:cubicBezTo>
                                <a:pt x="1652580" y="4459834"/>
                                <a:pt x="1654264" y="4528072"/>
                                <a:pt x="1630018" y="4540195"/>
                              </a:cubicBezTo>
                              <a:cubicBezTo>
                                <a:pt x="1615598" y="4547405"/>
                                <a:pt x="1598048" y="4544649"/>
                                <a:pt x="1582310" y="4548146"/>
                              </a:cubicBezTo>
                              <a:cubicBezTo>
                                <a:pt x="1574128" y="4549964"/>
                                <a:pt x="1566407" y="4553447"/>
                                <a:pt x="1558456" y="4556097"/>
                              </a:cubicBezTo>
                              <a:cubicBezTo>
                                <a:pt x="1555806" y="4566699"/>
                                <a:pt x="1546446" y="4577756"/>
                                <a:pt x="1550505" y="4587903"/>
                              </a:cubicBezTo>
                              <a:cubicBezTo>
                                <a:pt x="1553618" y="4595685"/>
                                <a:pt x="1489545" y="4587903"/>
                                <a:pt x="1574359" y="4595854"/>
                              </a:cubicBezTo>
                              <a:lnTo>
                                <a:pt x="1653872" y="4627659"/>
                              </a:lnTo>
                              <a:lnTo>
                                <a:pt x="1661823" y="4651513"/>
                              </a:lnTo>
                              <a:lnTo>
                                <a:pt x="1717482" y="4651513"/>
                              </a:lnTo>
                              <a:cubicBezTo>
                                <a:pt x="1738686" y="4659464"/>
                                <a:pt x="1759319" y="4669146"/>
                                <a:pt x="1781093" y="4675367"/>
                              </a:cubicBezTo>
                              <a:cubicBezTo>
                                <a:pt x="1796594" y="4679796"/>
                                <a:pt x="1791694" y="4660789"/>
                                <a:pt x="1828800" y="4683318"/>
                              </a:cubicBezTo>
                              <a:lnTo>
                                <a:pt x="1892411" y="4707172"/>
                              </a:lnTo>
                              <a:lnTo>
                                <a:pt x="1940119" y="4746929"/>
                              </a:lnTo>
                              <a:lnTo>
                                <a:pt x="1987826" y="4762831"/>
                              </a:lnTo>
                              <a:lnTo>
                                <a:pt x="2019632" y="4786685"/>
                              </a:lnTo>
                              <a:lnTo>
                                <a:pt x="2043486" y="4778734"/>
                              </a:lnTo>
                              <a:lnTo>
                                <a:pt x="2107096" y="4754880"/>
                              </a:lnTo>
                              <a:cubicBezTo>
                                <a:pt x="2114973" y="4752016"/>
                                <a:pt x="2084567" y="4754880"/>
                                <a:pt x="2130950" y="4746929"/>
                              </a:cubicBezTo>
                              <a:lnTo>
                                <a:pt x="2186609" y="4762831"/>
                              </a:lnTo>
                              <a:cubicBezTo>
                                <a:pt x="2210463" y="4768132"/>
                                <a:pt x="2233735" y="4778734"/>
                                <a:pt x="2258171" y="4778734"/>
                              </a:cubicBezTo>
                              <a:cubicBezTo>
                                <a:pt x="2274934" y="4778734"/>
                                <a:pt x="2275399" y="4749579"/>
                                <a:pt x="2305879" y="4762831"/>
                              </a:cubicBezTo>
                              <a:lnTo>
                                <a:pt x="2305879" y="4762831"/>
                              </a:lnTo>
                              <a:cubicBezTo>
                                <a:pt x="2329733" y="4760181"/>
                                <a:pt x="2354156" y="4760701"/>
                                <a:pt x="2377440" y="4754880"/>
                              </a:cubicBezTo>
                              <a:cubicBezTo>
                                <a:pt x="2386711" y="4752562"/>
                                <a:pt x="2391834" y="4740328"/>
                                <a:pt x="2401294" y="4738977"/>
                              </a:cubicBezTo>
                              <a:cubicBezTo>
                                <a:pt x="2409577" y="4737794"/>
                                <a:pt x="2447009" y="4752039"/>
                                <a:pt x="2456953" y="4754880"/>
                              </a:cubicBezTo>
                              <a:cubicBezTo>
                                <a:pt x="2468849" y="4758279"/>
                                <a:pt x="2499898" y="4764425"/>
                                <a:pt x="2512613" y="4770783"/>
                              </a:cubicBezTo>
                              <a:cubicBezTo>
                                <a:pt x="2521160" y="4775057"/>
                                <a:pt x="2527919" y="4782411"/>
                                <a:pt x="2536466" y="4786685"/>
                              </a:cubicBezTo>
                              <a:cubicBezTo>
                                <a:pt x="2559075" y="4797990"/>
                                <a:pt x="2568272" y="4805239"/>
                                <a:pt x="2592126" y="4794637"/>
                              </a:cubicBezTo>
                              <a:lnTo>
                                <a:pt x="2615979" y="4762831"/>
                              </a:lnTo>
                              <a:lnTo>
                                <a:pt x="2655736" y="4754880"/>
                              </a:lnTo>
                              <a:lnTo>
                                <a:pt x="2695493" y="4746929"/>
                              </a:lnTo>
                              <a:lnTo>
                                <a:pt x="2711395" y="4738977"/>
                              </a:lnTo>
                              <a:lnTo>
                                <a:pt x="2711395" y="4738977"/>
                              </a:lnTo>
                              <a:lnTo>
                                <a:pt x="2775006" y="4738977"/>
                              </a:lnTo>
                              <a:lnTo>
                                <a:pt x="2806811" y="4762831"/>
                              </a:lnTo>
                              <a:lnTo>
                                <a:pt x="2854519" y="4810539"/>
                              </a:lnTo>
                              <a:lnTo>
                                <a:pt x="2910178" y="4810539"/>
                              </a:lnTo>
                              <a:lnTo>
                                <a:pt x="2949934" y="4826442"/>
                              </a:lnTo>
                              <a:lnTo>
                                <a:pt x="3013545" y="4842344"/>
                              </a:lnTo>
                              <a:lnTo>
                                <a:pt x="3045350" y="4842344"/>
                              </a:lnTo>
                              <a:lnTo>
                                <a:pt x="3077155" y="4866198"/>
                              </a:lnTo>
                              <a:lnTo>
                                <a:pt x="3101009" y="4890052"/>
                              </a:lnTo>
                              <a:lnTo>
                                <a:pt x="3156668" y="4842344"/>
                              </a:lnTo>
                              <a:lnTo>
                                <a:pt x="3156668" y="4794637"/>
                              </a:lnTo>
                              <a:lnTo>
                                <a:pt x="3180522" y="4778734"/>
                              </a:lnTo>
                              <a:lnTo>
                                <a:pt x="3188473" y="4746929"/>
                              </a:lnTo>
                              <a:lnTo>
                                <a:pt x="3204376" y="4731026"/>
                              </a:lnTo>
                              <a:lnTo>
                                <a:pt x="3236181" y="4738977"/>
                              </a:lnTo>
                              <a:lnTo>
                                <a:pt x="3188473" y="4699221"/>
                              </a:lnTo>
                              <a:lnTo>
                                <a:pt x="3180522" y="4683318"/>
                              </a:lnTo>
                              <a:cubicBezTo>
                                <a:pt x="3155578" y="4670846"/>
                                <a:pt x="3091681" y="4642185"/>
                                <a:pt x="3069204" y="4619708"/>
                              </a:cubicBezTo>
                              <a:cubicBezTo>
                                <a:pt x="3039423" y="4589927"/>
                                <a:pt x="3056018" y="4599410"/>
                                <a:pt x="3021496" y="4587903"/>
                              </a:cubicBezTo>
                              <a:cubicBezTo>
                                <a:pt x="3018846" y="4579952"/>
                                <a:pt x="3017293" y="4571546"/>
                                <a:pt x="3013545" y="4564049"/>
                              </a:cubicBezTo>
                              <a:cubicBezTo>
                                <a:pt x="3009271" y="4555502"/>
                                <a:pt x="3010894" y="4566699"/>
                                <a:pt x="2997642" y="4540195"/>
                              </a:cubicBezTo>
                              <a:lnTo>
                                <a:pt x="2981739" y="4500438"/>
                              </a:lnTo>
                              <a:cubicBezTo>
                                <a:pt x="2971137" y="4479235"/>
                                <a:pt x="2963529" y="4456249"/>
                                <a:pt x="2949934" y="4436828"/>
                              </a:cubicBezTo>
                              <a:cubicBezTo>
                                <a:pt x="2944454" y="4428999"/>
                                <a:pt x="2932050" y="4428387"/>
                                <a:pt x="2926080" y="4420925"/>
                              </a:cubicBezTo>
                              <a:cubicBezTo>
                                <a:pt x="2895239" y="4382374"/>
                                <a:pt x="2946320" y="4406467"/>
                                <a:pt x="2894275" y="4389120"/>
                              </a:cubicBezTo>
                              <a:cubicBezTo>
                                <a:pt x="2891625" y="4381169"/>
                                <a:pt x="2893601" y="4369424"/>
                                <a:pt x="2886324" y="4365266"/>
                              </a:cubicBezTo>
                              <a:cubicBezTo>
                                <a:pt x="2872326" y="4357267"/>
                                <a:pt x="2854354" y="4360812"/>
                                <a:pt x="2838616" y="4357315"/>
                              </a:cubicBezTo>
                              <a:cubicBezTo>
                                <a:pt x="2830434" y="4355497"/>
                                <a:pt x="2796209" y="4345387"/>
                                <a:pt x="2814762" y="4349363"/>
                              </a:cubicBezTo>
                              <a:lnTo>
                                <a:pt x="2814762" y="4349363"/>
                              </a:lnTo>
                              <a:lnTo>
                                <a:pt x="2798859" y="4301656"/>
                              </a:lnTo>
                              <a:lnTo>
                                <a:pt x="2830665" y="4277802"/>
                              </a:lnTo>
                              <a:cubicBezTo>
                                <a:pt x="2833315" y="4253948"/>
                                <a:pt x="2838616" y="4230241"/>
                                <a:pt x="2838616" y="4206240"/>
                              </a:cubicBezTo>
                              <a:cubicBezTo>
                                <a:pt x="2838616" y="4187045"/>
                                <a:pt x="2828989" y="4161456"/>
                                <a:pt x="2822713" y="4142630"/>
                              </a:cubicBezTo>
                              <a:cubicBezTo>
                                <a:pt x="2828014" y="4134679"/>
                                <a:pt x="2835594" y="4127842"/>
                                <a:pt x="2838616" y="4118776"/>
                              </a:cubicBezTo>
                              <a:cubicBezTo>
                                <a:pt x="2843714" y="4103481"/>
                                <a:pt x="2836496" y="4083657"/>
                                <a:pt x="2846567" y="4071068"/>
                              </a:cubicBezTo>
                              <a:cubicBezTo>
                                <a:pt x="2851803" y="4064523"/>
                                <a:pt x="2862290" y="4076986"/>
                                <a:pt x="2870421" y="4079019"/>
                              </a:cubicBezTo>
                              <a:cubicBezTo>
                                <a:pt x="2872993" y="4079662"/>
                                <a:pt x="2875722" y="4079019"/>
                                <a:pt x="2878373" y="4079019"/>
                              </a:cubicBezTo>
                              <a:lnTo>
                                <a:pt x="2918129" y="4039263"/>
                              </a:lnTo>
                              <a:cubicBezTo>
                                <a:pt x="2931381" y="4020710"/>
                                <a:pt x="2849218" y="4037937"/>
                                <a:pt x="2957886" y="3983603"/>
                              </a:cubicBezTo>
                              <a:lnTo>
                                <a:pt x="2926080" y="3975652"/>
                              </a:lnTo>
                              <a:cubicBezTo>
                                <a:pt x="2947284" y="3967701"/>
                                <a:pt x="2970849" y="3964359"/>
                                <a:pt x="2989691" y="3951798"/>
                              </a:cubicBezTo>
                              <a:cubicBezTo>
                                <a:pt x="2996665" y="3947149"/>
                                <a:pt x="3000755" y="3935726"/>
                                <a:pt x="2997642" y="3927944"/>
                              </a:cubicBezTo>
                              <a:cubicBezTo>
                                <a:pt x="2991827" y="3913406"/>
                                <a:pt x="2926745" y="3896361"/>
                                <a:pt x="2926080" y="3896139"/>
                              </a:cubicBezTo>
                              <a:lnTo>
                                <a:pt x="2902226" y="3888188"/>
                              </a:lnTo>
                              <a:lnTo>
                                <a:pt x="2886324" y="3880237"/>
                              </a:lnTo>
                              <a:cubicBezTo>
                                <a:pt x="2881023" y="3856383"/>
                                <a:pt x="2880533" y="3830921"/>
                                <a:pt x="2870421" y="3808675"/>
                              </a:cubicBezTo>
                              <a:cubicBezTo>
                                <a:pt x="2866467" y="3799975"/>
                                <a:pt x="2852537" y="3800234"/>
                                <a:pt x="2846567" y="3792772"/>
                              </a:cubicBezTo>
                              <a:cubicBezTo>
                                <a:pt x="2815198" y="3753560"/>
                                <a:pt x="2872774" y="3777457"/>
                                <a:pt x="2806811" y="3760967"/>
                              </a:cubicBezTo>
                              <a:cubicBezTo>
                                <a:pt x="2804160" y="3745064"/>
                                <a:pt x="2808230" y="3726378"/>
                                <a:pt x="2798859" y="3713259"/>
                              </a:cubicBezTo>
                              <a:cubicBezTo>
                                <a:pt x="2786227" y="3695574"/>
                                <a:pt x="2737845" y="3711150"/>
                                <a:pt x="2727298" y="3713259"/>
                              </a:cubicBezTo>
                              <a:cubicBezTo>
                                <a:pt x="2719347" y="3718560"/>
                                <a:pt x="2710785" y="3723044"/>
                                <a:pt x="2703444" y="3729162"/>
                              </a:cubicBezTo>
                              <a:cubicBezTo>
                                <a:pt x="2694805" y="3736361"/>
                                <a:pt x="2690835" y="3753016"/>
                                <a:pt x="2679590" y="3753016"/>
                              </a:cubicBezTo>
                              <a:cubicBezTo>
                                <a:pt x="2670034" y="3753016"/>
                                <a:pt x="2668988" y="3737113"/>
                                <a:pt x="2663687" y="3729162"/>
                              </a:cubicBezTo>
                              <a:cubicBezTo>
                                <a:pt x="2661037" y="3721211"/>
                                <a:pt x="2661663" y="3711235"/>
                                <a:pt x="2655736" y="3705308"/>
                              </a:cubicBezTo>
                              <a:cubicBezTo>
                                <a:pt x="2649809" y="3699381"/>
                                <a:pt x="2639379" y="3701105"/>
                                <a:pt x="2631882" y="3697357"/>
                              </a:cubicBezTo>
                              <a:cubicBezTo>
                                <a:pt x="2574024" y="3668428"/>
                                <a:pt x="2653593" y="3687963"/>
                                <a:pt x="2552369" y="3673503"/>
                              </a:cubicBezTo>
                              <a:cubicBezTo>
                                <a:pt x="2526659" y="3634938"/>
                                <a:pt x="2521667" y="3638387"/>
                                <a:pt x="2544418" y="3570136"/>
                              </a:cubicBezTo>
                              <a:cubicBezTo>
                                <a:pt x="2547440" y="3561070"/>
                                <a:pt x="2560321" y="3559534"/>
                                <a:pt x="2568272" y="3554233"/>
                              </a:cubicBezTo>
                              <a:cubicBezTo>
                                <a:pt x="2565621" y="3546282"/>
                                <a:pt x="2565556" y="3536924"/>
                                <a:pt x="2560320" y="3530379"/>
                              </a:cubicBezTo>
                              <a:cubicBezTo>
                                <a:pt x="2554350" y="3522917"/>
                                <a:pt x="2543807" y="3520595"/>
                                <a:pt x="2536466" y="3514477"/>
                              </a:cubicBezTo>
                              <a:cubicBezTo>
                                <a:pt x="2527828" y="3507278"/>
                                <a:pt x="2520564" y="3498574"/>
                                <a:pt x="2512613" y="3490623"/>
                              </a:cubicBezTo>
                              <a:cubicBezTo>
                                <a:pt x="2509962" y="3482672"/>
                                <a:pt x="2478157" y="3483997"/>
                                <a:pt x="2504661" y="3466769"/>
                              </a:cubicBezTo>
                              <a:lnTo>
                                <a:pt x="2504661" y="3387256"/>
                              </a:lnTo>
                              <a:lnTo>
                                <a:pt x="2536466" y="3339548"/>
                              </a:lnTo>
                              <a:lnTo>
                                <a:pt x="2512613" y="3315694"/>
                              </a:lnTo>
                              <a:cubicBezTo>
                                <a:pt x="2558112" y="3283194"/>
                                <a:pt x="2552884" y="3264268"/>
                                <a:pt x="2592126" y="3283889"/>
                              </a:cubicBezTo>
                              <a:cubicBezTo>
                                <a:pt x="2600673" y="3288163"/>
                                <a:pt x="2608028" y="3294490"/>
                                <a:pt x="2615979" y="3299791"/>
                              </a:cubicBezTo>
                              <a:cubicBezTo>
                                <a:pt x="2628189" y="3318106"/>
                                <a:pt x="2630132" y="3331597"/>
                                <a:pt x="2655736" y="3331597"/>
                              </a:cubicBezTo>
                              <a:cubicBezTo>
                                <a:pt x="2664118" y="3331597"/>
                                <a:pt x="2671639" y="3326296"/>
                                <a:pt x="2679590" y="3323645"/>
                              </a:cubicBezTo>
                              <a:cubicBezTo>
                                <a:pt x="2687230" y="3300725"/>
                                <a:pt x="2706251" y="3275470"/>
                                <a:pt x="2687541" y="3252083"/>
                              </a:cubicBezTo>
                              <a:cubicBezTo>
                                <a:pt x="2681571" y="3244621"/>
                                <a:pt x="2671638" y="3241482"/>
                                <a:pt x="2663687" y="3236181"/>
                              </a:cubicBezTo>
                              <a:cubicBezTo>
                                <a:pt x="2660339" y="3231159"/>
                                <a:pt x="2635719" y="3198759"/>
                                <a:pt x="2639833" y="3188473"/>
                              </a:cubicBezTo>
                              <a:cubicBezTo>
                                <a:pt x="2643382" y="3179600"/>
                                <a:pt x="2655736" y="3177871"/>
                                <a:pt x="2663687" y="3172570"/>
                              </a:cubicBezTo>
                              <a:cubicBezTo>
                                <a:pt x="2677091" y="3152465"/>
                                <a:pt x="2682838" y="3148379"/>
                                <a:pt x="2687541" y="3124863"/>
                              </a:cubicBezTo>
                              <a:cubicBezTo>
                                <a:pt x="2691217" y="3106485"/>
                                <a:pt x="2688765" y="3086695"/>
                                <a:pt x="2695493" y="3069203"/>
                              </a:cubicBezTo>
                              <a:cubicBezTo>
                                <a:pt x="2702354" y="3051365"/>
                                <a:pt x="2716696" y="3037398"/>
                                <a:pt x="2727298" y="3021496"/>
                              </a:cubicBezTo>
                              <a:lnTo>
                                <a:pt x="2743200" y="2997642"/>
                              </a:lnTo>
                              <a:lnTo>
                                <a:pt x="2759103" y="2973788"/>
                              </a:lnTo>
                              <a:cubicBezTo>
                                <a:pt x="2762860" y="2958758"/>
                                <a:pt x="2766686" y="2928298"/>
                                <a:pt x="2782957" y="2918129"/>
                              </a:cubicBezTo>
                              <a:cubicBezTo>
                                <a:pt x="2797172" y="2909245"/>
                                <a:pt x="2830665" y="2902226"/>
                                <a:pt x="2830665" y="2902226"/>
                              </a:cubicBezTo>
                              <a:cubicBezTo>
                                <a:pt x="2838616" y="2907527"/>
                                <a:pt x="2845093" y="2916558"/>
                                <a:pt x="2854519" y="2918129"/>
                              </a:cubicBezTo>
                              <a:cubicBezTo>
                                <a:pt x="2887298" y="2923592"/>
                                <a:pt x="2894716" y="2872778"/>
                                <a:pt x="2910178" y="2862470"/>
                              </a:cubicBezTo>
                              <a:cubicBezTo>
                                <a:pt x="2941006" y="2841918"/>
                                <a:pt x="2924966" y="2849589"/>
                                <a:pt x="2957886" y="2838616"/>
                              </a:cubicBezTo>
                              <a:cubicBezTo>
                                <a:pt x="2965837" y="2841266"/>
                                <a:pt x="2974243" y="2842819"/>
                                <a:pt x="2981739" y="2846567"/>
                              </a:cubicBezTo>
                              <a:cubicBezTo>
                                <a:pt x="2990286" y="2850841"/>
                                <a:pt x="2996167" y="2860899"/>
                                <a:pt x="3005593" y="2862470"/>
                              </a:cubicBezTo>
                              <a:cubicBezTo>
                                <a:pt x="3013860" y="2863848"/>
                                <a:pt x="3021496" y="2857169"/>
                                <a:pt x="3029447" y="2854518"/>
                              </a:cubicBezTo>
                              <a:cubicBezTo>
                                <a:pt x="3054060" y="2817600"/>
                                <a:pt x="3039197" y="2824352"/>
                                <a:pt x="3101009" y="2838616"/>
                              </a:cubicBezTo>
                              <a:cubicBezTo>
                                <a:pt x="3117343" y="2842385"/>
                                <a:pt x="3148717" y="2854518"/>
                                <a:pt x="3148717" y="2854518"/>
                              </a:cubicBezTo>
                              <a:cubicBezTo>
                                <a:pt x="3156668" y="2859819"/>
                                <a:pt x="3119562" y="2858494"/>
                                <a:pt x="3172571" y="2870421"/>
                              </a:cubicBezTo>
                              <a:lnTo>
                                <a:pt x="3196425" y="2878372"/>
                              </a:lnTo>
                              <a:cubicBezTo>
                                <a:pt x="3214978" y="2894275"/>
                                <a:pt x="3230228" y="2915152"/>
                                <a:pt x="3252084" y="2926080"/>
                              </a:cubicBezTo>
                              <a:cubicBezTo>
                                <a:pt x="3259581" y="2929828"/>
                                <a:pt x="3272190" y="2925626"/>
                                <a:pt x="3275938" y="2918129"/>
                              </a:cubicBezTo>
                              <a:cubicBezTo>
                                <a:pt x="3283609" y="2902787"/>
                                <a:pt x="3248182" y="2874470"/>
                                <a:pt x="3244133" y="2870421"/>
                              </a:cubicBezTo>
                              <a:cubicBezTo>
                                <a:pt x="3311459" y="2825534"/>
                                <a:pt x="3199909" y="2894426"/>
                                <a:pt x="3355451" y="2846567"/>
                              </a:cubicBezTo>
                              <a:cubicBezTo>
                                <a:pt x="3364585" y="2843757"/>
                                <a:pt x="3367472" y="2831446"/>
                                <a:pt x="3371353" y="2822713"/>
                              </a:cubicBezTo>
                              <a:cubicBezTo>
                                <a:pt x="3380507" y="2802116"/>
                                <a:pt x="3383528" y="2768328"/>
                                <a:pt x="3403159" y="2751151"/>
                              </a:cubicBezTo>
                              <a:cubicBezTo>
                                <a:pt x="3417542" y="2738565"/>
                                <a:pt x="3434964" y="2729948"/>
                                <a:pt x="3450866" y="2719346"/>
                              </a:cubicBezTo>
                              <a:lnTo>
                                <a:pt x="3474720" y="2703443"/>
                              </a:lnTo>
                              <a:cubicBezTo>
                                <a:pt x="3489688" y="2707185"/>
                                <a:pt x="3523363" y="2720906"/>
                                <a:pt x="3538331" y="2703443"/>
                              </a:cubicBezTo>
                              <a:cubicBezTo>
                                <a:pt x="3549240" y="2690716"/>
                                <a:pt x="3537005" y="2696818"/>
                                <a:pt x="3554233" y="2655736"/>
                              </a:cubicBezTo>
                              <a:lnTo>
                                <a:pt x="3554233" y="1892410"/>
                              </a:lnTo>
                              <a:lnTo>
                                <a:pt x="3403159" y="1637969"/>
                              </a:lnTo>
                              <a:lnTo>
                                <a:pt x="3228230" y="1383527"/>
                              </a:lnTo>
                              <a:lnTo>
                                <a:pt x="2965837" y="1017767"/>
                              </a:lnTo>
                              <a:lnTo>
                                <a:pt x="2735249" y="747423"/>
                              </a:lnTo>
                              <a:lnTo>
                                <a:pt x="2425148" y="453224"/>
                              </a:lnTo>
                              <a:lnTo>
                                <a:pt x="2138901" y="230588"/>
                              </a:lnTo>
                              <a:lnTo>
                                <a:pt x="1884459" y="71562"/>
                              </a:lnTo>
                              <a:lnTo>
                                <a:pt x="1765190" y="0"/>
                              </a:lnTo>
                              <a:lnTo>
                                <a:pt x="1685677" y="0"/>
                              </a:lnTo>
                              <a:lnTo>
                                <a:pt x="1661823" y="23854"/>
                              </a:lnTo>
                              <a:cubicBezTo>
                                <a:pt x="1643270" y="39757"/>
                                <a:pt x="1625245" y="56297"/>
                                <a:pt x="1606164" y="71562"/>
                              </a:cubicBezTo>
                              <a:cubicBezTo>
                                <a:pt x="1598702" y="77532"/>
                                <a:pt x="1589067" y="94222"/>
                                <a:pt x="1582310" y="87464"/>
                              </a:cubicBezTo>
                              <a:cubicBezTo>
                                <a:pt x="1575553" y="80706"/>
                                <a:pt x="1592912" y="71561"/>
                                <a:pt x="1598213" y="63610"/>
                              </a:cubicBezTo>
                              <a:cubicBezTo>
                                <a:pt x="1576383" y="-1877"/>
                                <a:pt x="1598904" y="13532"/>
                                <a:pt x="1526651" y="23854"/>
                              </a:cubicBezTo>
                              <a:cubicBezTo>
                                <a:pt x="1518700" y="29155"/>
                                <a:pt x="1505819" y="30691"/>
                                <a:pt x="1502797" y="39757"/>
                              </a:cubicBezTo>
                              <a:cubicBezTo>
                                <a:pt x="1493461" y="67764"/>
                                <a:pt x="1518799" y="76929"/>
                                <a:pt x="1534602" y="87464"/>
                              </a:cubicBezTo>
                              <a:cubicBezTo>
                                <a:pt x="1526651" y="92765"/>
                                <a:pt x="1520019" y="105685"/>
                                <a:pt x="1510748" y="103367"/>
                              </a:cubicBezTo>
                              <a:cubicBezTo>
                                <a:pt x="1466855" y="92394"/>
                                <a:pt x="1547306" y="49840"/>
                                <a:pt x="1478943" y="95416"/>
                              </a:cubicBezTo>
                              <a:cubicBezTo>
                                <a:pt x="1470154" y="121785"/>
                                <a:pt x="1479373" y="119270"/>
                                <a:pt x="1463040" y="119270"/>
                              </a:cubicBezTo>
                              <a:lnTo>
                                <a:pt x="1423284" y="159026"/>
                              </a:lnTo>
                              <a:cubicBezTo>
                                <a:pt x="1420985" y="165156"/>
                                <a:pt x="1397524" y="225332"/>
                                <a:pt x="1391479" y="246490"/>
                              </a:cubicBezTo>
                              <a:cubicBezTo>
                                <a:pt x="1388477" y="256998"/>
                                <a:pt x="1396779" y="276971"/>
                                <a:pt x="1383527" y="278296"/>
                              </a:cubicBezTo>
                              <a:lnTo>
                                <a:pt x="1335819" y="278296"/>
                              </a:lnTo>
                              <a:lnTo>
                                <a:pt x="1383527" y="310101"/>
                              </a:lnTo>
                              <a:lnTo>
                                <a:pt x="1335819" y="326003"/>
                              </a:lnTo>
                              <a:lnTo>
                                <a:pt x="1319917" y="365760"/>
                              </a:lnTo>
                              <a:cubicBezTo>
                                <a:pt x="1328049" y="387446"/>
                                <a:pt x="1317266" y="426720"/>
                                <a:pt x="1335819" y="461176"/>
                              </a:cubicBezTo>
                              <a:lnTo>
                                <a:pt x="1335819" y="492981"/>
                              </a:lnTo>
                              <a:cubicBezTo>
                                <a:pt x="1314616" y="503583"/>
                                <a:pt x="1293998" y="515448"/>
                                <a:pt x="1272209" y="524786"/>
                              </a:cubicBezTo>
                              <a:cubicBezTo>
                                <a:pt x="1256801" y="531389"/>
                                <a:pt x="1224501" y="540689"/>
                                <a:pt x="1224501" y="540689"/>
                              </a:cubicBezTo>
                              <a:cubicBezTo>
                                <a:pt x="1207726" y="490363"/>
                                <a:pt x="1232105" y="540490"/>
                                <a:pt x="1176793" y="508883"/>
                              </a:cubicBezTo>
                              <a:cubicBezTo>
                                <a:pt x="1168496" y="504142"/>
                                <a:pt x="1168353" y="491000"/>
                                <a:pt x="1160891" y="485030"/>
                              </a:cubicBezTo>
                              <a:cubicBezTo>
                                <a:pt x="1154346" y="479794"/>
                                <a:pt x="1144988" y="479729"/>
                                <a:pt x="1137037" y="477078"/>
                              </a:cubicBezTo>
                              <a:cubicBezTo>
                                <a:pt x="1138981" y="467360"/>
                                <a:pt x="1152243" y="392496"/>
                                <a:pt x="1160891" y="389614"/>
                              </a:cubicBezTo>
                              <a:lnTo>
                                <a:pt x="1184745" y="381663"/>
                              </a:lnTo>
                              <a:cubicBezTo>
                                <a:pt x="1192696" y="376362"/>
                                <a:pt x="1205050" y="374633"/>
                                <a:pt x="1208599" y="365760"/>
                              </a:cubicBezTo>
                              <a:cubicBezTo>
                                <a:pt x="1218577" y="340815"/>
                                <a:pt x="1188018" y="337697"/>
                                <a:pt x="1176793" y="333955"/>
                              </a:cubicBezTo>
                              <a:cubicBezTo>
                                <a:pt x="1171492" y="323353"/>
                                <a:pt x="1167780" y="311795"/>
                                <a:pt x="1160891" y="302150"/>
                              </a:cubicBezTo>
                              <a:cubicBezTo>
                                <a:pt x="1124368" y="251017"/>
                                <a:pt x="1103143" y="280717"/>
                                <a:pt x="1025719" y="286247"/>
                              </a:cubicBezTo>
                              <a:cubicBezTo>
                                <a:pt x="1009816" y="283597"/>
                                <a:pt x="991836" y="270001"/>
                                <a:pt x="978011" y="278296"/>
                              </a:cubicBezTo>
                              <a:cubicBezTo>
                                <a:pt x="968640" y="283918"/>
                                <a:pt x="977665" y="302989"/>
                                <a:pt x="985962" y="310101"/>
                              </a:cubicBezTo>
                              <a:cubicBezTo>
                                <a:pt x="998689" y="321010"/>
                                <a:pt x="1033670" y="326003"/>
                                <a:pt x="1033670" y="326003"/>
                              </a:cubicBezTo>
                              <a:lnTo>
                                <a:pt x="1049573" y="373711"/>
                              </a:lnTo>
                              <a:cubicBezTo>
                                <a:pt x="1052223" y="381662"/>
                                <a:pt x="1055880" y="389346"/>
                                <a:pt x="1057524" y="397565"/>
                              </a:cubicBezTo>
                              <a:cubicBezTo>
                                <a:pt x="1067119" y="445541"/>
                                <a:pt x="1061201" y="424501"/>
                                <a:pt x="1073426" y="461176"/>
                              </a:cubicBezTo>
                              <a:cubicBezTo>
                                <a:pt x="1076077" y="479729"/>
                                <a:pt x="1077702" y="498458"/>
                                <a:pt x="1081378" y="516835"/>
                              </a:cubicBezTo>
                              <a:cubicBezTo>
                                <a:pt x="1083022" y="525054"/>
                                <a:pt x="1089329" y="540689"/>
                                <a:pt x="1089329" y="540689"/>
                              </a:cubicBezTo>
                              <a:lnTo>
                                <a:pt x="1121134" y="548640"/>
                              </a:lnTo>
                              <a:cubicBezTo>
                                <a:pt x="1129085" y="569843"/>
                                <a:pt x="1138328" y="590606"/>
                                <a:pt x="1144988" y="612250"/>
                              </a:cubicBezTo>
                              <a:cubicBezTo>
                                <a:pt x="1149027" y="625376"/>
                                <a:pt x="1159156" y="689304"/>
                                <a:pt x="1160891" y="699715"/>
                              </a:cubicBezTo>
                              <a:cubicBezTo>
                                <a:pt x="1152940" y="705016"/>
                                <a:pt x="1146593" y="715617"/>
                                <a:pt x="1137037" y="715617"/>
                              </a:cubicBezTo>
                              <a:cubicBezTo>
                                <a:pt x="1137029" y="715617"/>
                                <a:pt x="1077406" y="695740"/>
                                <a:pt x="1065475" y="691763"/>
                              </a:cubicBezTo>
                              <a:lnTo>
                                <a:pt x="1041621" y="683812"/>
                              </a:lnTo>
                              <a:lnTo>
                                <a:pt x="1017767" y="675861"/>
                              </a:lnTo>
                              <a:cubicBezTo>
                                <a:pt x="1012466" y="683812"/>
                                <a:pt x="1004611" y="690562"/>
                                <a:pt x="1001865" y="699715"/>
                              </a:cubicBezTo>
                              <a:cubicBezTo>
                                <a:pt x="996480" y="717666"/>
                                <a:pt x="1001525" y="738248"/>
                                <a:pt x="993913" y="755374"/>
                              </a:cubicBezTo>
                              <a:cubicBezTo>
                                <a:pt x="990032" y="764107"/>
                                <a:pt x="978010" y="765976"/>
                                <a:pt x="970059" y="771277"/>
                              </a:cubicBezTo>
                              <a:cubicBezTo>
                                <a:pt x="967409" y="779228"/>
                                <a:pt x="968034" y="789204"/>
                                <a:pt x="962108" y="795130"/>
                              </a:cubicBezTo>
                              <a:cubicBezTo>
                                <a:pt x="956181" y="801057"/>
                                <a:pt x="942903" y="796108"/>
                                <a:pt x="938254" y="803082"/>
                              </a:cubicBezTo>
                              <a:cubicBezTo>
                                <a:pt x="930758" y="814327"/>
                                <a:pt x="935048" y="830184"/>
                                <a:pt x="930303" y="842838"/>
                              </a:cubicBezTo>
                              <a:cubicBezTo>
                                <a:pt x="926948" y="851786"/>
                                <a:pt x="919701" y="858741"/>
                                <a:pt x="914400" y="866692"/>
                              </a:cubicBezTo>
                              <a:cubicBezTo>
                                <a:pt x="917051" y="887896"/>
                                <a:pt x="911585" y="911845"/>
                                <a:pt x="922352" y="930303"/>
                              </a:cubicBezTo>
                              <a:cubicBezTo>
                                <a:pt x="931982" y="946812"/>
                                <a:pt x="970059" y="962108"/>
                                <a:pt x="970059" y="962108"/>
                              </a:cubicBezTo>
                              <a:cubicBezTo>
                                <a:pt x="975360" y="970059"/>
                                <a:pt x="981688" y="977415"/>
                                <a:pt x="985962" y="985962"/>
                              </a:cubicBezTo>
                              <a:cubicBezTo>
                                <a:pt x="1000618" y="1015274"/>
                                <a:pt x="993913" y="1038516"/>
                                <a:pt x="993913" y="1073426"/>
                              </a:cubicBezTo>
                              <a:lnTo>
                                <a:pt x="970059" y="1057523"/>
                              </a:lnTo>
                              <a:cubicBezTo>
                                <a:pt x="893323" y="1074576"/>
                                <a:pt x="922934" y="1073426"/>
                                <a:pt x="882595" y="1073426"/>
                              </a:cubicBezTo>
                              <a:lnTo>
                                <a:pt x="866693" y="1057523"/>
                              </a:lnTo>
                              <a:cubicBezTo>
                                <a:pt x="852674" y="1056121"/>
                                <a:pt x="781690" y="1052899"/>
                                <a:pt x="755374" y="1041621"/>
                              </a:cubicBezTo>
                              <a:cubicBezTo>
                                <a:pt x="746590" y="1037857"/>
                                <a:pt x="739471" y="1031019"/>
                                <a:pt x="731520" y="1025718"/>
                              </a:cubicBezTo>
                              <a:cubicBezTo>
                                <a:pt x="720598" y="1042102"/>
                                <a:pt x="682475" y="1072089"/>
                                <a:pt x="707666" y="1097280"/>
                              </a:cubicBezTo>
                              <a:cubicBezTo>
                                <a:pt x="713593" y="1103207"/>
                                <a:pt x="723569" y="1102581"/>
                                <a:pt x="731520" y="1105231"/>
                              </a:cubicBezTo>
                              <a:cubicBezTo>
                                <a:pt x="734171" y="1113182"/>
                                <a:pt x="734236" y="1122540"/>
                                <a:pt x="739472" y="1129085"/>
                              </a:cubicBezTo>
                              <a:cubicBezTo>
                                <a:pt x="750683" y="1143098"/>
                                <a:pt x="771464" y="1147701"/>
                                <a:pt x="787179" y="1152939"/>
                              </a:cubicBezTo>
                              <a:cubicBezTo>
                                <a:pt x="798744" y="1149084"/>
                                <a:pt x="793805" y="1148963"/>
                                <a:pt x="834887" y="1152939"/>
                              </a:cubicBezTo>
                              <a:lnTo>
                                <a:pt x="850790" y="1200647"/>
                              </a:lnTo>
                              <a:cubicBezTo>
                                <a:pt x="837538" y="1219200"/>
                                <a:pt x="831789" y="1246871"/>
                                <a:pt x="811033" y="1256306"/>
                              </a:cubicBezTo>
                              <a:cubicBezTo>
                                <a:pt x="795773" y="1263242"/>
                                <a:pt x="779959" y="1242482"/>
                                <a:pt x="763326" y="1240403"/>
                              </a:cubicBezTo>
                              <a:lnTo>
                                <a:pt x="699715" y="1232452"/>
                              </a:lnTo>
                              <a:cubicBezTo>
                                <a:pt x="691764" y="1224501"/>
                                <a:pt x="685691" y="1214059"/>
                                <a:pt x="675861" y="1208598"/>
                              </a:cubicBezTo>
                              <a:cubicBezTo>
                                <a:pt x="661208" y="1200457"/>
                                <a:pt x="644415" y="1196762"/>
                                <a:pt x="628153" y="1192696"/>
                              </a:cubicBezTo>
                              <a:cubicBezTo>
                                <a:pt x="588217" y="1182711"/>
                                <a:pt x="606715" y="1188200"/>
                                <a:pt x="572494" y="1176793"/>
                              </a:cubicBezTo>
                              <a:cubicBezTo>
                                <a:pt x="563639" y="1150227"/>
                                <a:pt x="563249" y="1151089"/>
                                <a:pt x="556592" y="1121134"/>
                              </a:cubicBezTo>
                              <a:cubicBezTo>
                                <a:pt x="553660" y="1107941"/>
                                <a:pt x="555345" y="1093111"/>
                                <a:pt x="548640" y="1081377"/>
                              </a:cubicBezTo>
                              <a:cubicBezTo>
                                <a:pt x="543899" y="1073080"/>
                                <a:pt x="532737" y="1070776"/>
                                <a:pt x="524786" y="1065475"/>
                              </a:cubicBezTo>
                              <a:cubicBezTo>
                                <a:pt x="522136" y="1057524"/>
                                <a:pt x="515909" y="1049951"/>
                                <a:pt x="516835" y="1041621"/>
                              </a:cubicBezTo>
                              <a:cubicBezTo>
                                <a:pt x="518686" y="1024961"/>
                                <a:pt x="532738" y="993913"/>
                                <a:pt x="532738" y="993913"/>
                              </a:cubicBezTo>
                              <a:cubicBezTo>
                                <a:pt x="517980" y="920132"/>
                                <a:pt x="539722" y="982888"/>
                                <a:pt x="492981" y="930303"/>
                              </a:cubicBezTo>
                              <a:cubicBezTo>
                                <a:pt x="439258" y="869865"/>
                                <a:pt x="486880" y="891164"/>
                                <a:pt x="437322" y="874643"/>
                              </a:cubicBezTo>
                              <a:cubicBezTo>
                                <a:pt x="429371" y="866692"/>
                                <a:pt x="420667" y="859428"/>
                                <a:pt x="413468" y="850790"/>
                              </a:cubicBezTo>
                              <a:cubicBezTo>
                                <a:pt x="393199" y="826467"/>
                                <a:pt x="404583" y="824754"/>
                                <a:pt x="373712" y="811033"/>
                              </a:cubicBezTo>
                              <a:cubicBezTo>
                                <a:pt x="358394" y="804225"/>
                                <a:pt x="326004" y="795130"/>
                                <a:pt x="326004" y="795130"/>
                              </a:cubicBezTo>
                              <a:cubicBezTo>
                                <a:pt x="323354" y="787179"/>
                                <a:pt x="309672" y="771277"/>
                                <a:pt x="318053" y="771277"/>
                              </a:cubicBezTo>
                              <a:cubicBezTo>
                                <a:pt x="327609" y="771277"/>
                                <a:pt x="326493" y="789160"/>
                                <a:pt x="333955" y="795130"/>
                              </a:cubicBezTo>
                              <a:cubicBezTo>
                                <a:pt x="340500" y="800366"/>
                                <a:pt x="349525" y="801808"/>
                                <a:pt x="357809" y="803082"/>
                              </a:cubicBezTo>
                              <a:cubicBezTo>
                                <a:pt x="384136" y="807132"/>
                                <a:pt x="410818" y="808383"/>
                                <a:pt x="437322" y="811033"/>
                              </a:cubicBezTo>
                              <a:cubicBezTo>
                                <a:pt x="447924" y="813683"/>
                                <a:pt x="458620" y="815982"/>
                                <a:pt x="469127" y="818984"/>
                              </a:cubicBezTo>
                              <a:cubicBezTo>
                                <a:pt x="477186" y="821287"/>
                                <a:pt x="484799" y="825118"/>
                                <a:pt x="492981" y="826936"/>
                              </a:cubicBezTo>
                              <a:cubicBezTo>
                                <a:pt x="508719" y="830433"/>
                                <a:pt x="524786" y="832237"/>
                                <a:pt x="540689" y="834887"/>
                              </a:cubicBezTo>
                              <a:lnTo>
                                <a:pt x="659959" y="826936"/>
                              </a:lnTo>
                              <a:cubicBezTo>
                                <a:pt x="710300" y="823975"/>
                                <a:pt x="760856" y="824002"/>
                                <a:pt x="811033" y="818984"/>
                              </a:cubicBezTo>
                              <a:cubicBezTo>
                                <a:pt x="814763" y="818611"/>
                                <a:pt x="816334" y="813683"/>
                                <a:pt x="818985" y="811033"/>
                              </a:cubicBezTo>
                              <a:lnTo>
                                <a:pt x="882595" y="771277"/>
                              </a:lnTo>
                              <a:lnTo>
                                <a:pt x="930303" y="691763"/>
                              </a:lnTo>
                              <a:cubicBezTo>
                                <a:pt x="927653" y="662608"/>
                                <a:pt x="931610" y="632072"/>
                                <a:pt x="922352" y="604299"/>
                              </a:cubicBezTo>
                              <a:cubicBezTo>
                                <a:pt x="919702" y="596348"/>
                                <a:pt x="903370" y="603168"/>
                                <a:pt x="898498" y="596348"/>
                              </a:cubicBezTo>
                              <a:cubicBezTo>
                                <a:pt x="888755" y="582708"/>
                                <a:pt x="887896" y="564543"/>
                                <a:pt x="882595" y="548640"/>
                              </a:cubicBezTo>
                              <a:cubicBezTo>
                                <a:pt x="879945" y="540689"/>
                                <a:pt x="879293" y="531760"/>
                                <a:pt x="874644" y="524786"/>
                              </a:cubicBezTo>
                              <a:cubicBezTo>
                                <a:pt x="869343" y="516835"/>
                                <a:pt x="866845" y="505997"/>
                                <a:pt x="858741" y="500932"/>
                              </a:cubicBezTo>
                              <a:cubicBezTo>
                                <a:pt x="844526" y="492048"/>
                                <a:pt x="811033" y="485030"/>
                                <a:pt x="811033" y="485030"/>
                              </a:cubicBezTo>
                              <a:cubicBezTo>
                                <a:pt x="800552" y="474549"/>
                                <a:pt x="783462" y="450348"/>
                                <a:pt x="763326" y="453224"/>
                              </a:cubicBezTo>
                              <a:cubicBezTo>
                                <a:pt x="751592" y="454900"/>
                                <a:pt x="742122" y="463826"/>
                                <a:pt x="731520" y="469127"/>
                              </a:cubicBezTo>
                              <a:cubicBezTo>
                                <a:pt x="715618" y="463826"/>
                                <a:pt x="689114" y="469126"/>
                                <a:pt x="683813" y="453224"/>
                              </a:cubicBezTo>
                              <a:cubicBezTo>
                                <a:pt x="681162" y="445273"/>
                                <a:pt x="681788" y="435297"/>
                                <a:pt x="675861" y="429370"/>
                              </a:cubicBezTo>
                              <a:cubicBezTo>
                                <a:pt x="669934" y="423444"/>
                                <a:pt x="659504" y="425167"/>
                                <a:pt x="652007" y="421419"/>
                              </a:cubicBezTo>
                              <a:cubicBezTo>
                                <a:pt x="643460" y="417145"/>
                                <a:pt x="636450" y="410258"/>
                                <a:pt x="628153" y="405517"/>
                              </a:cubicBezTo>
                              <a:cubicBezTo>
                                <a:pt x="617862" y="399636"/>
                                <a:pt x="633454" y="408167"/>
                                <a:pt x="596348" y="389614"/>
                              </a:cubicBezTo>
                              <a:lnTo>
                                <a:pt x="516835" y="365760"/>
                              </a:lnTo>
                              <a:cubicBezTo>
                                <a:pt x="495632" y="355158"/>
                                <a:pt x="476405" y="338922"/>
                                <a:pt x="453225" y="333955"/>
                              </a:cubicBezTo>
                              <a:cubicBezTo>
                                <a:pt x="437461" y="330577"/>
                                <a:pt x="421639" y="341906"/>
                                <a:pt x="405517" y="341906"/>
                              </a:cubicBezTo>
                              <a:cubicBezTo>
                                <a:pt x="384148" y="341906"/>
                                <a:pt x="363110" y="336605"/>
                                <a:pt x="341906" y="333955"/>
                              </a:cubicBezTo>
                              <a:cubicBezTo>
                                <a:pt x="326004" y="336605"/>
                                <a:pt x="309493" y="336808"/>
                                <a:pt x="294199" y="341906"/>
                              </a:cubicBezTo>
                              <a:cubicBezTo>
                                <a:pt x="285133" y="344928"/>
                                <a:pt x="270345" y="357809"/>
                                <a:pt x="270345" y="357809"/>
                              </a:cubicBezTo>
                              <a:lnTo>
                                <a:pt x="238539" y="333955"/>
                              </a:lnTo>
                              <a:cubicBezTo>
                                <a:pt x="230588" y="312751"/>
                                <a:pt x="233791" y="282502"/>
                                <a:pt x="214686" y="270344"/>
                              </a:cubicBezTo>
                              <a:cubicBezTo>
                                <a:pt x="157818" y="234155"/>
                                <a:pt x="151925" y="275745"/>
                                <a:pt x="143124" y="302150"/>
                              </a:cubicBezTo>
                              <a:cubicBezTo>
                                <a:pt x="111727" y="291683"/>
                                <a:pt x="103367" y="282272"/>
                                <a:pt x="95416" y="27829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5" name="Freeform 154"/>
                        <p:cNvSpPr/>
                        <p:nvPr/>
                      </p:nvSpPr>
                      <p:spPr>
                        <a:xfrm>
                          <a:off x="6398902" y="203984"/>
                          <a:ext cx="137070" cy="122019"/>
                        </a:xfrm>
                        <a:custGeom>
                          <a:avLst/>
                          <a:gdLst>
                            <a:gd name="connsiteX0" fmla="*/ 137070 w 137070"/>
                            <a:gd name="connsiteY0" fmla="*/ 26604 h 122019"/>
                            <a:gd name="connsiteX1" fmla="*/ 137070 w 137070"/>
                            <a:gd name="connsiteY1" fmla="*/ 26604 h 122019"/>
                            <a:gd name="connsiteX2" fmla="*/ 73460 w 137070"/>
                            <a:gd name="connsiteY2" fmla="*/ 2750 h 122019"/>
                            <a:gd name="connsiteX3" fmla="*/ 9849 w 137070"/>
                            <a:gd name="connsiteY3" fmla="*/ 10701 h 122019"/>
                            <a:gd name="connsiteX4" fmla="*/ 41655 w 137070"/>
                            <a:gd name="connsiteY4" fmla="*/ 74312 h 122019"/>
                            <a:gd name="connsiteX5" fmla="*/ 73460 w 137070"/>
                            <a:gd name="connsiteY5" fmla="*/ 122019 h 122019"/>
                            <a:gd name="connsiteX6" fmla="*/ 97314 w 137070"/>
                            <a:gd name="connsiteY6" fmla="*/ 106117 h 122019"/>
                            <a:gd name="connsiteX7" fmla="*/ 137070 w 137070"/>
                            <a:gd name="connsiteY7" fmla="*/ 26604 h 12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070" h="122019">
                              <a:moveTo>
                                <a:pt x="137070" y="26604"/>
                              </a:moveTo>
                              <a:lnTo>
                                <a:pt x="137070" y="26604"/>
                              </a:lnTo>
                              <a:cubicBezTo>
                                <a:pt x="115867" y="18653"/>
                                <a:pt x="95930" y="5559"/>
                                <a:pt x="73460" y="2750"/>
                              </a:cubicBezTo>
                              <a:cubicBezTo>
                                <a:pt x="52256" y="99"/>
                                <a:pt x="24959" y="-4409"/>
                                <a:pt x="9849" y="10701"/>
                              </a:cubicBezTo>
                              <a:cubicBezTo>
                                <a:pt x="-20622" y="41172"/>
                                <a:pt x="28093" y="65271"/>
                                <a:pt x="41655" y="74312"/>
                              </a:cubicBezTo>
                              <a:cubicBezTo>
                                <a:pt x="45645" y="90272"/>
                                <a:pt x="46004" y="122019"/>
                                <a:pt x="73460" y="122019"/>
                              </a:cubicBezTo>
                              <a:cubicBezTo>
                                <a:pt x="83016" y="122019"/>
                                <a:pt x="89363" y="111418"/>
                                <a:pt x="97314" y="106117"/>
                              </a:cubicBezTo>
                              <a:cubicBezTo>
                                <a:pt x="115090" y="52786"/>
                                <a:pt x="130444" y="39856"/>
                                <a:pt x="137070" y="26604"/>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grpSp>
              <p:nvGrpSpPr>
                <p:cNvPr id="141" name="Group 140"/>
                <p:cNvGrpSpPr/>
                <p:nvPr/>
              </p:nvGrpSpPr>
              <p:grpSpPr>
                <a:xfrm>
                  <a:off x="2803334" y="2252142"/>
                  <a:ext cx="2656623" cy="1607632"/>
                  <a:chOff x="2803334" y="2252142"/>
                  <a:chExt cx="2656623" cy="1607632"/>
                </a:xfrm>
              </p:grpSpPr>
              <p:grpSp>
                <p:nvGrpSpPr>
                  <p:cNvPr id="143" name="Group 142"/>
                  <p:cNvGrpSpPr/>
                  <p:nvPr/>
                </p:nvGrpSpPr>
                <p:grpSpPr>
                  <a:xfrm>
                    <a:off x="2892706" y="2252142"/>
                    <a:ext cx="2567251" cy="1607632"/>
                    <a:chOff x="2892706" y="2252142"/>
                    <a:chExt cx="2567251" cy="1607632"/>
                  </a:xfrm>
                </p:grpSpPr>
                <p:sp>
                  <p:nvSpPr>
                    <p:cNvPr id="145" name="TextBox 144"/>
                    <p:cNvSpPr txBox="1"/>
                    <p:nvPr/>
                  </p:nvSpPr>
                  <p:spPr>
                    <a:xfrm>
                      <a:off x="4669099" y="2252142"/>
                      <a:ext cx="552294" cy="301959"/>
                    </a:xfrm>
                    <a:prstGeom prst="rect">
                      <a:avLst/>
                    </a:prstGeom>
                    <a:noFill/>
                    <a:ln w="3175">
                      <a:noFill/>
                    </a:ln>
                  </p:spPr>
                  <p:txBody>
                    <a:bodyPr wrap="square" rtlCol="0">
                      <a:spAutoFit/>
                    </a:bodyPr>
                    <a:lstStyle/>
                    <a:p>
                      <a:r>
                        <a:rPr lang="lt-LT" sz="800" dirty="0" smtClean="0">
                          <a:solidFill>
                            <a:schemeClr val="accent1">
                              <a:lumMod val="50000"/>
                            </a:schemeClr>
                          </a:solidFill>
                        </a:rPr>
                        <a:t>Estija</a:t>
                      </a:r>
                      <a:endParaRPr lang="en-US" sz="800" dirty="0">
                        <a:solidFill>
                          <a:schemeClr val="accent1">
                            <a:lumMod val="50000"/>
                          </a:schemeClr>
                        </a:solidFill>
                      </a:endParaRPr>
                    </a:p>
                  </p:txBody>
                </p:sp>
                <p:sp>
                  <p:nvSpPr>
                    <p:cNvPr id="146" name="TextBox 145"/>
                    <p:cNvSpPr txBox="1"/>
                    <p:nvPr/>
                  </p:nvSpPr>
                  <p:spPr>
                    <a:xfrm>
                      <a:off x="4728028" y="2627554"/>
                      <a:ext cx="731929" cy="301959"/>
                    </a:xfrm>
                    <a:prstGeom prst="rect">
                      <a:avLst/>
                    </a:prstGeom>
                    <a:noFill/>
                    <a:ln w="3175">
                      <a:noFill/>
                    </a:ln>
                  </p:spPr>
                  <p:txBody>
                    <a:bodyPr wrap="square" rtlCol="0">
                      <a:spAutoFit/>
                    </a:bodyPr>
                    <a:lstStyle/>
                    <a:p>
                      <a:r>
                        <a:rPr lang="lt-LT" sz="800" dirty="0" smtClean="0">
                          <a:solidFill>
                            <a:schemeClr val="accent1">
                              <a:lumMod val="50000"/>
                            </a:schemeClr>
                          </a:solidFill>
                        </a:rPr>
                        <a:t>Latvija</a:t>
                      </a:r>
                      <a:endParaRPr lang="en-US" sz="800" dirty="0">
                        <a:solidFill>
                          <a:schemeClr val="accent1">
                            <a:lumMod val="50000"/>
                          </a:schemeClr>
                        </a:solidFill>
                      </a:endParaRPr>
                    </a:p>
                  </p:txBody>
                </p:sp>
                <p:sp>
                  <p:nvSpPr>
                    <p:cNvPr id="147" name="TextBox 146"/>
                    <p:cNvSpPr txBox="1"/>
                    <p:nvPr/>
                  </p:nvSpPr>
                  <p:spPr>
                    <a:xfrm>
                      <a:off x="2892706" y="3536248"/>
                      <a:ext cx="984973" cy="323526"/>
                    </a:xfrm>
                    <a:prstGeom prst="rect">
                      <a:avLst/>
                    </a:prstGeom>
                    <a:noFill/>
                    <a:ln w="3175">
                      <a:noFill/>
                    </a:ln>
                  </p:spPr>
                  <p:txBody>
                    <a:bodyPr wrap="square" rtlCol="0">
                      <a:spAutoFit/>
                    </a:bodyPr>
                    <a:lstStyle/>
                    <a:p>
                      <a:r>
                        <a:rPr lang="lt-LT" sz="900" dirty="0" smtClean="0">
                          <a:solidFill>
                            <a:schemeClr val="accent1">
                              <a:lumMod val="50000"/>
                            </a:schemeClr>
                          </a:solidFill>
                        </a:rPr>
                        <a:t>Vokietija</a:t>
                      </a:r>
                      <a:endParaRPr lang="en-US" sz="900" dirty="0">
                        <a:solidFill>
                          <a:schemeClr val="accent1">
                            <a:lumMod val="50000"/>
                          </a:schemeClr>
                        </a:solidFill>
                      </a:endParaRPr>
                    </a:p>
                  </p:txBody>
                </p:sp>
              </p:grpSp>
              <p:sp>
                <p:nvSpPr>
                  <p:cNvPr id="144" name="TextBox 143"/>
                  <p:cNvSpPr txBox="1"/>
                  <p:nvPr/>
                </p:nvSpPr>
                <p:spPr>
                  <a:xfrm rot="18648734">
                    <a:off x="2478871" y="3184366"/>
                    <a:ext cx="911195" cy="262270"/>
                  </a:xfrm>
                  <a:prstGeom prst="rect">
                    <a:avLst/>
                  </a:prstGeom>
                  <a:noFill/>
                  <a:ln w="3175">
                    <a:noFill/>
                  </a:ln>
                </p:spPr>
                <p:txBody>
                  <a:bodyPr wrap="square" rtlCol="0">
                    <a:spAutoFit/>
                  </a:bodyPr>
                  <a:lstStyle/>
                  <a:p>
                    <a:r>
                      <a:rPr lang="lt-LT" sz="700" dirty="0" smtClean="0">
                        <a:solidFill>
                          <a:schemeClr val="accent1">
                            <a:lumMod val="50000"/>
                          </a:schemeClr>
                        </a:solidFill>
                      </a:rPr>
                      <a:t>Olandija</a:t>
                    </a:r>
                    <a:endParaRPr lang="en-US" sz="400" dirty="0">
                      <a:solidFill>
                        <a:schemeClr val="accent1">
                          <a:lumMod val="50000"/>
                        </a:schemeClr>
                      </a:solidFill>
                    </a:endParaRPr>
                  </a:p>
                </p:txBody>
              </p:sp>
            </p:grpSp>
            <p:sp>
              <p:nvSpPr>
                <p:cNvPr id="142" name="TextBox 141"/>
                <p:cNvSpPr txBox="1"/>
                <p:nvPr/>
              </p:nvSpPr>
              <p:spPr>
                <a:xfrm>
                  <a:off x="4479581" y="2834263"/>
                  <a:ext cx="924581" cy="301959"/>
                </a:xfrm>
                <a:prstGeom prst="rect">
                  <a:avLst/>
                </a:prstGeom>
                <a:noFill/>
                <a:ln w="3175">
                  <a:noFill/>
                </a:ln>
              </p:spPr>
              <p:txBody>
                <a:bodyPr wrap="square" rtlCol="0">
                  <a:spAutoFit/>
                </a:bodyPr>
                <a:lstStyle/>
                <a:p>
                  <a:r>
                    <a:rPr lang="lt-LT" sz="800" dirty="0" smtClean="0">
                      <a:solidFill>
                        <a:schemeClr val="accent1">
                          <a:lumMod val="50000"/>
                        </a:schemeClr>
                      </a:solidFill>
                    </a:rPr>
                    <a:t>Lietuva</a:t>
                  </a:r>
                  <a:endParaRPr lang="en-US" sz="800" dirty="0">
                    <a:solidFill>
                      <a:schemeClr val="accent1">
                        <a:lumMod val="50000"/>
                      </a:schemeClr>
                    </a:solidFill>
                  </a:endParaRPr>
                </a:p>
              </p:txBody>
            </p:sp>
          </p:grpSp>
          <p:sp>
            <p:nvSpPr>
              <p:cNvPr id="139" name="Freeform 138"/>
              <p:cNvSpPr/>
              <p:nvPr/>
            </p:nvSpPr>
            <p:spPr>
              <a:xfrm>
                <a:off x="3582874" y="6612246"/>
                <a:ext cx="86469" cy="45719"/>
              </a:xfrm>
              <a:custGeom>
                <a:avLst/>
                <a:gdLst>
                  <a:gd name="connsiteX0" fmla="*/ 0 w 79424"/>
                  <a:gd name="connsiteY0" fmla="*/ 0 h 69000"/>
                  <a:gd name="connsiteX1" fmla="*/ 0 w 79424"/>
                  <a:gd name="connsiteY1" fmla="*/ 0 h 69000"/>
                  <a:gd name="connsiteX2" fmla="*/ 47625 w 79424"/>
                  <a:gd name="connsiteY2" fmla="*/ 66675 h 69000"/>
                  <a:gd name="connsiteX3" fmla="*/ 76200 w 79424"/>
                  <a:gd name="connsiteY3" fmla="*/ 57150 h 69000"/>
                  <a:gd name="connsiteX4" fmla="*/ 38100 w 79424"/>
                  <a:gd name="connsiteY4" fmla="*/ 19050 h 69000"/>
                  <a:gd name="connsiteX5" fmla="*/ 0 w 79424"/>
                  <a:gd name="connsiteY5" fmla="*/ 0 h 6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4" h="69000">
                    <a:moveTo>
                      <a:pt x="0" y="0"/>
                    </a:moveTo>
                    <a:lnTo>
                      <a:pt x="0" y="0"/>
                    </a:lnTo>
                    <a:cubicBezTo>
                      <a:pt x="15875" y="22225"/>
                      <a:pt x="25775" y="50288"/>
                      <a:pt x="47625" y="66675"/>
                    </a:cubicBezTo>
                    <a:cubicBezTo>
                      <a:pt x="55657" y="72699"/>
                      <a:pt x="71710" y="66130"/>
                      <a:pt x="76200" y="57150"/>
                    </a:cubicBezTo>
                    <a:cubicBezTo>
                      <a:pt x="91440" y="26670"/>
                      <a:pt x="48260" y="24130"/>
                      <a:pt x="38100" y="19050"/>
                    </a:cubicBezTo>
                    <a:lnTo>
                      <a:pt x="0" y="0"/>
                    </a:lnTo>
                    <a:close/>
                  </a:path>
                </a:pathLst>
              </a:custGeom>
              <a:solidFill>
                <a:schemeClr val="accent1">
                  <a:lumMod val="20000"/>
                  <a:lumOff val="8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86" name="Group 85"/>
            <p:cNvGrpSpPr/>
            <p:nvPr>
              <p:custDataLst>
                <p:tags r:id="rId82"/>
              </p:custDataLst>
            </p:nvPr>
          </p:nvGrpSpPr>
          <p:grpSpPr>
            <a:xfrm>
              <a:off x="2886075" y="2838450"/>
              <a:ext cx="5195670" cy="2097349"/>
              <a:chOff x="509304" y="2972848"/>
              <a:chExt cx="6811475" cy="2939570"/>
            </a:xfrm>
          </p:grpSpPr>
          <p:grpSp>
            <p:nvGrpSpPr>
              <p:cNvPr id="120" name="Group 119"/>
              <p:cNvGrpSpPr/>
              <p:nvPr>
                <p:custDataLst>
                  <p:tags r:id="rId86"/>
                </p:custDataLst>
              </p:nvPr>
            </p:nvGrpSpPr>
            <p:grpSpPr>
              <a:xfrm>
                <a:off x="752033" y="2972848"/>
                <a:ext cx="6568746" cy="2939570"/>
                <a:chOff x="752033" y="2972848"/>
                <a:chExt cx="6568746" cy="2939570"/>
              </a:xfrm>
            </p:grpSpPr>
            <p:grpSp>
              <p:nvGrpSpPr>
                <p:cNvPr id="122" name="Group 121"/>
                <p:cNvGrpSpPr/>
                <p:nvPr/>
              </p:nvGrpSpPr>
              <p:grpSpPr>
                <a:xfrm>
                  <a:off x="752033" y="2972848"/>
                  <a:ext cx="6568746" cy="2939570"/>
                  <a:chOff x="971600" y="2944698"/>
                  <a:chExt cx="6568746" cy="2939570"/>
                </a:xfrm>
              </p:grpSpPr>
              <p:grpSp>
                <p:nvGrpSpPr>
                  <p:cNvPr id="126" name="Group 125"/>
                  <p:cNvGrpSpPr/>
                  <p:nvPr/>
                </p:nvGrpSpPr>
                <p:grpSpPr>
                  <a:xfrm>
                    <a:off x="4538680" y="4537586"/>
                    <a:ext cx="3001666" cy="1346682"/>
                    <a:chOff x="4538680" y="4537586"/>
                    <a:chExt cx="3001666" cy="1346682"/>
                  </a:xfrm>
                </p:grpSpPr>
                <p:sp>
                  <p:nvSpPr>
                    <p:cNvPr id="134" name="TextBox 133"/>
                    <p:cNvSpPr txBox="1"/>
                    <p:nvPr>
                      <p:custDataLst>
                        <p:tags r:id="rId95"/>
                      </p:custDataLst>
                    </p:nvPr>
                  </p:nvSpPr>
                  <p:spPr>
                    <a:xfrm rot="20717270">
                      <a:off x="6392465" y="5507634"/>
                      <a:ext cx="1147881" cy="323526"/>
                    </a:xfrm>
                    <a:prstGeom prst="rect">
                      <a:avLst/>
                    </a:prstGeom>
                    <a:noFill/>
                    <a:ln w="3175">
                      <a:noFill/>
                    </a:ln>
                  </p:spPr>
                  <p:txBody>
                    <a:bodyPr wrap="square" rtlCol="0">
                      <a:spAutoFit/>
                    </a:bodyPr>
                    <a:lstStyle/>
                    <a:p>
                      <a:r>
                        <a:rPr lang="lt-LT" sz="900" dirty="0" smtClean="0">
                          <a:solidFill>
                            <a:schemeClr val="bg1"/>
                          </a:solidFill>
                        </a:rPr>
                        <a:t>Turkija</a:t>
                      </a:r>
                      <a:endParaRPr lang="en-US" sz="900" dirty="0">
                        <a:solidFill>
                          <a:schemeClr val="bg1"/>
                        </a:solidFill>
                      </a:endParaRPr>
                    </a:p>
                  </p:txBody>
                </p:sp>
                <p:sp>
                  <p:nvSpPr>
                    <p:cNvPr id="135" name="TextBox 134"/>
                    <p:cNvSpPr txBox="1"/>
                    <p:nvPr>
                      <p:custDataLst>
                        <p:tags r:id="rId96"/>
                      </p:custDataLst>
                    </p:nvPr>
                  </p:nvSpPr>
                  <p:spPr>
                    <a:xfrm>
                      <a:off x="4825581" y="4537586"/>
                      <a:ext cx="888553" cy="323526"/>
                    </a:xfrm>
                    <a:prstGeom prst="rect">
                      <a:avLst/>
                    </a:prstGeom>
                    <a:noFill/>
                    <a:ln w="3175">
                      <a:noFill/>
                    </a:ln>
                  </p:spPr>
                  <p:txBody>
                    <a:bodyPr wrap="square" rtlCol="0">
                      <a:spAutoFit/>
                    </a:bodyPr>
                    <a:lstStyle/>
                    <a:p>
                      <a:r>
                        <a:rPr lang="lt-LT" sz="900" dirty="0" smtClean="0">
                          <a:solidFill>
                            <a:schemeClr val="bg1"/>
                          </a:solidFill>
                        </a:rPr>
                        <a:t>Rumunija</a:t>
                      </a:r>
                      <a:endParaRPr lang="en-US" sz="900" dirty="0">
                        <a:solidFill>
                          <a:schemeClr val="bg1"/>
                        </a:solidFill>
                      </a:endParaRPr>
                    </a:p>
                  </p:txBody>
                </p:sp>
                <p:sp>
                  <p:nvSpPr>
                    <p:cNvPr id="136" name="TextBox 135"/>
                    <p:cNvSpPr txBox="1"/>
                    <p:nvPr>
                      <p:custDataLst>
                        <p:tags r:id="rId97"/>
                      </p:custDataLst>
                    </p:nvPr>
                  </p:nvSpPr>
                  <p:spPr>
                    <a:xfrm>
                      <a:off x="4989825" y="5163106"/>
                      <a:ext cx="797466" cy="280390"/>
                    </a:xfrm>
                    <a:prstGeom prst="rect">
                      <a:avLst/>
                    </a:prstGeom>
                    <a:noFill/>
                    <a:ln w="3175">
                      <a:noFill/>
                    </a:ln>
                  </p:spPr>
                  <p:txBody>
                    <a:bodyPr wrap="square" rtlCol="0">
                      <a:spAutoFit/>
                    </a:bodyPr>
                    <a:lstStyle/>
                    <a:p>
                      <a:r>
                        <a:rPr lang="lt-LT" sz="700" dirty="0" smtClean="0">
                          <a:solidFill>
                            <a:schemeClr val="accent1">
                              <a:lumMod val="50000"/>
                            </a:schemeClr>
                          </a:solidFill>
                        </a:rPr>
                        <a:t>Bulgarija</a:t>
                      </a:r>
                      <a:endParaRPr lang="en-US" sz="700" dirty="0">
                        <a:solidFill>
                          <a:schemeClr val="accent1">
                            <a:lumMod val="50000"/>
                          </a:schemeClr>
                        </a:solidFill>
                      </a:endParaRPr>
                    </a:p>
                  </p:txBody>
                </p:sp>
                <p:sp>
                  <p:nvSpPr>
                    <p:cNvPr id="137" name="TextBox 136"/>
                    <p:cNvSpPr txBox="1"/>
                    <p:nvPr>
                      <p:custDataLst>
                        <p:tags r:id="rId98"/>
                      </p:custDataLst>
                    </p:nvPr>
                  </p:nvSpPr>
                  <p:spPr>
                    <a:xfrm rot="19391524">
                      <a:off x="4538680" y="5603878"/>
                      <a:ext cx="685645" cy="280390"/>
                    </a:xfrm>
                    <a:prstGeom prst="rect">
                      <a:avLst/>
                    </a:prstGeom>
                    <a:noFill/>
                    <a:ln w="3175">
                      <a:noFill/>
                    </a:ln>
                  </p:spPr>
                  <p:txBody>
                    <a:bodyPr wrap="square" rtlCol="0">
                      <a:spAutoFit/>
                    </a:bodyPr>
                    <a:lstStyle/>
                    <a:p>
                      <a:r>
                        <a:rPr lang="lt-LT" sz="700" dirty="0" smtClean="0">
                          <a:solidFill>
                            <a:schemeClr val="accent1">
                              <a:lumMod val="50000"/>
                            </a:schemeClr>
                          </a:solidFill>
                        </a:rPr>
                        <a:t>Graikija</a:t>
                      </a:r>
                      <a:endParaRPr lang="en-US" sz="700" dirty="0">
                        <a:solidFill>
                          <a:schemeClr val="accent1">
                            <a:lumMod val="50000"/>
                          </a:schemeClr>
                        </a:solidFill>
                      </a:endParaRPr>
                    </a:p>
                  </p:txBody>
                </p:sp>
              </p:grpSp>
              <p:grpSp>
                <p:nvGrpSpPr>
                  <p:cNvPr id="127" name="Group 126"/>
                  <p:cNvGrpSpPr/>
                  <p:nvPr>
                    <p:custDataLst>
                      <p:tags r:id="rId88"/>
                    </p:custDataLst>
                  </p:nvPr>
                </p:nvGrpSpPr>
                <p:grpSpPr>
                  <a:xfrm>
                    <a:off x="971600" y="2944698"/>
                    <a:ext cx="3978933" cy="2587218"/>
                    <a:chOff x="971600" y="2944698"/>
                    <a:chExt cx="3978933" cy="2587218"/>
                  </a:xfrm>
                </p:grpSpPr>
                <p:sp>
                  <p:nvSpPr>
                    <p:cNvPr id="128" name="TextBox 127"/>
                    <p:cNvSpPr txBox="1"/>
                    <p:nvPr>
                      <p:custDataLst>
                        <p:tags r:id="rId89"/>
                      </p:custDataLst>
                    </p:nvPr>
                  </p:nvSpPr>
                  <p:spPr>
                    <a:xfrm>
                      <a:off x="4155629" y="3356992"/>
                      <a:ext cx="794904" cy="323526"/>
                    </a:xfrm>
                    <a:prstGeom prst="rect">
                      <a:avLst/>
                    </a:prstGeom>
                    <a:noFill/>
                    <a:ln w="3175">
                      <a:noFill/>
                    </a:ln>
                  </p:spPr>
                  <p:txBody>
                    <a:bodyPr wrap="square" rtlCol="0">
                      <a:spAutoFit/>
                    </a:bodyPr>
                    <a:lstStyle/>
                    <a:p>
                      <a:r>
                        <a:rPr lang="lt-LT" sz="900" dirty="0" smtClean="0">
                          <a:solidFill>
                            <a:schemeClr val="bg1"/>
                          </a:solidFill>
                        </a:rPr>
                        <a:t>Lenkija</a:t>
                      </a:r>
                      <a:endParaRPr lang="en-US" sz="900" dirty="0">
                        <a:solidFill>
                          <a:schemeClr val="bg1"/>
                        </a:solidFill>
                      </a:endParaRPr>
                    </a:p>
                  </p:txBody>
                </p:sp>
                <p:sp>
                  <p:nvSpPr>
                    <p:cNvPr id="129" name="TextBox 128"/>
                    <p:cNvSpPr txBox="1"/>
                    <p:nvPr>
                      <p:custDataLst>
                        <p:tags r:id="rId90"/>
                      </p:custDataLst>
                    </p:nvPr>
                  </p:nvSpPr>
                  <p:spPr>
                    <a:xfrm rot="3288151">
                      <a:off x="3151496" y="4954841"/>
                      <a:ext cx="851530" cy="302619"/>
                    </a:xfrm>
                    <a:prstGeom prst="rect">
                      <a:avLst/>
                    </a:prstGeom>
                    <a:noFill/>
                    <a:ln w="3175">
                      <a:noFill/>
                    </a:ln>
                  </p:spPr>
                  <p:txBody>
                    <a:bodyPr wrap="square" rtlCol="0">
                      <a:spAutoFit/>
                    </a:bodyPr>
                    <a:lstStyle/>
                    <a:p>
                      <a:r>
                        <a:rPr lang="lt-LT" sz="900" dirty="0" smtClean="0">
                          <a:solidFill>
                            <a:schemeClr val="bg1"/>
                          </a:solidFill>
                        </a:rPr>
                        <a:t>Italija</a:t>
                      </a:r>
                      <a:endParaRPr lang="en-US" sz="900" dirty="0">
                        <a:solidFill>
                          <a:schemeClr val="bg1"/>
                        </a:solidFill>
                      </a:endParaRPr>
                    </a:p>
                  </p:txBody>
                </p:sp>
                <p:sp>
                  <p:nvSpPr>
                    <p:cNvPr id="130" name="TextBox 129"/>
                    <p:cNvSpPr txBox="1"/>
                    <p:nvPr>
                      <p:custDataLst>
                        <p:tags r:id="rId91"/>
                      </p:custDataLst>
                    </p:nvPr>
                  </p:nvSpPr>
                  <p:spPr>
                    <a:xfrm>
                      <a:off x="971600" y="5163103"/>
                      <a:ext cx="847510" cy="323526"/>
                    </a:xfrm>
                    <a:prstGeom prst="rect">
                      <a:avLst/>
                    </a:prstGeom>
                    <a:noFill/>
                    <a:ln w="3175">
                      <a:noFill/>
                    </a:ln>
                  </p:spPr>
                  <p:txBody>
                    <a:bodyPr wrap="square" rtlCol="0">
                      <a:spAutoFit/>
                    </a:bodyPr>
                    <a:lstStyle/>
                    <a:p>
                      <a:r>
                        <a:rPr lang="lt-LT" sz="900" dirty="0" smtClean="0">
                          <a:solidFill>
                            <a:schemeClr val="accent1">
                              <a:lumMod val="50000"/>
                            </a:schemeClr>
                          </a:solidFill>
                        </a:rPr>
                        <a:t>Ispanija</a:t>
                      </a:r>
                      <a:endParaRPr lang="en-US" sz="900" dirty="0">
                        <a:solidFill>
                          <a:schemeClr val="accent1">
                            <a:lumMod val="50000"/>
                          </a:schemeClr>
                        </a:solidFill>
                      </a:endParaRPr>
                    </a:p>
                  </p:txBody>
                </p:sp>
                <p:sp>
                  <p:nvSpPr>
                    <p:cNvPr id="131" name="TextBox 130"/>
                    <p:cNvSpPr txBox="1"/>
                    <p:nvPr>
                      <p:custDataLst>
                        <p:tags r:id="rId92"/>
                      </p:custDataLst>
                    </p:nvPr>
                  </p:nvSpPr>
                  <p:spPr>
                    <a:xfrm>
                      <a:off x="2067078" y="4066535"/>
                      <a:ext cx="993133" cy="323526"/>
                    </a:xfrm>
                    <a:prstGeom prst="rect">
                      <a:avLst/>
                    </a:prstGeom>
                    <a:noFill/>
                    <a:ln w="3175">
                      <a:noFill/>
                    </a:ln>
                  </p:spPr>
                  <p:txBody>
                    <a:bodyPr wrap="square" rtlCol="0">
                      <a:spAutoFit/>
                    </a:bodyPr>
                    <a:lstStyle/>
                    <a:p>
                      <a:r>
                        <a:rPr lang="lt-LT" sz="900" dirty="0" smtClean="0">
                          <a:solidFill>
                            <a:schemeClr val="accent1">
                              <a:lumMod val="50000"/>
                            </a:schemeClr>
                          </a:solidFill>
                        </a:rPr>
                        <a:t>Prancūzija</a:t>
                      </a:r>
                      <a:endParaRPr lang="en-US" sz="900" dirty="0">
                        <a:solidFill>
                          <a:schemeClr val="accent1">
                            <a:lumMod val="50000"/>
                          </a:schemeClr>
                        </a:solidFill>
                      </a:endParaRPr>
                    </a:p>
                  </p:txBody>
                </p:sp>
                <p:sp>
                  <p:nvSpPr>
                    <p:cNvPr id="132" name="TextBox 131"/>
                    <p:cNvSpPr txBox="1"/>
                    <p:nvPr>
                      <p:custDataLst>
                        <p:tags r:id="rId93"/>
                      </p:custDataLst>
                    </p:nvPr>
                  </p:nvSpPr>
                  <p:spPr>
                    <a:xfrm>
                      <a:off x="3748295" y="3921497"/>
                      <a:ext cx="727470" cy="280390"/>
                    </a:xfrm>
                    <a:prstGeom prst="rect">
                      <a:avLst/>
                    </a:prstGeom>
                    <a:noFill/>
                    <a:ln w="3175">
                      <a:noFill/>
                    </a:ln>
                  </p:spPr>
                  <p:txBody>
                    <a:bodyPr wrap="square" rtlCol="0">
                      <a:spAutoFit/>
                    </a:bodyPr>
                    <a:lstStyle/>
                    <a:p>
                      <a:pPr algn="ctr"/>
                      <a:r>
                        <a:rPr lang="lt-LT" sz="700" dirty="0" smtClean="0">
                          <a:solidFill>
                            <a:schemeClr val="accent1">
                              <a:lumMod val="50000"/>
                            </a:schemeClr>
                          </a:solidFill>
                        </a:rPr>
                        <a:t>Čekija</a:t>
                      </a:r>
                      <a:endParaRPr lang="en-US" sz="700" dirty="0">
                        <a:solidFill>
                          <a:schemeClr val="accent1">
                            <a:lumMod val="50000"/>
                          </a:schemeClr>
                        </a:solidFill>
                      </a:endParaRPr>
                    </a:p>
                  </p:txBody>
                </p:sp>
                <p:sp>
                  <p:nvSpPr>
                    <p:cNvPr id="133" name="TextBox 132"/>
                    <p:cNvSpPr txBox="1"/>
                    <p:nvPr>
                      <p:custDataLst>
                        <p:tags r:id="rId94"/>
                      </p:custDataLst>
                    </p:nvPr>
                  </p:nvSpPr>
                  <p:spPr>
                    <a:xfrm>
                      <a:off x="1891622" y="2944698"/>
                      <a:ext cx="1172972" cy="474505"/>
                    </a:xfrm>
                    <a:prstGeom prst="rect">
                      <a:avLst/>
                    </a:prstGeom>
                    <a:noFill/>
                    <a:ln w="3175">
                      <a:noFill/>
                    </a:ln>
                  </p:spPr>
                  <p:txBody>
                    <a:bodyPr wrap="square" rtlCol="0">
                      <a:spAutoFit/>
                    </a:bodyPr>
                    <a:lstStyle/>
                    <a:p>
                      <a:r>
                        <a:rPr lang="lt-LT" sz="800" dirty="0" smtClean="0">
                          <a:solidFill>
                            <a:schemeClr val="accent1">
                              <a:lumMod val="50000"/>
                            </a:schemeClr>
                          </a:solidFill>
                        </a:rPr>
                        <a:t>Jungtinė Karalystė</a:t>
                      </a:r>
                      <a:endParaRPr lang="en-US" sz="800" dirty="0">
                        <a:solidFill>
                          <a:schemeClr val="accent1">
                            <a:lumMod val="50000"/>
                          </a:schemeClr>
                        </a:solidFill>
                      </a:endParaRPr>
                    </a:p>
                  </p:txBody>
                </p:sp>
              </p:grpSp>
            </p:grpSp>
            <p:grpSp>
              <p:nvGrpSpPr>
                <p:cNvPr id="123" name="Group 122"/>
                <p:cNvGrpSpPr/>
                <p:nvPr/>
              </p:nvGrpSpPr>
              <p:grpSpPr>
                <a:xfrm>
                  <a:off x="3525668" y="4450557"/>
                  <a:ext cx="867717" cy="519611"/>
                  <a:chOff x="3525668" y="4450557"/>
                  <a:chExt cx="867717" cy="519611"/>
                </a:xfrm>
              </p:grpSpPr>
              <p:sp>
                <p:nvSpPr>
                  <p:cNvPr id="124" name="TextBox 123"/>
                  <p:cNvSpPr txBox="1"/>
                  <p:nvPr/>
                </p:nvSpPr>
                <p:spPr>
                  <a:xfrm rot="20249147">
                    <a:off x="3525668" y="4450557"/>
                    <a:ext cx="867717" cy="301959"/>
                  </a:xfrm>
                  <a:prstGeom prst="rect">
                    <a:avLst/>
                  </a:prstGeom>
                  <a:noFill/>
                  <a:ln w="3175">
                    <a:noFill/>
                  </a:ln>
                </p:spPr>
                <p:txBody>
                  <a:bodyPr wrap="square" rtlCol="0">
                    <a:spAutoFit/>
                  </a:bodyPr>
                  <a:lstStyle/>
                  <a:p>
                    <a:r>
                      <a:rPr lang="lt-LT" sz="800" dirty="0" smtClean="0">
                        <a:solidFill>
                          <a:schemeClr val="accent1">
                            <a:lumMod val="50000"/>
                          </a:schemeClr>
                        </a:solidFill>
                      </a:rPr>
                      <a:t>Slovėnija</a:t>
                    </a:r>
                    <a:endParaRPr lang="en-US" sz="700" dirty="0">
                      <a:solidFill>
                        <a:schemeClr val="accent1">
                          <a:lumMod val="50000"/>
                        </a:schemeClr>
                      </a:solidFill>
                    </a:endParaRPr>
                  </a:p>
                </p:txBody>
              </p:sp>
              <p:sp>
                <p:nvSpPr>
                  <p:cNvPr id="125" name="TextBox 124"/>
                  <p:cNvSpPr txBox="1"/>
                  <p:nvPr/>
                </p:nvSpPr>
                <p:spPr>
                  <a:xfrm rot="21111663">
                    <a:off x="3652238" y="4689778"/>
                    <a:ext cx="727981" cy="280390"/>
                  </a:xfrm>
                  <a:prstGeom prst="rect">
                    <a:avLst/>
                  </a:prstGeom>
                  <a:noFill/>
                  <a:ln w="3175">
                    <a:noFill/>
                  </a:ln>
                </p:spPr>
                <p:txBody>
                  <a:bodyPr wrap="square" rtlCol="0">
                    <a:spAutoFit/>
                  </a:bodyPr>
                  <a:lstStyle/>
                  <a:p>
                    <a:r>
                      <a:rPr lang="lt-LT" sz="700" dirty="0" smtClean="0">
                        <a:solidFill>
                          <a:schemeClr val="accent1">
                            <a:lumMod val="50000"/>
                          </a:schemeClr>
                        </a:solidFill>
                      </a:rPr>
                      <a:t>Kroatija</a:t>
                    </a:r>
                    <a:endParaRPr lang="en-US" sz="700" dirty="0">
                      <a:solidFill>
                        <a:schemeClr val="accent1">
                          <a:lumMod val="50000"/>
                        </a:schemeClr>
                      </a:solidFill>
                    </a:endParaRPr>
                  </a:p>
                </p:txBody>
              </p:sp>
            </p:grpSp>
          </p:grpSp>
          <p:sp>
            <p:nvSpPr>
              <p:cNvPr id="121" name="TextBox 120"/>
              <p:cNvSpPr txBox="1"/>
              <p:nvPr>
                <p:custDataLst>
                  <p:tags r:id="rId87"/>
                </p:custDataLst>
              </p:nvPr>
            </p:nvSpPr>
            <p:spPr>
              <a:xfrm rot="17985300">
                <a:off x="100401" y="4939091"/>
                <a:ext cx="1100252" cy="282445"/>
              </a:xfrm>
              <a:prstGeom prst="rect">
                <a:avLst/>
              </a:prstGeom>
              <a:noFill/>
              <a:ln w="3175">
                <a:noFill/>
              </a:ln>
            </p:spPr>
            <p:txBody>
              <a:bodyPr wrap="square" rtlCol="0">
                <a:spAutoFit/>
              </a:bodyPr>
              <a:lstStyle/>
              <a:p>
                <a:r>
                  <a:rPr lang="lt-LT" sz="800" dirty="0" smtClean="0">
                    <a:solidFill>
                      <a:schemeClr val="accent1">
                        <a:lumMod val="50000"/>
                      </a:schemeClr>
                    </a:solidFill>
                  </a:rPr>
                  <a:t>Portugalija</a:t>
                </a:r>
                <a:endParaRPr lang="en-US" sz="800" dirty="0">
                  <a:solidFill>
                    <a:schemeClr val="accent1">
                      <a:lumMod val="50000"/>
                    </a:schemeClr>
                  </a:solidFill>
                </a:endParaRPr>
              </a:p>
            </p:txBody>
          </p:sp>
        </p:grpSp>
        <p:grpSp>
          <p:nvGrpSpPr>
            <p:cNvPr id="87" name="Group 86"/>
            <p:cNvGrpSpPr/>
            <p:nvPr/>
          </p:nvGrpSpPr>
          <p:grpSpPr>
            <a:xfrm>
              <a:off x="4427538" y="3635375"/>
              <a:ext cx="1794522" cy="1930763"/>
              <a:chOff x="2530763" y="4090709"/>
              <a:chExt cx="2352602" cy="2706090"/>
            </a:xfrm>
          </p:grpSpPr>
          <p:grpSp>
            <p:nvGrpSpPr>
              <p:cNvPr id="112" name="Group 111"/>
              <p:cNvGrpSpPr/>
              <p:nvPr/>
            </p:nvGrpSpPr>
            <p:grpSpPr>
              <a:xfrm>
                <a:off x="2530763" y="6494840"/>
                <a:ext cx="743275" cy="301959"/>
                <a:chOff x="2530763" y="6494840"/>
                <a:chExt cx="743275" cy="301959"/>
              </a:xfrm>
            </p:grpSpPr>
            <p:sp>
              <p:nvSpPr>
                <p:cNvPr id="118" name="TextBox 117"/>
                <p:cNvSpPr txBox="1"/>
                <p:nvPr>
                  <p:custDataLst>
                    <p:tags r:id="rId84"/>
                  </p:custDataLst>
                </p:nvPr>
              </p:nvSpPr>
              <p:spPr>
                <a:xfrm>
                  <a:off x="2530763" y="6494840"/>
                  <a:ext cx="743275" cy="301959"/>
                </a:xfrm>
                <a:prstGeom prst="rect">
                  <a:avLst/>
                </a:prstGeom>
                <a:noFill/>
                <a:ln w="3175">
                  <a:noFill/>
                </a:ln>
              </p:spPr>
              <p:txBody>
                <a:bodyPr wrap="square" rtlCol="0">
                  <a:spAutoFit/>
                </a:bodyPr>
                <a:lstStyle/>
                <a:p>
                  <a:r>
                    <a:rPr lang="lt-LT" sz="800" dirty="0" smtClean="0">
                      <a:solidFill>
                        <a:schemeClr val="accent1">
                          <a:lumMod val="50000"/>
                        </a:schemeClr>
                      </a:solidFill>
                    </a:rPr>
                    <a:t>Malta</a:t>
                  </a:r>
                  <a:endParaRPr lang="en-US" sz="800" dirty="0">
                    <a:solidFill>
                      <a:schemeClr val="accent1">
                        <a:lumMod val="50000"/>
                      </a:schemeClr>
                    </a:solidFill>
                  </a:endParaRPr>
                </a:p>
              </p:txBody>
            </p:sp>
            <p:cxnSp>
              <p:nvCxnSpPr>
                <p:cNvPr id="119" name="Straight Arrow Connector 118"/>
                <p:cNvCxnSpPr>
                  <a:endCxn id="118" idx="3"/>
                </p:cNvCxnSpPr>
                <p:nvPr>
                  <p:custDataLst>
                    <p:tags r:id="rId85"/>
                  </p:custDataLst>
                </p:nvPr>
              </p:nvCxnSpPr>
              <p:spPr>
                <a:xfrm>
                  <a:off x="3005174" y="6633339"/>
                  <a:ext cx="268864" cy="12481"/>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3427712" y="4090709"/>
                <a:ext cx="1455653" cy="1617504"/>
                <a:chOff x="3427712" y="4090709"/>
                <a:chExt cx="1455653" cy="1617504"/>
              </a:xfrm>
            </p:grpSpPr>
            <p:sp>
              <p:nvSpPr>
                <p:cNvPr id="114" name="TextBox 113"/>
                <p:cNvSpPr txBox="1"/>
                <p:nvPr>
                  <p:custDataLst>
                    <p:tags r:id="rId83"/>
                  </p:custDataLst>
                </p:nvPr>
              </p:nvSpPr>
              <p:spPr>
                <a:xfrm rot="20366593">
                  <a:off x="3985417" y="4090709"/>
                  <a:ext cx="867208" cy="301959"/>
                </a:xfrm>
                <a:prstGeom prst="rect">
                  <a:avLst/>
                </a:prstGeom>
                <a:noFill/>
                <a:ln w="3175">
                  <a:noFill/>
                </a:ln>
              </p:spPr>
              <p:txBody>
                <a:bodyPr wrap="square" rtlCol="0">
                  <a:spAutoFit/>
                </a:bodyPr>
                <a:lstStyle/>
                <a:p>
                  <a:r>
                    <a:rPr lang="lt-LT" sz="800" dirty="0" smtClean="0">
                      <a:solidFill>
                        <a:schemeClr val="accent1">
                          <a:lumMod val="50000"/>
                        </a:schemeClr>
                      </a:solidFill>
                    </a:rPr>
                    <a:t>Slovakija</a:t>
                  </a:r>
                  <a:endParaRPr lang="lt-LT" sz="800" dirty="0">
                    <a:solidFill>
                      <a:schemeClr val="accent1">
                        <a:lumMod val="50000"/>
                      </a:schemeClr>
                    </a:solidFill>
                  </a:endParaRPr>
                </a:p>
              </p:txBody>
            </p:sp>
            <p:sp>
              <p:nvSpPr>
                <p:cNvPr id="115" name="TextBox 114"/>
                <p:cNvSpPr txBox="1"/>
                <p:nvPr/>
              </p:nvSpPr>
              <p:spPr>
                <a:xfrm rot="9550551" flipV="1">
                  <a:off x="4391759" y="5363118"/>
                  <a:ext cx="491606" cy="345095"/>
                </a:xfrm>
                <a:prstGeom prst="rect">
                  <a:avLst/>
                </a:prstGeom>
                <a:noFill/>
                <a:ln w="3175">
                  <a:noFill/>
                </a:ln>
              </p:spPr>
              <p:txBody>
                <a:bodyPr wrap="square" rtlCol="0">
                  <a:spAutoFit/>
                </a:bodyPr>
                <a:lstStyle/>
                <a:p>
                  <a:pPr algn="ctr"/>
                  <a:r>
                    <a:rPr lang="lt-LT" sz="500" dirty="0" smtClean="0">
                      <a:solidFill>
                        <a:schemeClr val="accent1">
                          <a:lumMod val="50000"/>
                        </a:schemeClr>
                      </a:solidFill>
                    </a:rPr>
                    <a:t>Makedonija</a:t>
                  </a:r>
                  <a:endParaRPr lang="en-US" sz="500" dirty="0">
                    <a:solidFill>
                      <a:schemeClr val="accent1">
                        <a:lumMod val="50000"/>
                      </a:schemeClr>
                    </a:solidFill>
                  </a:endParaRPr>
                </a:p>
              </p:txBody>
            </p:sp>
            <p:sp>
              <p:nvSpPr>
                <p:cNvPr id="116" name="TextBox 115"/>
                <p:cNvSpPr txBox="1"/>
                <p:nvPr/>
              </p:nvSpPr>
              <p:spPr>
                <a:xfrm rot="20140695">
                  <a:off x="3427712" y="4287171"/>
                  <a:ext cx="653927" cy="280390"/>
                </a:xfrm>
                <a:prstGeom prst="rect">
                  <a:avLst/>
                </a:prstGeom>
                <a:noFill/>
                <a:ln w="3175">
                  <a:noFill/>
                </a:ln>
              </p:spPr>
              <p:txBody>
                <a:bodyPr wrap="square" rtlCol="0">
                  <a:spAutoFit/>
                </a:bodyPr>
                <a:lstStyle/>
                <a:p>
                  <a:r>
                    <a:rPr lang="lt-LT" sz="700" dirty="0" smtClean="0">
                      <a:solidFill>
                        <a:schemeClr val="accent1">
                          <a:lumMod val="50000"/>
                        </a:schemeClr>
                      </a:solidFill>
                    </a:rPr>
                    <a:t>Austrija</a:t>
                  </a:r>
                  <a:endParaRPr lang="en-US" sz="700" dirty="0">
                    <a:solidFill>
                      <a:schemeClr val="accent1">
                        <a:lumMod val="50000"/>
                      </a:schemeClr>
                    </a:solidFill>
                  </a:endParaRPr>
                </a:p>
              </p:txBody>
            </p:sp>
            <p:sp>
              <p:nvSpPr>
                <p:cNvPr id="117" name="TextBox 116"/>
                <p:cNvSpPr txBox="1"/>
                <p:nvPr/>
              </p:nvSpPr>
              <p:spPr>
                <a:xfrm rot="20122355">
                  <a:off x="4013751" y="4383003"/>
                  <a:ext cx="774304" cy="301959"/>
                </a:xfrm>
                <a:prstGeom prst="rect">
                  <a:avLst/>
                </a:prstGeom>
                <a:noFill/>
                <a:ln w="3175">
                  <a:noFill/>
                </a:ln>
              </p:spPr>
              <p:txBody>
                <a:bodyPr wrap="square" rtlCol="0">
                  <a:spAutoFit/>
                </a:bodyPr>
                <a:lstStyle/>
                <a:p>
                  <a:r>
                    <a:rPr lang="lt-LT" sz="800" dirty="0" smtClean="0">
                      <a:solidFill>
                        <a:schemeClr val="accent1">
                          <a:lumMod val="50000"/>
                        </a:schemeClr>
                      </a:solidFill>
                    </a:rPr>
                    <a:t>Vengrija</a:t>
                  </a:r>
                  <a:endParaRPr lang="en-US" sz="800" dirty="0">
                    <a:solidFill>
                      <a:schemeClr val="accent1">
                        <a:lumMod val="50000"/>
                      </a:schemeClr>
                    </a:solidFill>
                  </a:endParaRPr>
                </a:p>
              </p:txBody>
            </p:sp>
          </p:grpSp>
        </p:grpSp>
        <p:sp>
          <p:nvSpPr>
            <p:cNvPr id="88" name="TextBox 87"/>
            <p:cNvSpPr txBox="1"/>
            <p:nvPr/>
          </p:nvSpPr>
          <p:spPr>
            <a:xfrm>
              <a:off x="3692525" y="1066800"/>
              <a:ext cx="754153" cy="215444"/>
            </a:xfrm>
            <a:prstGeom prst="rect">
              <a:avLst/>
            </a:prstGeom>
            <a:noFill/>
            <a:ln w="3175">
              <a:noFill/>
            </a:ln>
          </p:spPr>
          <p:txBody>
            <a:bodyPr wrap="square" rtlCol="0">
              <a:spAutoFit/>
            </a:bodyPr>
            <a:lstStyle/>
            <a:p>
              <a:r>
                <a:rPr lang="lt-LT" sz="800" dirty="0" smtClean="0">
                  <a:solidFill>
                    <a:schemeClr val="accent1">
                      <a:lumMod val="50000"/>
                    </a:schemeClr>
                  </a:solidFill>
                </a:rPr>
                <a:t>Islandija</a:t>
              </a:r>
              <a:endParaRPr lang="en-US" sz="800" dirty="0">
                <a:solidFill>
                  <a:schemeClr val="accent1">
                    <a:lumMod val="50000"/>
                  </a:schemeClr>
                </a:solidFill>
              </a:endParaRPr>
            </a:p>
          </p:txBody>
        </p:sp>
        <p:sp>
          <p:nvSpPr>
            <p:cNvPr id="89" name="TextBox 88"/>
            <p:cNvSpPr txBox="1"/>
            <p:nvPr/>
          </p:nvSpPr>
          <p:spPr>
            <a:xfrm rot="20608433">
              <a:off x="3416300" y="2708275"/>
              <a:ext cx="475128" cy="215444"/>
            </a:xfrm>
            <a:prstGeom prst="rect">
              <a:avLst/>
            </a:prstGeom>
            <a:noFill/>
            <a:ln w="3175">
              <a:noFill/>
            </a:ln>
          </p:spPr>
          <p:txBody>
            <a:bodyPr wrap="square" rtlCol="0">
              <a:spAutoFit/>
            </a:bodyPr>
            <a:lstStyle/>
            <a:p>
              <a:r>
                <a:rPr lang="lt-LT" sz="800" dirty="0" smtClean="0">
                  <a:solidFill>
                    <a:schemeClr val="accent1">
                      <a:lumMod val="50000"/>
                    </a:schemeClr>
                  </a:solidFill>
                </a:rPr>
                <a:t>Airija</a:t>
              </a:r>
              <a:endParaRPr lang="en-US" sz="800" dirty="0">
                <a:solidFill>
                  <a:schemeClr val="accent1">
                    <a:lumMod val="50000"/>
                  </a:schemeClr>
                </a:solidFill>
              </a:endParaRPr>
            </a:p>
          </p:txBody>
        </p:sp>
        <p:sp>
          <p:nvSpPr>
            <p:cNvPr id="90" name="TextBox 89"/>
            <p:cNvSpPr txBox="1"/>
            <p:nvPr/>
          </p:nvSpPr>
          <p:spPr>
            <a:xfrm rot="18769716">
              <a:off x="4786313" y="2041525"/>
              <a:ext cx="702073" cy="230832"/>
            </a:xfrm>
            <a:prstGeom prst="rect">
              <a:avLst/>
            </a:prstGeom>
            <a:noFill/>
            <a:ln w="3175">
              <a:noFill/>
            </a:ln>
          </p:spPr>
          <p:txBody>
            <a:bodyPr wrap="square" rtlCol="0">
              <a:spAutoFit/>
            </a:bodyPr>
            <a:lstStyle/>
            <a:p>
              <a:r>
                <a:rPr lang="lt-LT" sz="900" dirty="0" smtClean="0">
                  <a:solidFill>
                    <a:schemeClr val="accent1">
                      <a:lumMod val="50000"/>
                    </a:schemeClr>
                  </a:solidFill>
                </a:rPr>
                <a:t>Norvegija</a:t>
              </a:r>
              <a:endParaRPr lang="en-US" sz="900" dirty="0">
                <a:solidFill>
                  <a:schemeClr val="accent1">
                    <a:lumMod val="50000"/>
                  </a:schemeClr>
                </a:solidFill>
              </a:endParaRPr>
            </a:p>
          </p:txBody>
        </p:sp>
        <p:sp>
          <p:nvSpPr>
            <p:cNvPr id="91" name="TextBox 90"/>
            <p:cNvSpPr txBox="1"/>
            <p:nvPr/>
          </p:nvSpPr>
          <p:spPr>
            <a:xfrm rot="18786825">
              <a:off x="5146675" y="1973263"/>
              <a:ext cx="1082936" cy="230832"/>
            </a:xfrm>
            <a:prstGeom prst="rect">
              <a:avLst/>
            </a:prstGeom>
            <a:noFill/>
            <a:ln w="3175">
              <a:noFill/>
            </a:ln>
          </p:spPr>
          <p:txBody>
            <a:bodyPr wrap="square" rtlCol="0">
              <a:spAutoFit/>
            </a:bodyPr>
            <a:lstStyle/>
            <a:p>
              <a:r>
                <a:rPr lang="lt-LT" sz="900" dirty="0" smtClean="0">
                  <a:solidFill>
                    <a:schemeClr val="accent1">
                      <a:lumMod val="50000"/>
                    </a:schemeClr>
                  </a:solidFill>
                </a:rPr>
                <a:t>Švedija</a:t>
              </a:r>
              <a:endParaRPr lang="en-US" sz="900" dirty="0">
                <a:solidFill>
                  <a:schemeClr val="accent1">
                    <a:lumMod val="50000"/>
                  </a:schemeClr>
                </a:solidFill>
              </a:endParaRPr>
            </a:p>
          </p:txBody>
        </p:sp>
        <p:sp>
          <p:nvSpPr>
            <p:cNvPr id="92" name="TextBox 91"/>
            <p:cNvSpPr txBox="1"/>
            <p:nvPr/>
          </p:nvSpPr>
          <p:spPr>
            <a:xfrm>
              <a:off x="5972175" y="1870075"/>
              <a:ext cx="758670" cy="230832"/>
            </a:xfrm>
            <a:prstGeom prst="rect">
              <a:avLst/>
            </a:prstGeom>
            <a:noFill/>
            <a:ln w="3175">
              <a:noFill/>
            </a:ln>
          </p:spPr>
          <p:txBody>
            <a:bodyPr wrap="square" rtlCol="0">
              <a:spAutoFit/>
            </a:bodyPr>
            <a:lstStyle/>
            <a:p>
              <a:r>
                <a:rPr lang="lt-LT" sz="900" dirty="0" smtClean="0">
                  <a:solidFill>
                    <a:schemeClr val="accent1">
                      <a:lumMod val="50000"/>
                    </a:schemeClr>
                  </a:solidFill>
                </a:rPr>
                <a:t>Suomija</a:t>
              </a:r>
              <a:endParaRPr lang="en-US" sz="900" dirty="0">
                <a:solidFill>
                  <a:schemeClr val="accent1">
                    <a:lumMod val="50000"/>
                  </a:schemeClr>
                </a:solidFill>
              </a:endParaRPr>
            </a:p>
          </p:txBody>
        </p:sp>
        <p:sp>
          <p:nvSpPr>
            <p:cNvPr id="93" name="TextBox 92"/>
            <p:cNvSpPr txBox="1"/>
            <p:nvPr/>
          </p:nvSpPr>
          <p:spPr>
            <a:xfrm rot="2783836">
              <a:off x="4295775" y="3268663"/>
              <a:ext cx="539278" cy="215444"/>
            </a:xfrm>
            <a:prstGeom prst="rect">
              <a:avLst/>
            </a:prstGeom>
            <a:noFill/>
            <a:ln w="3175">
              <a:noFill/>
            </a:ln>
          </p:spPr>
          <p:txBody>
            <a:bodyPr wrap="square" rtlCol="0">
              <a:spAutoFit/>
            </a:bodyPr>
            <a:lstStyle/>
            <a:p>
              <a:r>
                <a:rPr lang="lt-LT" sz="800" dirty="0" smtClean="0">
                  <a:solidFill>
                    <a:schemeClr val="accent1">
                      <a:lumMod val="50000"/>
                    </a:schemeClr>
                  </a:solidFill>
                </a:rPr>
                <a:t>Belgija</a:t>
              </a:r>
              <a:endParaRPr lang="en-US" sz="500" dirty="0">
                <a:solidFill>
                  <a:schemeClr val="accent1">
                    <a:lumMod val="50000"/>
                  </a:schemeClr>
                </a:solidFill>
              </a:endParaRPr>
            </a:p>
          </p:txBody>
        </p:sp>
        <p:sp>
          <p:nvSpPr>
            <p:cNvPr id="94" name="TextBox 93"/>
            <p:cNvSpPr txBox="1"/>
            <p:nvPr/>
          </p:nvSpPr>
          <p:spPr>
            <a:xfrm rot="19092847">
              <a:off x="4846638" y="2563813"/>
              <a:ext cx="604588" cy="169277"/>
            </a:xfrm>
            <a:prstGeom prst="rect">
              <a:avLst/>
            </a:prstGeom>
            <a:noFill/>
            <a:ln w="3175">
              <a:noFill/>
            </a:ln>
          </p:spPr>
          <p:txBody>
            <a:bodyPr wrap="square" rtlCol="0">
              <a:spAutoFit/>
            </a:bodyPr>
            <a:lstStyle/>
            <a:p>
              <a:r>
                <a:rPr lang="lt-LT" sz="500" dirty="0" smtClean="0">
                  <a:solidFill>
                    <a:schemeClr val="accent1">
                      <a:lumMod val="50000"/>
                    </a:schemeClr>
                  </a:solidFill>
                </a:rPr>
                <a:t>Danija</a:t>
              </a:r>
              <a:endParaRPr lang="en-US" sz="500" dirty="0">
                <a:solidFill>
                  <a:schemeClr val="accent1">
                    <a:lumMod val="50000"/>
                  </a:schemeClr>
                </a:solidFill>
              </a:endParaRPr>
            </a:p>
          </p:txBody>
        </p:sp>
        <p:sp>
          <p:nvSpPr>
            <p:cNvPr id="95" name="TextBox 94"/>
            <p:cNvSpPr txBox="1"/>
            <p:nvPr/>
          </p:nvSpPr>
          <p:spPr>
            <a:xfrm rot="2320402">
              <a:off x="6403975" y="3771900"/>
              <a:ext cx="557973" cy="215444"/>
            </a:xfrm>
            <a:prstGeom prst="rect">
              <a:avLst/>
            </a:prstGeom>
            <a:noFill/>
            <a:ln w="3175">
              <a:noFill/>
            </a:ln>
          </p:spPr>
          <p:txBody>
            <a:bodyPr wrap="square" rtlCol="0">
              <a:spAutoFit/>
            </a:bodyPr>
            <a:lstStyle/>
            <a:p>
              <a:r>
                <a:rPr lang="lt-LT" sz="800" dirty="0" smtClean="0">
                  <a:solidFill>
                    <a:schemeClr val="accent1">
                      <a:lumMod val="50000"/>
                    </a:schemeClr>
                  </a:solidFill>
                </a:rPr>
                <a:t>Moldova</a:t>
              </a:r>
              <a:endParaRPr lang="en-US" sz="500" dirty="0">
                <a:solidFill>
                  <a:schemeClr val="accent1">
                    <a:lumMod val="50000"/>
                  </a:schemeClr>
                </a:solidFill>
              </a:endParaRPr>
            </a:p>
          </p:txBody>
        </p:sp>
        <p:sp>
          <p:nvSpPr>
            <p:cNvPr id="96" name="TextBox 95"/>
            <p:cNvSpPr txBox="1"/>
            <p:nvPr/>
          </p:nvSpPr>
          <p:spPr>
            <a:xfrm rot="355802">
              <a:off x="4513263" y="3836988"/>
              <a:ext cx="538271" cy="184666"/>
            </a:xfrm>
            <a:prstGeom prst="rect">
              <a:avLst/>
            </a:prstGeom>
            <a:noFill/>
            <a:ln w="3175">
              <a:noFill/>
            </a:ln>
          </p:spPr>
          <p:txBody>
            <a:bodyPr wrap="square" rtlCol="0">
              <a:spAutoFit/>
            </a:bodyPr>
            <a:lstStyle/>
            <a:p>
              <a:r>
                <a:rPr lang="lt-LT" sz="600" dirty="0" smtClean="0">
                  <a:solidFill>
                    <a:schemeClr val="accent1">
                      <a:lumMod val="50000"/>
                    </a:schemeClr>
                  </a:solidFill>
                </a:rPr>
                <a:t>Šveicarija</a:t>
              </a:r>
              <a:endParaRPr lang="en-US" sz="600" dirty="0">
                <a:solidFill>
                  <a:schemeClr val="accent1">
                    <a:lumMod val="50000"/>
                  </a:schemeClr>
                </a:solidFill>
              </a:endParaRPr>
            </a:p>
          </p:txBody>
        </p:sp>
        <p:sp>
          <p:nvSpPr>
            <p:cNvPr id="97" name="TextBox 96"/>
            <p:cNvSpPr txBox="1"/>
            <p:nvPr/>
          </p:nvSpPr>
          <p:spPr>
            <a:xfrm>
              <a:off x="6442075" y="3429000"/>
              <a:ext cx="695941" cy="261610"/>
            </a:xfrm>
            <a:prstGeom prst="rect">
              <a:avLst/>
            </a:prstGeom>
            <a:noFill/>
            <a:ln w="3175">
              <a:noFill/>
            </a:ln>
          </p:spPr>
          <p:txBody>
            <a:bodyPr wrap="square" rtlCol="0">
              <a:spAutoFit/>
            </a:bodyPr>
            <a:lstStyle/>
            <a:p>
              <a:r>
                <a:rPr lang="lt-LT" sz="1050" dirty="0" smtClean="0">
                  <a:solidFill>
                    <a:schemeClr val="accent1">
                      <a:lumMod val="50000"/>
                    </a:schemeClr>
                  </a:solidFill>
                </a:rPr>
                <a:t>Ukraina</a:t>
              </a:r>
              <a:endParaRPr lang="en-US" sz="1050" dirty="0">
                <a:solidFill>
                  <a:schemeClr val="accent1">
                    <a:lumMod val="50000"/>
                  </a:schemeClr>
                </a:solidFill>
              </a:endParaRPr>
            </a:p>
          </p:txBody>
        </p:sp>
        <p:grpSp>
          <p:nvGrpSpPr>
            <p:cNvPr id="98" name="Group 97"/>
            <p:cNvGrpSpPr/>
            <p:nvPr/>
          </p:nvGrpSpPr>
          <p:grpSpPr>
            <a:xfrm>
              <a:off x="8016875" y="4146550"/>
              <a:ext cx="1096280" cy="428991"/>
              <a:chOff x="7236296" y="4807004"/>
              <a:chExt cx="1437213" cy="601258"/>
            </a:xfrm>
          </p:grpSpPr>
          <p:sp>
            <p:nvSpPr>
              <p:cNvPr id="109" name="TextBox 108"/>
              <p:cNvSpPr txBox="1"/>
              <p:nvPr/>
            </p:nvSpPr>
            <p:spPr>
              <a:xfrm>
                <a:off x="7236296" y="4807004"/>
                <a:ext cx="1080120" cy="280390"/>
              </a:xfrm>
              <a:prstGeom prst="rect">
                <a:avLst/>
              </a:prstGeom>
              <a:noFill/>
              <a:ln w="3175">
                <a:noFill/>
              </a:ln>
            </p:spPr>
            <p:txBody>
              <a:bodyPr wrap="square" rtlCol="0">
                <a:spAutoFit/>
              </a:bodyPr>
              <a:lstStyle/>
              <a:p>
                <a:r>
                  <a:rPr lang="lt-LT" sz="700" dirty="0" smtClean="0">
                    <a:solidFill>
                      <a:schemeClr val="accent1">
                        <a:lumMod val="50000"/>
                      </a:schemeClr>
                    </a:solidFill>
                  </a:rPr>
                  <a:t>Gruzija</a:t>
                </a:r>
                <a:endParaRPr lang="en-US" sz="700" dirty="0">
                  <a:solidFill>
                    <a:schemeClr val="accent1">
                      <a:lumMod val="50000"/>
                    </a:schemeClr>
                  </a:solidFill>
                </a:endParaRPr>
              </a:p>
            </p:txBody>
          </p:sp>
          <p:sp>
            <p:nvSpPr>
              <p:cNvPr id="110" name="TextBox 109"/>
              <p:cNvSpPr txBox="1"/>
              <p:nvPr/>
            </p:nvSpPr>
            <p:spPr>
              <a:xfrm rot="1098730">
                <a:off x="7553304" y="5171010"/>
                <a:ext cx="813742" cy="237252"/>
              </a:xfrm>
              <a:prstGeom prst="rect">
                <a:avLst/>
              </a:prstGeom>
              <a:noFill/>
              <a:ln w="3175">
                <a:noFill/>
              </a:ln>
            </p:spPr>
            <p:txBody>
              <a:bodyPr wrap="square" rtlCol="0">
                <a:spAutoFit/>
              </a:bodyPr>
              <a:lstStyle/>
              <a:p>
                <a:r>
                  <a:rPr lang="lt-LT" sz="500" dirty="0" smtClean="0">
                    <a:solidFill>
                      <a:schemeClr val="accent1">
                        <a:lumMod val="50000"/>
                      </a:schemeClr>
                    </a:solidFill>
                  </a:rPr>
                  <a:t>Armėnija</a:t>
                </a:r>
                <a:endParaRPr lang="en-US" sz="500" dirty="0">
                  <a:solidFill>
                    <a:schemeClr val="accent1">
                      <a:lumMod val="50000"/>
                    </a:schemeClr>
                  </a:solidFill>
                </a:endParaRPr>
              </a:p>
            </p:txBody>
          </p:sp>
          <p:sp>
            <p:nvSpPr>
              <p:cNvPr id="111" name="TextBox 110"/>
              <p:cNvSpPr txBox="1"/>
              <p:nvPr/>
            </p:nvSpPr>
            <p:spPr>
              <a:xfrm rot="21414832">
                <a:off x="7813212" y="4942387"/>
                <a:ext cx="860297" cy="237252"/>
              </a:xfrm>
              <a:prstGeom prst="rect">
                <a:avLst/>
              </a:prstGeom>
              <a:noFill/>
              <a:ln w="3175">
                <a:noFill/>
              </a:ln>
            </p:spPr>
            <p:txBody>
              <a:bodyPr wrap="square" rtlCol="0">
                <a:spAutoFit/>
              </a:bodyPr>
              <a:lstStyle/>
              <a:p>
                <a:r>
                  <a:rPr lang="lt-LT" sz="500" dirty="0" smtClean="0">
                    <a:solidFill>
                      <a:schemeClr val="accent1">
                        <a:lumMod val="50000"/>
                      </a:schemeClr>
                    </a:solidFill>
                  </a:rPr>
                  <a:t>Azerbaidžanas</a:t>
                </a:r>
                <a:endParaRPr lang="en-US" sz="500" dirty="0">
                  <a:solidFill>
                    <a:schemeClr val="accent1">
                      <a:lumMod val="50000"/>
                    </a:schemeClr>
                  </a:solidFill>
                </a:endParaRPr>
              </a:p>
            </p:txBody>
          </p:sp>
        </p:grpSp>
        <p:grpSp>
          <p:nvGrpSpPr>
            <p:cNvPr id="99" name="Group 98"/>
            <p:cNvGrpSpPr/>
            <p:nvPr/>
          </p:nvGrpSpPr>
          <p:grpSpPr>
            <a:xfrm>
              <a:off x="3432175" y="3213100"/>
              <a:ext cx="3852672" cy="2441417"/>
              <a:chOff x="1225440" y="3498851"/>
              <a:chExt cx="5050818" cy="3421805"/>
            </a:xfrm>
          </p:grpSpPr>
          <p:grpSp>
            <p:nvGrpSpPr>
              <p:cNvPr id="103" name="Group 102"/>
              <p:cNvGrpSpPr/>
              <p:nvPr/>
            </p:nvGrpSpPr>
            <p:grpSpPr>
              <a:xfrm>
                <a:off x="5340942" y="6618697"/>
                <a:ext cx="935316" cy="301959"/>
                <a:chOff x="5340942" y="6618697"/>
                <a:chExt cx="935316" cy="301959"/>
              </a:xfrm>
            </p:grpSpPr>
            <p:sp>
              <p:nvSpPr>
                <p:cNvPr id="107" name="TextBox 106"/>
                <p:cNvSpPr txBox="1"/>
                <p:nvPr/>
              </p:nvSpPr>
              <p:spPr>
                <a:xfrm>
                  <a:off x="5340942" y="6618697"/>
                  <a:ext cx="792088" cy="301959"/>
                </a:xfrm>
                <a:prstGeom prst="rect">
                  <a:avLst/>
                </a:prstGeom>
                <a:noFill/>
                <a:ln w="3175">
                  <a:noFill/>
                </a:ln>
              </p:spPr>
              <p:txBody>
                <a:bodyPr wrap="square" rtlCol="0">
                  <a:spAutoFit/>
                </a:bodyPr>
                <a:lstStyle/>
                <a:p>
                  <a:r>
                    <a:rPr lang="lt-LT" sz="800" dirty="0" smtClean="0">
                      <a:solidFill>
                        <a:schemeClr val="accent1">
                          <a:lumMod val="50000"/>
                        </a:schemeClr>
                      </a:solidFill>
                    </a:rPr>
                    <a:t>Kipras</a:t>
                  </a:r>
                  <a:endParaRPr lang="en-US" sz="800" dirty="0">
                    <a:solidFill>
                      <a:schemeClr val="accent1">
                        <a:lumMod val="50000"/>
                      </a:schemeClr>
                    </a:solidFill>
                  </a:endParaRPr>
                </a:p>
              </p:txBody>
            </p:sp>
            <p:cxnSp>
              <p:nvCxnSpPr>
                <p:cNvPr id="108" name="Straight Arrow Connector 107"/>
                <p:cNvCxnSpPr/>
                <p:nvPr/>
              </p:nvCxnSpPr>
              <p:spPr>
                <a:xfrm flipV="1">
                  <a:off x="5976658" y="6626848"/>
                  <a:ext cx="299600" cy="76191"/>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1225440" y="3498851"/>
                <a:ext cx="1553244" cy="372860"/>
                <a:chOff x="1225440" y="3498851"/>
                <a:chExt cx="1553244" cy="372860"/>
              </a:xfrm>
            </p:grpSpPr>
            <p:sp>
              <p:nvSpPr>
                <p:cNvPr id="105" name="TextBox 104"/>
                <p:cNvSpPr txBox="1"/>
                <p:nvPr/>
              </p:nvSpPr>
              <p:spPr>
                <a:xfrm>
                  <a:off x="1225440" y="3498851"/>
                  <a:ext cx="978888" cy="280390"/>
                </a:xfrm>
                <a:prstGeom prst="rect">
                  <a:avLst/>
                </a:prstGeom>
                <a:noFill/>
                <a:ln w="3175">
                  <a:noFill/>
                </a:ln>
              </p:spPr>
              <p:txBody>
                <a:bodyPr wrap="square" rtlCol="0">
                  <a:spAutoFit/>
                </a:bodyPr>
                <a:lstStyle/>
                <a:p>
                  <a:r>
                    <a:rPr lang="lt-LT" sz="700" dirty="0" smtClean="0">
                      <a:solidFill>
                        <a:schemeClr val="accent1">
                          <a:lumMod val="50000"/>
                        </a:schemeClr>
                      </a:solidFill>
                    </a:rPr>
                    <a:t>Liuksemburgas</a:t>
                  </a:r>
                  <a:endParaRPr lang="en-US" sz="500" dirty="0">
                    <a:solidFill>
                      <a:schemeClr val="accent1">
                        <a:lumMod val="50000"/>
                      </a:schemeClr>
                    </a:solidFill>
                  </a:endParaRPr>
                </a:p>
              </p:txBody>
            </p:sp>
            <p:cxnSp>
              <p:nvCxnSpPr>
                <p:cNvPr id="106" name="Straight Arrow Connector 105"/>
                <p:cNvCxnSpPr>
                  <a:stCxn id="105" idx="3"/>
                </p:cNvCxnSpPr>
                <p:nvPr/>
              </p:nvCxnSpPr>
              <p:spPr>
                <a:xfrm>
                  <a:off x="2204329" y="3639047"/>
                  <a:ext cx="574355" cy="232664"/>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cxnSp>
          <p:nvCxnSpPr>
            <p:cNvPr id="100" name="Straight Arrow Connector 99"/>
            <p:cNvCxnSpPr/>
            <p:nvPr/>
          </p:nvCxnSpPr>
          <p:spPr>
            <a:xfrm>
              <a:off x="4040188" y="3313113"/>
              <a:ext cx="570368" cy="226724"/>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flipV="1">
              <a:off x="4800600" y="5451475"/>
              <a:ext cx="358822" cy="15211"/>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202" idx="29"/>
            </p:cNvCxnSpPr>
            <p:nvPr/>
          </p:nvCxnSpPr>
          <p:spPr>
            <a:xfrm flipV="1">
              <a:off x="6967538" y="5466516"/>
              <a:ext cx="327380" cy="100303"/>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34759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695770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1"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358466" y="414681"/>
            <a:ext cx="8678030" cy="487362"/>
          </a:xfrm>
        </p:spPr>
        <p:txBody>
          <a:bodyPr>
            <a:normAutofit fontScale="90000"/>
          </a:bodyPr>
          <a:lstStyle/>
          <a:p>
            <a:pPr lvl="0"/>
            <a:r>
              <a:rPr lang="lt-LT" sz="2400" b="1" dirty="0">
                <a:solidFill>
                  <a:schemeClr val="tx2">
                    <a:lumMod val="75000"/>
                  </a:schemeClr>
                </a:solidFill>
              </a:rPr>
              <a:t>Kasmet naujai užsiregistruojančių vartotojų skaičius auga ir apie trečdalį kasmet naujai užsiregistravusių vartotojų tampa aktyviais vartotojais</a:t>
            </a:r>
            <a:r>
              <a:rPr lang="lt-LT" dirty="0"/>
              <a:t/>
            </a:r>
            <a:br>
              <a:rPr lang="lt-LT" dirty="0"/>
            </a:br>
            <a:endParaRPr lang="en-US" dirty="0"/>
          </a:p>
        </p:txBody>
      </p:sp>
      <p:sp>
        <p:nvSpPr>
          <p:cNvPr id="15" name="Rectangle 14"/>
          <p:cNvSpPr/>
          <p:nvPr/>
        </p:nvSpPr>
        <p:spPr>
          <a:xfrm>
            <a:off x="336550" y="981075"/>
            <a:ext cx="8519926" cy="2879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aujai užsiregistravusių vartotojų skaičius, vnt.</a:t>
            </a:r>
            <a:endParaRPr lang="lt-LT" sz="1200" dirty="0">
              <a:solidFill>
                <a:schemeClr val="bg1"/>
              </a:solidFill>
              <a:cs typeface="Cambria"/>
            </a:endParaRPr>
          </a:p>
        </p:txBody>
      </p:sp>
      <p:sp>
        <p:nvSpPr>
          <p:cNvPr id="16" name="Rectangle 15"/>
          <p:cNvSpPr/>
          <p:nvPr/>
        </p:nvSpPr>
        <p:spPr>
          <a:xfrm>
            <a:off x="336550" y="1270000"/>
            <a:ext cx="8519926" cy="19669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920886098"/>
              </p:ext>
            </p:extLst>
          </p:nvPr>
        </p:nvGraphicFramePr>
        <p:xfrm>
          <a:off x="342901" y="1943100"/>
          <a:ext cx="5352927" cy="1085943"/>
        </p:xfrm>
        <a:graphic>
          <a:graphicData uri="http://schemas.openxmlformats.org/presentationml/2006/ole">
            <mc:AlternateContent xmlns:mc="http://schemas.openxmlformats.org/markup-compatibility/2006">
              <mc:Choice xmlns:v="urn:schemas-microsoft-com:vml" Requires="v">
                <p:oleObj spid="_x0000_s4132" name="Chart" r:id="rId51" imgW="5353013" imgH="1085928" progId="MSGraph.Chart.8">
                  <p:embed followColorScheme="full"/>
                </p:oleObj>
              </mc:Choice>
              <mc:Fallback>
                <p:oleObj name="Chart" r:id="rId51" imgW="5353013" imgH="1085928" progId="MSGraph.Chart.8">
                  <p:embed followColorScheme="full"/>
                  <p:pic>
                    <p:nvPicPr>
                      <p:cNvPr id="0" name=""/>
                      <p:cNvPicPr/>
                      <p:nvPr/>
                    </p:nvPicPr>
                    <p:blipFill>
                      <a:blip r:embed="rId52"/>
                      <a:stretch>
                        <a:fillRect/>
                      </a:stretch>
                    </p:blipFill>
                    <p:spPr>
                      <a:xfrm>
                        <a:off x="342901" y="1943100"/>
                        <a:ext cx="5352927" cy="1085943"/>
                      </a:xfrm>
                      <a:prstGeom prst="rect">
                        <a:avLst/>
                      </a:prstGeom>
                    </p:spPr>
                  </p:pic>
                </p:oleObj>
              </mc:Fallback>
            </mc:AlternateContent>
          </a:graphicData>
        </a:graphic>
      </p:graphicFrame>
      <p:cxnSp>
        <p:nvCxnSpPr>
          <p:cNvPr id="9" name="Straight Connector 8"/>
          <p:cNvCxnSpPr/>
          <p:nvPr>
            <p:custDataLst>
              <p:tags r:id="rId5"/>
            </p:custDataLst>
          </p:nvPr>
        </p:nvCxnSpPr>
        <p:spPr bwMode="auto">
          <a:xfrm>
            <a:off x="833438" y="1485900"/>
            <a:ext cx="43815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6"/>
            </p:custDataLst>
          </p:nvPr>
        </p:nvCxnSpPr>
        <p:spPr bwMode="auto">
          <a:xfrm flipV="1">
            <a:off x="833438" y="1485900"/>
            <a:ext cx="0" cy="7048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7"/>
            </p:custDataLst>
          </p:nvPr>
        </p:nvCxnSpPr>
        <p:spPr bwMode="auto">
          <a:xfrm>
            <a:off x="5214938" y="1485900"/>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8"/>
            </p:custDataLst>
          </p:nvPr>
        </p:nvSpPr>
        <p:spPr bwMode="gray">
          <a:xfrm>
            <a:off x="615950" y="2228850"/>
            <a:ext cx="4365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3A4AFCF-16D6-4648-B95E-39ABC54F9094}" type="datetime'''''''''''''''''''''''''''''2''1''''''''''''''2'''''''''''''''">
              <a:rPr lang="en-US" sz="1200">
                <a:solidFill>
                  <a:schemeClr val="tx1"/>
                </a:solidFill>
                <a:latin typeface="Calibri"/>
                <a:sym typeface="Calibri"/>
              </a:rPr>
              <a:pPr algn="ctr">
                <a:spcBef>
                  <a:spcPct val="0"/>
                </a:spcBef>
                <a:spcAft>
                  <a:spcPct val="0"/>
                </a:spcAft>
              </a:pPr>
              <a:t>21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C04E0726-945D-4206-84E1-D401FDF60DCC}" type="datetime'8'',''''''''''''''''''''''''''''1%'''''">
              <a:rPr lang="en-US" sz="1200" smtClean="0">
                <a:solidFill>
                  <a:schemeClr val="tx1"/>
                </a:solidFill>
                <a:latin typeface="Calibri"/>
                <a:sym typeface="Calibri"/>
              </a:rPr>
              <a:pPr algn="ctr">
                <a:spcBef>
                  <a:spcPct val="0"/>
                </a:spcBef>
                <a:spcAft>
                  <a:spcPct val="0"/>
                </a:spcAft>
              </a:pPr>
              <a:t>8,1%</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8" name="Rectangle 17"/>
          <p:cNvSpPr/>
          <p:nvPr>
            <p:custDataLst>
              <p:tags r:id="rId9"/>
            </p:custDataLst>
          </p:nvPr>
        </p:nvSpPr>
        <p:spPr bwMode="auto">
          <a:xfrm>
            <a:off x="671513"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CEAB103-33C2-4D97-930D-C61B3822F26A}" type="datetime'''2''''''''00''''''''''''''''''''''''''''''''7'''''">
              <a:rPr lang="en-US" sz="1200">
                <a:solidFill>
                  <a:schemeClr val="tx1"/>
                </a:solidFill>
                <a:sym typeface="+mn-lt"/>
              </a:rPr>
              <a:pPr/>
              <a:t>2007</a:t>
            </a:fld>
            <a:endParaRPr lang="en-US" sz="1200" dirty="0">
              <a:solidFill>
                <a:schemeClr val="tx1"/>
              </a:solidFill>
              <a:sym typeface="+mn-lt"/>
            </a:endParaRPr>
          </a:p>
        </p:txBody>
      </p:sp>
      <p:sp>
        <p:nvSpPr>
          <p:cNvPr id="22" name="Rectangle 21"/>
          <p:cNvSpPr/>
          <p:nvPr>
            <p:custDataLst>
              <p:tags r:id="rId10"/>
            </p:custDataLst>
          </p:nvPr>
        </p:nvSpPr>
        <p:spPr bwMode="gray">
          <a:xfrm>
            <a:off x="1344613" y="2257425"/>
            <a:ext cx="4365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FC80451-4C28-4038-A677-3704BC83056C}" type="datetime'''''''''1''''8''7'''''''''">
              <a:rPr lang="en-US" sz="1200">
                <a:solidFill>
                  <a:schemeClr val="tx1"/>
                </a:solidFill>
                <a:sym typeface="+mn-lt"/>
              </a:rPr>
              <a:pPr algn="ctr">
                <a:spcBef>
                  <a:spcPct val="0"/>
                </a:spcBef>
                <a:spcAft>
                  <a:spcPct val="0"/>
                </a:spcAft>
              </a:pPr>
              <a:t>18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191E829-586C-4578-8FBC-BB4589144CB3}" type="datetime'''''''''''''''7'''''''''''''''''''''''''',''2''''''''''%'''">
              <a:rPr lang="en-US" sz="1200" smtClean="0">
                <a:solidFill>
                  <a:schemeClr val="tx1"/>
                </a:solidFill>
                <a:sym typeface="+mn-lt"/>
              </a:rPr>
              <a:pPr algn="ctr">
                <a:spcBef>
                  <a:spcPct val="0"/>
                </a:spcBef>
                <a:spcAft>
                  <a:spcPct val="0"/>
                </a:spcAft>
              </a:pPr>
              <a:t>7,2%</a:t>
            </a:fld>
            <a:r>
              <a:rPr lang="en-US" sz="1200" smtClean="0">
                <a:solidFill>
                  <a:schemeClr val="tx1"/>
                </a:solidFill>
                <a:sym typeface="+mn-lt"/>
              </a:rPr>
              <a:t>)</a:t>
            </a:r>
            <a:endParaRPr lang="en-US" sz="1200">
              <a:solidFill>
                <a:schemeClr val="tx1"/>
              </a:solidFill>
              <a:sym typeface="+mn-lt"/>
            </a:endParaRPr>
          </a:p>
        </p:txBody>
      </p:sp>
      <p:sp>
        <p:nvSpPr>
          <p:cNvPr id="37" name="Rectangle 36"/>
          <p:cNvSpPr/>
          <p:nvPr>
            <p:custDataLst>
              <p:tags r:id="rId11"/>
            </p:custDataLst>
          </p:nvPr>
        </p:nvSpPr>
        <p:spPr bwMode="auto">
          <a:xfrm>
            <a:off x="3595688"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B3A345B-AC40-4CAC-B713-4B3192FCE57D}"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20" name="Rectangle 19"/>
          <p:cNvSpPr/>
          <p:nvPr>
            <p:custDataLst>
              <p:tags r:id="rId12"/>
            </p:custDataLst>
          </p:nvPr>
        </p:nvSpPr>
        <p:spPr bwMode="auto">
          <a:xfrm>
            <a:off x="2128838"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552770A-90E5-479C-BCE8-690D3225DCF5}" type="datetime'2''''''''''0''''''''''0''''''''''''''''''''''''''''''9'''''''">
              <a:rPr lang="en-US" sz="1200">
                <a:solidFill>
                  <a:schemeClr val="tx1"/>
                </a:solidFill>
                <a:sym typeface="+mn-lt"/>
              </a:rPr>
              <a:pPr/>
              <a:t>2009</a:t>
            </a:fld>
            <a:endParaRPr lang="en-US" sz="1200">
              <a:solidFill>
                <a:schemeClr val="tx1"/>
              </a:solidFill>
              <a:sym typeface="+mn-lt"/>
            </a:endParaRPr>
          </a:p>
        </p:txBody>
      </p:sp>
      <p:sp>
        <p:nvSpPr>
          <p:cNvPr id="36" name="Rectangle 35"/>
          <p:cNvSpPr/>
          <p:nvPr>
            <p:custDataLst>
              <p:tags r:id="rId13"/>
            </p:custDataLst>
          </p:nvPr>
        </p:nvSpPr>
        <p:spPr bwMode="auto">
          <a:xfrm>
            <a:off x="2862263"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C3550BE-5AD1-412E-A6C6-76F2DA78434C}"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24" name="Rectangle 23"/>
          <p:cNvSpPr/>
          <p:nvPr>
            <p:custDataLst>
              <p:tags r:id="rId14"/>
            </p:custDataLst>
          </p:nvPr>
        </p:nvSpPr>
        <p:spPr bwMode="gray">
          <a:xfrm>
            <a:off x="2767013" y="2009775"/>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30E9BD5-E22C-4CA4-B55A-0CF2CC029380}" type="datetime'''''''''''3''''''''''''''''''69'''''''''">
              <a:rPr lang="en-US" sz="1200">
                <a:solidFill>
                  <a:schemeClr val="tx1"/>
                </a:solidFill>
                <a:sym typeface="+mn-lt"/>
              </a:rPr>
              <a:pPr algn="ctr">
                <a:spcBef>
                  <a:spcPct val="0"/>
                </a:spcBef>
                <a:spcAft>
                  <a:spcPct val="0"/>
                </a:spcAft>
              </a:pPr>
              <a:t>36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5A102FB-DAF4-42B6-9F50-A3A8FAE79B59}" type="datetime'''''''''1''''''''''''''''''''''''''''''''''''''''''''4'',1%'''">
              <a:rPr lang="en-US" sz="1200" smtClean="0">
                <a:solidFill>
                  <a:schemeClr val="tx1"/>
                </a:solidFill>
                <a:sym typeface="+mn-lt"/>
              </a:rPr>
              <a:pPr algn="ctr">
                <a:spcBef>
                  <a:spcPct val="0"/>
                </a:spcBef>
                <a:spcAft>
                  <a:spcPct val="0"/>
                </a:spcAft>
              </a:pPr>
              <a:t>14,1%</a:t>
            </a:fld>
            <a:r>
              <a:rPr lang="en-US" sz="1200" smtClean="0">
                <a:solidFill>
                  <a:schemeClr val="tx1"/>
                </a:solidFill>
                <a:sym typeface="+mn-lt"/>
              </a:rPr>
              <a:t>)</a:t>
            </a:r>
            <a:endParaRPr lang="en-US" sz="1200">
              <a:solidFill>
                <a:schemeClr val="tx1"/>
              </a:solidFill>
              <a:sym typeface="+mn-lt"/>
            </a:endParaRPr>
          </a:p>
        </p:txBody>
      </p:sp>
      <p:sp>
        <p:nvSpPr>
          <p:cNvPr id="27" name="Rectangle 26"/>
          <p:cNvSpPr/>
          <p:nvPr>
            <p:custDataLst>
              <p:tags r:id="rId15"/>
            </p:custDataLst>
          </p:nvPr>
        </p:nvSpPr>
        <p:spPr bwMode="gray">
          <a:xfrm>
            <a:off x="4957763" y="1676400"/>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0EE16D7-776E-49AB-85B9-202081E95FE4}" type="datetime'''6''''''''''''''0''''''''''''''''''3'''''''''''''''''''">
              <a:rPr lang="en-US" sz="1200">
                <a:solidFill>
                  <a:schemeClr val="tx1"/>
                </a:solidFill>
                <a:sym typeface="+mn-lt"/>
              </a:rPr>
              <a:pPr algn="ctr">
                <a:spcBef>
                  <a:spcPct val="0"/>
                </a:spcBef>
                <a:spcAft>
                  <a:spcPct val="0"/>
                </a:spcAft>
              </a:pPr>
              <a:t>60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8CB23569-1E4F-4B14-B57C-C9A88B142A9B}" type="datetime'''''''''''''2''''''''''''''''3,''''''1%'''''''''''">
              <a:rPr lang="en-US" sz="1200" smtClean="0">
                <a:solidFill>
                  <a:schemeClr val="tx1"/>
                </a:solidFill>
                <a:sym typeface="+mn-lt"/>
              </a:rPr>
              <a:pPr algn="ctr">
                <a:spcBef>
                  <a:spcPct val="0"/>
                </a:spcBef>
                <a:spcAft>
                  <a:spcPct val="0"/>
                </a:spcAft>
              </a:pPr>
              <a:t>23,1%</a:t>
            </a:fld>
            <a:r>
              <a:rPr lang="en-US" sz="1200" smtClean="0">
                <a:solidFill>
                  <a:schemeClr val="tx1"/>
                </a:solidFill>
                <a:sym typeface="+mn-lt"/>
              </a:rPr>
              <a:t>)</a:t>
            </a:r>
            <a:endParaRPr lang="en-US" sz="1200">
              <a:solidFill>
                <a:schemeClr val="tx1"/>
              </a:solidFill>
              <a:sym typeface="+mn-lt"/>
            </a:endParaRPr>
          </a:p>
        </p:txBody>
      </p:sp>
      <p:sp>
        <p:nvSpPr>
          <p:cNvPr id="38" name="Rectangle 37"/>
          <p:cNvSpPr/>
          <p:nvPr>
            <p:custDataLst>
              <p:tags r:id="rId16"/>
            </p:custDataLst>
          </p:nvPr>
        </p:nvSpPr>
        <p:spPr bwMode="auto">
          <a:xfrm>
            <a:off x="4324350"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3DC2054-266D-4431-94E2-523024836CC7}"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25" name="Rectangle 24"/>
          <p:cNvSpPr/>
          <p:nvPr>
            <p:custDataLst>
              <p:tags r:id="rId17"/>
            </p:custDataLst>
          </p:nvPr>
        </p:nvSpPr>
        <p:spPr bwMode="gray">
          <a:xfrm>
            <a:off x="3500438" y="2009775"/>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17846CF-0F97-4CB1-82FC-98E6B5E06AC3}" type="datetime'''''''''''''''''''''''3''''''''6''''9'''''''''">
              <a:rPr lang="en-US" sz="1200">
                <a:solidFill>
                  <a:schemeClr val="tx1"/>
                </a:solidFill>
                <a:sym typeface="+mn-lt"/>
              </a:rPr>
              <a:pPr algn="ctr">
                <a:spcBef>
                  <a:spcPct val="0"/>
                </a:spcBef>
                <a:spcAft>
                  <a:spcPct val="0"/>
                </a:spcAft>
              </a:pPr>
              <a:t>36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FB005D21-86BE-4B0E-8CB2-93B0FDFC91E8}" type="datetime'''''''1''''''''''4'',''''1''''''''%'">
              <a:rPr lang="en-US" sz="1200" smtClean="0">
                <a:solidFill>
                  <a:schemeClr val="tx1"/>
                </a:solidFill>
                <a:sym typeface="+mn-lt"/>
              </a:rPr>
              <a:pPr algn="ctr">
                <a:spcBef>
                  <a:spcPct val="0"/>
                </a:spcBef>
                <a:spcAft>
                  <a:spcPct val="0"/>
                </a:spcAft>
              </a:pPr>
              <a:t>14,1%</a:t>
            </a:fld>
            <a:r>
              <a:rPr lang="en-US" sz="1200" smtClean="0">
                <a:solidFill>
                  <a:schemeClr val="tx1"/>
                </a:solidFill>
                <a:sym typeface="+mn-lt"/>
              </a:rPr>
              <a:t>)</a:t>
            </a:r>
            <a:endParaRPr lang="en-US" sz="1200">
              <a:solidFill>
                <a:schemeClr val="tx1"/>
              </a:solidFill>
              <a:sym typeface="+mn-lt"/>
            </a:endParaRPr>
          </a:p>
        </p:txBody>
      </p:sp>
      <p:sp>
        <p:nvSpPr>
          <p:cNvPr id="23" name="Rectangle 22"/>
          <p:cNvSpPr/>
          <p:nvPr>
            <p:custDataLst>
              <p:tags r:id="rId18"/>
            </p:custDataLst>
          </p:nvPr>
        </p:nvSpPr>
        <p:spPr bwMode="gray">
          <a:xfrm>
            <a:off x="2033588" y="2105025"/>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CDCDAE7-431D-4036-900D-6FEE8DC86660}" type="datetime'2''''''''''''9''''''''''''''8'''''''''''''''''''''">
              <a:rPr lang="en-US" sz="1200">
                <a:solidFill>
                  <a:schemeClr val="tx1"/>
                </a:solidFill>
                <a:sym typeface="+mn-lt"/>
              </a:rPr>
              <a:pPr algn="ctr">
                <a:spcBef>
                  <a:spcPct val="0"/>
                </a:spcBef>
                <a:spcAft>
                  <a:spcPct val="0"/>
                </a:spcAft>
              </a:pPr>
              <a:t>29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841F2C1-7E04-4DCC-AC45-AFCBAF7F5BFE}" type="datetime'1''1'''''''''''''''',''''''''''''''''''''''''''''''''''''4%'''">
              <a:rPr lang="en-US" sz="1200" smtClean="0">
                <a:solidFill>
                  <a:schemeClr val="tx1"/>
                </a:solidFill>
                <a:sym typeface="+mn-lt"/>
              </a:rPr>
              <a:pPr algn="ctr">
                <a:spcBef>
                  <a:spcPct val="0"/>
                </a:spcBef>
                <a:spcAft>
                  <a:spcPct val="0"/>
                </a:spcAft>
              </a:pPr>
              <a:t>11,4%</a:t>
            </a:fld>
            <a:r>
              <a:rPr lang="en-US" sz="1200" smtClean="0">
                <a:solidFill>
                  <a:schemeClr val="tx1"/>
                </a:solidFill>
                <a:sym typeface="+mn-lt"/>
              </a:rPr>
              <a:t>)</a:t>
            </a:r>
            <a:endParaRPr lang="en-US" sz="1200">
              <a:solidFill>
                <a:schemeClr val="tx1"/>
              </a:solidFill>
              <a:sym typeface="+mn-lt"/>
            </a:endParaRPr>
          </a:p>
        </p:txBody>
      </p:sp>
      <p:sp>
        <p:nvSpPr>
          <p:cNvPr id="39" name="Rectangle 38"/>
          <p:cNvSpPr/>
          <p:nvPr>
            <p:custDataLst>
              <p:tags r:id="rId19"/>
            </p:custDataLst>
          </p:nvPr>
        </p:nvSpPr>
        <p:spPr bwMode="auto">
          <a:xfrm>
            <a:off x="5053013"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0321874-1809-457F-8139-CEB7121DDC24}"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19" name="Rectangle 18"/>
          <p:cNvSpPr/>
          <p:nvPr>
            <p:custDataLst>
              <p:tags r:id="rId20"/>
            </p:custDataLst>
          </p:nvPr>
        </p:nvSpPr>
        <p:spPr bwMode="auto">
          <a:xfrm>
            <a:off x="1400175"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B05F053-0586-4010-A6AA-537531C49FAF}" type="datetime'''2''''''''''''''''00''''''''''''''''''''''''''''''8'">
              <a:rPr lang="en-US" sz="1200">
                <a:solidFill>
                  <a:schemeClr val="tx1"/>
                </a:solidFill>
                <a:sym typeface="+mn-lt"/>
              </a:rPr>
              <a:pPr/>
              <a:t>2008</a:t>
            </a:fld>
            <a:endParaRPr lang="en-US" sz="1200">
              <a:solidFill>
                <a:schemeClr val="tx1"/>
              </a:solidFill>
              <a:sym typeface="+mn-lt"/>
            </a:endParaRPr>
          </a:p>
        </p:txBody>
      </p:sp>
      <p:sp>
        <p:nvSpPr>
          <p:cNvPr id="26" name="Rectangle 25"/>
          <p:cNvSpPr/>
          <p:nvPr>
            <p:custDataLst>
              <p:tags r:id="rId21"/>
            </p:custDataLst>
          </p:nvPr>
        </p:nvSpPr>
        <p:spPr bwMode="gray">
          <a:xfrm>
            <a:off x="4229100" y="1714500"/>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D49FAFE-DBEB-4D24-8ABD-4D1CD64067A9}" type="datetime'''''''''5''''''''7''''''''''''''''''''7'''''''''''''''''">
              <a:rPr lang="en-US" sz="1200">
                <a:solidFill>
                  <a:schemeClr val="tx1"/>
                </a:solidFill>
                <a:sym typeface="+mn-lt"/>
              </a:rPr>
              <a:pPr algn="ctr">
                <a:spcBef>
                  <a:spcPct val="0"/>
                </a:spcBef>
                <a:spcAft>
                  <a:spcPct val="0"/>
                </a:spcAft>
              </a:pPr>
              <a:t>57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55CEC84D-4F76-4E71-A52C-A218A3C91929}" type="datetime'''''2''2,''''''''1''''''''''''''%'''''''''''''''''">
              <a:rPr lang="en-US" sz="1200" smtClean="0">
                <a:solidFill>
                  <a:schemeClr val="tx1"/>
                </a:solidFill>
                <a:sym typeface="+mn-lt"/>
              </a:rPr>
              <a:pPr algn="ctr">
                <a:spcBef>
                  <a:spcPct val="0"/>
                </a:spcBef>
                <a:spcAft>
                  <a:spcPct val="0"/>
                </a:spcAft>
              </a:pPr>
              <a:t>22,1%</a:t>
            </a:fld>
            <a:r>
              <a:rPr lang="en-US" sz="1200" smtClean="0">
                <a:solidFill>
                  <a:schemeClr val="tx1"/>
                </a:solidFill>
                <a:sym typeface="+mn-lt"/>
              </a:rPr>
              <a:t>)</a:t>
            </a:r>
            <a:endParaRPr lang="en-US" sz="1200">
              <a:solidFill>
                <a:schemeClr val="tx1"/>
              </a:solidFill>
              <a:sym typeface="+mn-lt"/>
            </a:endParaRPr>
          </a:p>
        </p:txBody>
      </p:sp>
      <p:sp>
        <p:nvSpPr>
          <p:cNvPr id="43" name="Rectangle 42"/>
          <p:cNvSpPr/>
          <p:nvPr/>
        </p:nvSpPr>
        <p:spPr>
          <a:xfrm>
            <a:off x="5765007" y="1412874"/>
            <a:ext cx="2947454" cy="1824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a:solidFill>
                  <a:prstClr val="black"/>
                </a:solidFill>
              </a:rPr>
              <a:t>2013 m. programoje eTwinning </a:t>
            </a:r>
            <a:r>
              <a:rPr lang="lt-LT" sz="1200" dirty="0" smtClean="0">
                <a:solidFill>
                  <a:prstClr val="black"/>
                </a:solidFill>
              </a:rPr>
              <a:t>buvo užsiregistravę </a:t>
            </a:r>
            <a:r>
              <a:rPr lang="lt-LT" sz="1200" dirty="0" smtClean="0">
                <a:solidFill>
                  <a:schemeClr val="tx1"/>
                </a:solidFill>
              </a:rPr>
              <a:t>2615 </a:t>
            </a:r>
            <a:r>
              <a:rPr lang="lt-LT" sz="1200" dirty="0" smtClean="0">
                <a:solidFill>
                  <a:prstClr val="black"/>
                </a:solidFill>
              </a:rPr>
              <a:t>vartotojų;</a:t>
            </a:r>
          </a:p>
          <a:p>
            <a:pPr marL="96838" lvl="0" indent="-96838" algn="just">
              <a:spcAft>
                <a:spcPts val="600"/>
              </a:spcAft>
              <a:buFont typeface="Arial" panose="020B0604020202020204" pitchFamily="34" charset="0"/>
              <a:buChar char="•"/>
            </a:pPr>
            <a:r>
              <a:rPr lang="lt-LT" sz="1200" dirty="0" smtClean="0">
                <a:solidFill>
                  <a:prstClr val="black"/>
                </a:solidFill>
              </a:rPr>
              <a:t>Didžioji dalis šių vartotojų užsiregistravo 2012-2013 metais;</a:t>
            </a:r>
            <a:endParaRPr lang="lt-LT" sz="1200" dirty="0">
              <a:solidFill>
                <a:prstClr val="black"/>
              </a:solidFill>
            </a:endParaRPr>
          </a:p>
          <a:p>
            <a:pPr marL="96838" lvl="0" indent="-96838" algn="just">
              <a:spcAft>
                <a:spcPts val="600"/>
              </a:spcAft>
              <a:buFont typeface="Arial" panose="020B0604020202020204" pitchFamily="34" charset="0"/>
              <a:buChar char="•"/>
            </a:pPr>
            <a:r>
              <a:rPr lang="lt-LT" sz="1200" dirty="0" smtClean="0">
                <a:solidFill>
                  <a:prstClr val="black"/>
                </a:solidFill>
              </a:rPr>
              <a:t>Kasmet naujai užsiregistruojančių vartotojų skaičius augo;</a:t>
            </a:r>
          </a:p>
          <a:p>
            <a:pPr marL="96838" lvl="0" indent="-96838" algn="just">
              <a:buFont typeface="Arial" panose="020B0604020202020204" pitchFamily="34" charset="0"/>
              <a:buChar char="•"/>
            </a:pPr>
            <a:r>
              <a:rPr lang="lt-LT" sz="1200" dirty="0" smtClean="0">
                <a:solidFill>
                  <a:prstClr val="black"/>
                </a:solidFill>
              </a:rPr>
              <a:t>2013 m. lyginant su 2007 m. užsiregistravo beveik 3 kartus daugiau naujų vartotojų;</a:t>
            </a:r>
          </a:p>
        </p:txBody>
      </p:sp>
      <p:graphicFrame>
        <p:nvGraphicFramePr>
          <p:cNvPr id="90" name="Object 89"/>
          <p:cNvGraphicFramePr>
            <a:graphicFrameLocks/>
          </p:cNvGraphicFramePr>
          <p:nvPr>
            <p:custDataLst>
              <p:tags r:id="rId22"/>
            </p:custDataLst>
            <p:extLst>
              <p:ext uri="{D42A27DB-BD31-4B8C-83A1-F6EECF244321}">
                <p14:modId xmlns:p14="http://schemas.microsoft.com/office/powerpoint/2010/main" val="955720888"/>
              </p:ext>
            </p:extLst>
          </p:nvPr>
        </p:nvGraphicFramePr>
        <p:xfrm>
          <a:off x="419100" y="4000500"/>
          <a:ext cx="6058013" cy="1390698"/>
        </p:xfrm>
        <a:graphic>
          <a:graphicData uri="http://schemas.openxmlformats.org/presentationml/2006/ole">
            <mc:AlternateContent xmlns:mc="http://schemas.openxmlformats.org/markup-compatibility/2006">
              <mc:Choice xmlns:v="urn:schemas-microsoft-com:vml" Requires="v">
                <p:oleObj spid="_x0000_s4133" name="Chart" r:id="rId53" imgW="6057856" imgH="1390676" progId="MSGraph.Chart.8">
                  <p:embed followColorScheme="full"/>
                </p:oleObj>
              </mc:Choice>
              <mc:Fallback>
                <p:oleObj name="Chart" r:id="rId53" imgW="6057856" imgH="1390676" progId="MSGraph.Chart.8">
                  <p:embed followColorScheme="full"/>
                  <p:pic>
                    <p:nvPicPr>
                      <p:cNvPr id="0" name=""/>
                      <p:cNvPicPr/>
                      <p:nvPr/>
                    </p:nvPicPr>
                    <p:blipFill>
                      <a:blip r:embed="rId54"/>
                      <a:stretch>
                        <a:fillRect/>
                      </a:stretch>
                    </p:blipFill>
                    <p:spPr>
                      <a:xfrm>
                        <a:off x="419100" y="4000500"/>
                        <a:ext cx="6058013" cy="1390698"/>
                      </a:xfrm>
                      <a:prstGeom prst="rect">
                        <a:avLst/>
                      </a:prstGeom>
                    </p:spPr>
                  </p:pic>
                </p:oleObj>
              </mc:Fallback>
            </mc:AlternateContent>
          </a:graphicData>
        </a:graphic>
      </p:graphicFrame>
      <p:sp>
        <p:nvSpPr>
          <p:cNvPr id="111" name="Rectangle 110"/>
          <p:cNvSpPr/>
          <p:nvPr>
            <p:custDataLst>
              <p:tags r:id="rId23"/>
            </p:custDataLst>
          </p:nvPr>
        </p:nvSpPr>
        <p:spPr bwMode="gray">
          <a:xfrm>
            <a:off x="2247900" y="46196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D8943DB-7712-464F-B1B5-BA6A8321A80F}" type="datetime'3''6''''''''''''''''''''''''''''''''''''''''''%'">
              <a:rPr lang="en-US" sz="1200" smtClean="0">
                <a:solidFill>
                  <a:schemeClr val="tx1"/>
                </a:solidFill>
              </a:rPr>
              <a:pPr/>
              <a:t>3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59217F27-898C-4BA9-B2D1-88E67576AC5C}" type="datetime'''''''''''''1''''''''''''''''''''''''''''''''''''''07'">
              <a:rPr lang="en-US" sz="1200" smtClean="0">
                <a:solidFill>
                  <a:schemeClr val="tx1"/>
                </a:solidFill>
              </a:rPr>
              <a:pPr/>
              <a:t>107</a:t>
            </a:fld>
            <a:r>
              <a:rPr lang="en-US" sz="1200" smtClean="0">
                <a:solidFill>
                  <a:schemeClr val="tx1"/>
                </a:solidFill>
                <a:sym typeface="+mn-lt"/>
              </a:rPr>
              <a:t>)</a:t>
            </a:r>
            <a:endParaRPr lang="en-US" sz="1200">
              <a:solidFill>
                <a:schemeClr val="tx1"/>
              </a:solidFill>
              <a:sym typeface="+mn-lt"/>
            </a:endParaRPr>
          </a:p>
        </p:txBody>
      </p:sp>
      <p:sp>
        <p:nvSpPr>
          <p:cNvPr id="110" name="Rectangle 109"/>
          <p:cNvSpPr/>
          <p:nvPr>
            <p:custDataLst>
              <p:tags r:id="rId24"/>
            </p:custDataLst>
          </p:nvPr>
        </p:nvSpPr>
        <p:spPr bwMode="gray">
          <a:xfrm>
            <a:off x="1485900" y="471487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9D49886-BC8C-4AB8-A975-070660749B64}" type="datetime'3''''''''''''''9%'''''''''''''">
              <a:rPr lang="en-US" sz="1200" smtClean="0">
                <a:solidFill>
                  <a:schemeClr val="tx1"/>
                </a:solidFill>
              </a:rPr>
              <a:pPr/>
              <a:t>3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81B6CB4-648E-43E3-91C1-D4EBB8A3360B}" type="datetime'''''''''''''''''73'''''''''''">
              <a:rPr lang="en-US" sz="1200" smtClean="0">
                <a:solidFill>
                  <a:schemeClr val="tx1"/>
                </a:solidFill>
              </a:rPr>
              <a:pPr/>
              <a:t>73</a:t>
            </a:fld>
            <a:r>
              <a:rPr lang="en-US" sz="1200" smtClean="0">
                <a:solidFill>
                  <a:schemeClr val="tx1"/>
                </a:solidFill>
                <a:sym typeface="+mn-lt"/>
              </a:rPr>
              <a:t>)</a:t>
            </a:r>
            <a:endParaRPr lang="en-US" sz="1200">
              <a:solidFill>
                <a:schemeClr val="tx1"/>
              </a:solidFill>
              <a:sym typeface="+mn-lt"/>
            </a:endParaRPr>
          </a:p>
        </p:txBody>
      </p:sp>
      <p:sp>
        <p:nvSpPr>
          <p:cNvPr id="113" name="Rectangle 112"/>
          <p:cNvSpPr/>
          <p:nvPr>
            <p:custDataLst>
              <p:tags r:id="rId25"/>
            </p:custDataLst>
          </p:nvPr>
        </p:nvSpPr>
        <p:spPr bwMode="gray">
          <a:xfrm>
            <a:off x="3986213" y="4648200"/>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EAF415D-BDB9-473E-A141-552F4C288320}" type="datetime'''''''''''''''2''''''''''''''''''''''6''%'''">
              <a:rPr lang="en-US" sz="1200" smtClean="0">
                <a:solidFill>
                  <a:schemeClr val="tx1"/>
                </a:solidFill>
              </a:rPr>
              <a:pPr/>
              <a:t>2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DDCF95B-AA6F-4EF4-9D99-0135ED800FCC}" type="datetime'''''''''9''''''''''''''''''''6'''''''''">
              <a:rPr lang="en-US" sz="1200" smtClean="0">
                <a:solidFill>
                  <a:schemeClr val="tx1"/>
                </a:solidFill>
              </a:rPr>
              <a:pPr/>
              <a:t>96</a:t>
            </a:fld>
            <a:r>
              <a:rPr lang="en-US" sz="1200" smtClean="0">
                <a:solidFill>
                  <a:schemeClr val="tx1"/>
                </a:solidFill>
                <a:sym typeface="+mn-lt"/>
              </a:rPr>
              <a:t>)</a:t>
            </a:r>
            <a:endParaRPr lang="en-US" sz="1200">
              <a:solidFill>
                <a:schemeClr val="tx1"/>
              </a:solidFill>
              <a:sym typeface="+mn-lt"/>
            </a:endParaRPr>
          </a:p>
        </p:txBody>
      </p:sp>
      <p:sp>
        <p:nvSpPr>
          <p:cNvPr id="92" name="Rectangle 91"/>
          <p:cNvSpPr/>
          <p:nvPr>
            <p:custDataLst>
              <p:tags r:id="rId26"/>
            </p:custDataLst>
          </p:nvPr>
        </p:nvSpPr>
        <p:spPr bwMode="auto">
          <a:xfrm>
            <a:off x="1624013"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BDCA5B6-7A5A-40C2-AC9C-CFCFB78ECC1D}" type="datetime'''''''2''''''''''''''''''0''''''''0''8'''''">
              <a:rPr lang="en-US" sz="1200">
                <a:solidFill>
                  <a:schemeClr val="tx1"/>
                </a:solidFill>
              </a:rPr>
              <a:pPr/>
              <a:t>2008</a:t>
            </a:fld>
            <a:endParaRPr lang="en-US" sz="1200">
              <a:solidFill>
                <a:schemeClr val="tx1"/>
              </a:solidFill>
              <a:sym typeface="+mn-lt"/>
            </a:endParaRPr>
          </a:p>
        </p:txBody>
      </p:sp>
      <p:sp>
        <p:nvSpPr>
          <p:cNvPr id="120" name="Rectangle 119"/>
          <p:cNvSpPr/>
          <p:nvPr>
            <p:custDataLst>
              <p:tags r:id="rId27"/>
            </p:custDataLst>
          </p:nvPr>
        </p:nvSpPr>
        <p:spPr bwMode="gray">
          <a:xfrm>
            <a:off x="3455988" y="42957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4DF4B28-FF75-4B95-AF18-1FE0183BB64F}" type="datetime'''6''''''''''''''''''''''''''''''''''''''3''%'">
              <a:rPr lang="en-US" sz="1200" smtClean="0">
                <a:solidFill>
                  <a:schemeClr val="tx1"/>
                </a:solidFill>
              </a:rPr>
              <a:pPr/>
              <a:t>6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BD698FB-76EA-487E-80B5-7D4F2D177C9E}" type="datetime'''2''''''''''''''3''''''''''''''''2'''''">
              <a:rPr lang="en-US" sz="1200" smtClean="0">
                <a:solidFill>
                  <a:schemeClr val="tx1"/>
                </a:solidFill>
              </a:rPr>
              <a:pPr/>
              <a:t>232</a:t>
            </a:fld>
            <a:r>
              <a:rPr lang="en-US" sz="1200" smtClean="0">
                <a:solidFill>
                  <a:schemeClr val="tx1"/>
                </a:solidFill>
                <a:sym typeface="+mn-lt"/>
              </a:rPr>
              <a:t>)</a:t>
            </a:r>
            <a:endParaRPr lang="en-US" sz="1200">
              <a:solidFill>
                <a:schemeClr val="tx1"/>
              </a:solidFill>
              <a:sym typeface="+mn-lt"/>
            </a:endParaRPr>
          </a:p>
        </p:txBody>
      </p:sp>
      <p:sp>
        <p:nvSpPr>
          <p:cNvPr id="117" name="Rectangle 116"/>
          <p:cNvSpPr/>
          <p:nvPr>
            <p:custDataLst>
              <p:tags r:id="rId28"/>
            </p:custDataLst>
          </p:nvPr>
        </p:nvSpPr>
        <p:spPr bwMode="gray">
          <a:xfrm>
            <a:off x="962025" y="45434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D906BE1-BFD6-4BAA-9D68-D43A785D2E1E}" type="datetime'''''''6''''''''''''''6''''''''''%'''''''''''''''''''">
              <a:rPr lang="en-US" sz="1200" smtClean="0">
                <a:solidFill>
                  <a:schemeClr val="tx1"/>
                </a:solidFill>
              </a:rPr>
              <a:pPr/>
              <a:t>6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5C1E2E6-0565-470E-928B-353033A0BDA2}" type="datetime'''''''''''1''3''''''''''''9'''''''''''''''''''''''''''''''">
              <a:rPr lang="en-US" sz="1200" smtClean="0">
                <a:solidFill>
                  <a:schemeClr val="tx1"/>
                </a:solidFill>
              </a:rPr>
              <a:pPr/>
              <a:t>139</a:t>
            </a:fld>
            <a:r>
              <a:rPr lang="en-US" sz="1200" smtClean="0">
                <a:solidFill>
                  <a:schemeClr val="tx1"/>
                </a:solidFill>
                <a:sym typeface="+mn-lt"/>
              </a:rPr>
              <a:t>)</a:t>
            </a:r>
            <a:endParaRPr lang="en-US" sz="1200" dirty="0">
              <a:solidFill>
                <a:schemeClr val="tx1"/>
              </a:solidFill>
              <a:sym typeface="+mn-lt"/>
            </a:endParaRPr>
          </a:p>
        </p:txBody>
      </p:sp>
      <p:sp>
        <p:nvSpPr>
          <p:cNvPr id="93" name="Rectangle 92"/>
          <p:cNvSpPr/>
          <p:nvPr>
            <p:custDataLst>
              <p:tags r:id="rId29"/>
            </p:custDataLst>
          </p:nvPr>
        </p:nvSpPr>
        <p:spPr bwMode="auto">
          <a:xfrm>
            <a:off x="2457450"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BA011A5-4988-4752-92DB-5011CF8667FC}" type="datetime'''''''''''''''''''''''20''''0''''''''''''''''''''''''''''9'">
              <a:rPr lang="en-US" sz="1200">
                <a:solidFill>
                  <a:schemeClr val="tx1"/>
                </a:solidFill>
              </a:rPr>
              <a:pPr/>
              <a:t>2009</a:t>
            </a:fld>
            <a:endParaRPr lang="en-US" sz="1200">
              <a:solidFill>
                <a:schemeClr val="tx1"/>
              </a:solidFill>
              <a:sym typeface="+mn-lt"/>
            </a:endParaRPr>
          </a:p>
        </p:txBody>
      </p:sp>
      <p:sp>
        <p:nvSpPr>
          <p:cNvPr id="123" name="Rectangle 122"/>
          <p:cNvSpPr/>
          <p:nvPr>
            <p:custDataLst>
              <p:tags r:id="rId30"/>
            </p:custDataLst>
          </p:nvPr>
        </p:nvSpPr>
        <p:spPr bwMode="gray">
          <a:xfrm>
            <a:off x="5918200" y="39147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B7324C2-832F-46F4-8DF6-8A4ACB9F4CB6}" type="datetime'''6''''''''''''''''''''''''2''''''''''''''''''''''''''''%'''''">
              <a:rPr lang="en-US" sz="1200" smtClean="0">
                <a:solidFill>
                  <a:schemeClr val="tx1"/>
                </a:solidFill>
              </a:rPr>
              <a:pPr/>
              <a:t>62%</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FC34EC63-CA89-436C-B4E0-BCC207B3BD4F}" type="datetime'3''''7''''''''''''''''''''''''''''''''''''''''5'''''''''">
              <a:rPr lang="en-US" sz="1200" smtClean="0">
                <a:solidFill>
                  <a:schemeClr val="tx1"/>
                </a:solidFill>
              </a:rPr>
              <a:pPr/>
              <a:t>375</a:t>
            </a:fld>
            <a:r>
              <a:rPr lang="en-US" sz="1200" smtClean="0">
                <a:solidFill>
                  <a:schemeClr val="tx1"/>
                </a:solidFill>
                <a:sym typeface="+mn-lt"/>
              </a:rPr>
              <a:t>)</a:t>
            </a:r>
            <a:endParaRPr lang="en-US" sz="1200" dirty="0">
              <a:solidFill>
                <a:schemeClr val="tx1"/>
              </a:solidFill>
              <a:sym typeface="+mn-lt"/>
            </a:endParaRPr>
          </a:p>
        </p:txBody>
      </p:sp>
      <p:sp>
        <p:nvSpPr>
          <p:cNvPr id="99" name="Rectangle 98"/>
          <p:cNvSpPr/>
          <p:nvPr>
            <p:custDataLst>
              <p:tags r:id="rId31"/>
            </p:custDataLst>
          </p:nvPr>
        </p:nvSpPr>
        <p:spPr bwMode="auto">
          <a:xfrm>
            <a:off x="5791200"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4E6FCBF-502D-4E1F-A23E-D4F777F119C6}" type="datetime'20''1''''''''''''''''''''''''''''''''''''''''''''''''3'''">
              <a:rPr lang="en-US" sz="1200">
                <a:solidFill>
                  <a:schemeClr val="tx1"/>
                </a:solidFill>
                <a:latin typeface="Calibri"/>
                <a:sym typeface="Calibri"/>
              </a:rPr>
              <a:pPr algn="ctr">
                <a:spcBef>
                  <a:spcPct val="0"/>
                </a:spcBef>
                <a:spcAft>
                  <a:spcPct val="0"/>
                </a:spcAft>
              </a:pPr>
              <a:t>2013</a:t>
            </a:fld>
            <a:endParaRPr lang="en-US" sz="1200">
              <a:solidFill>
                <a:schemeClr val="tx1"/>
              </a:solidFill>
              <a:latin typeface="Calibri"/>
              <a:sym typeface="Calibri"/>
            </a:endParaRPr>
          </a:p>
        </p:txBody>
      </p:sp>
      <p:sp>
        <p:nvSpPr>
          <p:cNvPr id="109" name="Rectangle 108"/>
          <p:cNvSpPr/>
          <p:nvPr>
            <p:custDataLst>
              <p:tags r:id="rId32"/>
            </p:custDataLst>
          </p:nvPr>
        </p:nvSpPr>
        <p:spPr bwMode="gray">
          <a:xfrm>
            <a:off x="652463" y="471487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B7B0E5D-71AF-402B-9102-5203FD7E035C}" type="datetime'''''''''''3''4''''''''''''''''''''''%'''''''''''''''''''''">
              <a:rPr lang="en-US" sz="1200" smtClean="0">
                <a:solidFill>
                  <a:schemeClr val="tx1"/>
                </a:solidFill>
              </a:rPr>
              <a:pPr/>
              <a:t>34%</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37E07D5-4900-473F-8877-AC246E233075}" type="datetime'''''''''''''''''''''''''7''''''''''''''''''''''''''''''''3'''">
              <a:rPr lang="en-US" sz="1200" smtClean="0">
                <a:solidFill>
                  <a:schemeClr val="tx1"/>
                </a:solidFill>
              </a:rPr>
              <a:pPr/>
              <a:t>73</a:t>
            </a:fld>
            <a:r>
              <a:rPr lang="en-US" sz="1200" smtClean="0">
                <a:solidFill>
                  <a:schemeClr val="tx1"/>
                </a:solidFill>
                <a:sym typeface="+mn-lt"/>
              </a:rPr>
              <a:t>)</a:t>
            </a:r>
            <a:endParaRPr lang="en-US" sz="1200" dirty="0">
              <a:solidFill>
                <a:schemeClr val="tx1"/>
              </a:solidFill>
              <a:sym typeface="+mn-lt"/>
            </a:endParaRPr>
          </a:p>
        </p:txBody>
      </p:sp>
      <p:sp>
        <p:nvSpPr>
          <p:cNvPr id="121" name="Rectangle 120"/>
          <p:cNvSpPr/>
          <p:nvPr>
            <p:custDataLst>
              <p:tags r:id="rId33"/>
            </p:custDataLst>
          </p:nvPr>
        </p:nvSpPr>
        <p:spPr bwMode="gray">
          <a:xfrm>
            <a:off x="4251325" y="4181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9B0382A-B168-4CF7-9146-C21AF313096D}" type="datetime'''''''''''''7''''''''''4''''''''''''''''''%'''''''''">
              <a:rPr lang="en-US" sz="1200" smtClean="0">
                <a:solidFill>
                  <a:schemeClr val="tx1"/>
                </a:solidFill>
              </a:rPr>
              <a:pPr/>
              <a:t>74%</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15B9AC38-72CB-41A9-A51B-82DA22CFEF6A}" type="datetime'''''''''''''''''''''''''''''''2''''''7''''''''''''3'">
              <a:rPr lang="en-US" sz="1200" smtClean="0">
                <a:solidFill>
                  <a:schemeClr val="tx1"/>
                </a:solidFill>
              </a:rPr>
              <a:pPr/>
              <a:t>273</a:t>
            </a:fld>
            <a:r>
              <a:rPr lang="en-US" sz="1200" smtClean="0">
                <a:solidFill>
                  <a:schemeClr val="tx1"/>
                </a:solidFill>
                <a:sym typeface="+mn-lt"/>
              </a:rPr>
              <a:t>)</a:t>
            </a:r>
            <a:endParaRPr lang="en-US" sz="1200">
              <a:solidFill>
                <a:schemeClr val="tx1"/>
              </a:solidFill>
              <a:sym typeface="+mn-lt"/>
            </a:endParaRPr>
          </a:p>
        </p:txBody>
      </p:sp>
      <p:sp>
        <p:nvSpPr>
          <p:cNvPr id="97" name="Rectangle 96"/>
          <p:cNvSpPr/>
          <p:nvPr>
            <p:custDataLst>
              <p:tags r:id="rId34"/>
            </p:custDataLst>
          </p:nvPr>
        </p:nvSpPr>
        <p:spPr bwMode="auto">
          <a:xfrm>
            <a:off x="4124325"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D406847-9326-407C-85C6-677BA9B6FCCF}" type="datetime'''2''''''''''''0''''''''''''''''''''''''1''''1'''''''">
              <a:rPr lang="en-US" sz="1200">
                <a:solidFill>
                  <a:schemeClr val="tx1"/>
                </a:solidFill>
                <a:latin typeface="Calibri"/>
                <a:sym typeface="Calibri"/>
              </a:rPr>
              <a:pPr algn="ctr">
                <a:spcBef>
                  <a:spcPct val="0"/>
                </a:spcBef>
                <a:spcAft>
                  <a:spcPct val="0"/>
                </a:spcAft>
              </a:pPr>
              <a:t>2011</a:t>
            </a:fld>
            <a:endParaRPr lang="en-US" sz="1200">
              <a:solidFill>
                <a:schemeClr val="tx1"/>
              </a:solidFill>
              <a:latin typeface="Calibri"/>
              <a:sym typeface="Calibri"/>
            </a:endParaRPr>
          </a:p>
        </p:txBody>
      </p:sp>
      <p:sp>
        <p:nvSpPr>
          <p:cNvPr id="122" name="Rectangle 121"/>
          <p:cNvSpPr/>
          <p:nvPr>
            <p:custDataLst>
              <p:tags r:id="rId35"/>
            </p:custDataLst>
          </p:nvPr>
        </p:nvSpPr>
        <p:spPr bwMode="gray">
          <a:xfrm>
            <a:off x="5089525" y="37242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283C82A-0567-4083-9B64-2DEDD608F8DC}" type="datetime'8''''''0''%'''''''''''''''''">
              <a:rPr lang="en-US" sz="1200" smtClean="0">
                <a:solidFill>
                  <a:schemeClr val="tx1"/>
                </a:solidFill>
              </a:rPr>
              <a:pPr/>
              <a:t>8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55FF5FA-5010-4BE3-8B94-73DF4013F435}" type="datetime'''''''''''''''''''''''''4''''''48'''''''''''''''''''">
              <a:rPr lang="en-US" sz="1200" smtClean="0">
                <a:solidFill>
                  <a:schemeClr val="tx1"/>
                </a:solidFill>
              </a:rPr>
              <a:pPr/>
              <a:t>448</a:t>
            </a:fld>
            <a:r>
              <a:rPr lang="en-US" sz="1200" smtClean="0">
                <a:solidFill>
                  <a:schemeClr val="tx1"/>
                </a:solidFill>
                <a:sym typeface="+mn-lt"/>
              </a:rPr>
              <a:t>)</a:t>
            </a:r>
            <a:endParaRPr lang="en-US" sz="1200">
              <a:solidFill>
                <a:schemeClr val="tx1"/>
              </a:solidFill>
              <a:sym typeface="+mn-lt"/>
            </a:endParaRPr>
          </a:p>
        </p:txBody>
      </p:sp>
      <p:sp>
        <p:nvSpPr>
          <p:cNvPr id="119" name="Rectangle 118"/>
          <p:cNvSpPr/>
          <p:nvPr>
            <p:custDataLst>
              <p:tags r:id="rId36"/>
            </p:custDataLst>
          </p:nvPr>
        </p:nvSpPr>
        <p:spPr bwMode="gray">
          <a:xfrm>
            <a:off x="2617788" y="44005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93302C9-BFF7-48C5-9EE5-16BADA29F558}" type="datetime'6''''''''''''''''''''''''''''''4''''%'''''''''''">
              <a:rPr lang="en-US" sz="1200" smtClean="0">
                <a:solidFill>
                  <a:schemeClr val="tx1"/>
                </a:solidFill>
              </a:rPr>
              <a:pPr/>
              <a:t>64%</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21356EF-71E3-4468-A87D-3B956AFBF8B8}" type="datetime'''''''''''''''''''1''''''''''''9''''''''''''''1'''''''''''''''">
              <a:rPr lang="en-US" sz="1200" smtClean="0">
                <a:solidFill>
                  <a:schemeClr val="tx1"/>
                </a:solidFill>
              </a:rPr>
              <a:pPr/>
              <a:t>191</a:t>
            </a:fld>
            <a:r>
              <a:rPr lang="en-US" sz="1200" smtClean="0">
                <a:solidFill>
                  <a:schemeClr val="tx1"/>
                </a:solidFill>
                <a:sym typeface="+mn-lt"/>
              </a:rPr>
              <a:t>)</a:t>
            </a:r>
            <a:endParaRPr lang="en-US" sz="1200">
              <a:solidFill>
                <a:schemeClr val="tx1"/>
              </a:solidFill>
              <a:sym typeface="+mn-lt"/>
            </a:endParaRPr>
          </a:p>
        </p:txBody>
      </p:sp>
      <p:sp>
        <p:nvSpPr>
          <p:cNvPr id="96" name="Rectangle 95"/>
          <p:cNvSpPr/>
          <p:nvPr>
            <p:custDataLst>
              <p:tags r:id="rId37"/>
            </p:custDataLst>
          </p:nvPr>
        </p:nvSpPr>
        <p:spPr bwMode="auto">
          <a:xfrm>
            <a:off x="3290888"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088D2EE-9164-42E1-93E3-407E6971E37F}" type="datetime'''''''''''''20''''''''''1''''''''''''''0'''''''''''''''">
              <a:rPr lang="en-US" sz="1200">
                <a:solidFill>
                  <a:schemeClr val="tx1"/>
                </a:solidFill>
                <a:latin typeface="Calibri"/>
                <a:sym typeface="Calibri"/>
              </a:rPr>
              <a:pPr algn="ctr">
                <a:spcBef>
                  <a:spcPct val="0"/>
                </a:spcBef>
                <a:spcAft>
                  <a:spcPct val="0"/>
                </a:spcAft>
              </a:pPr>
              <a:t>2010</a:t>
            </a:fld>
            <a:endParaRPr lang="en-US" sz="1200">
              <a:solidFill>
                <a:schemeClr val="tx1"/>
              </a:solidFill>
              <a:latin typeface="Calibri"/>
              <a:sym typeface="Calibri"/>
            </a:endParaRPr>
          </a:p>
        </p:txBody>
      </p:sp>
      <p:sp>
        <p:nvSpPr>
          <p:cNvPr id="115" name="Rectangle 114"/>
          <p:cNvSpPr/>
          <p:nvPr>
            <p:custDataLst>
              <p:tags r:id="rId38"/>
            </p:custDataLst>
          </p:nvPr>
        </p:nvSpPr>
        <p:spPr bwMode="gray">
          <a:xfrm>
            <a:off x="5581650" y="43053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022C09E-EACF-4DF5-8569-08EA9FB63B85}" type="datetime'''''''''''3''''''''8''''''''''''''''''''''''''''%'''''''''''''">
              <a:rPr lang="en-US" sz="1200" smtClean="0">
                <a:solidFill>
                  <a:schemeClr val="tx1"/>
                </a:solidFill>
              </a:rPr>
              <a:pPr/>
              <a:t>3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735F4FE5-5CE2-482B-B4D6-DDC834FA57CD}" type="datetime'''''228'''''''''''''''''''''''''''''''''''">
              <a:rPr lang="en-US" sz="1200" smtClean="0">
                <a:solidFill>
                  <a:schemeClr val="tx1"/>
                </a:solidFill>
              </a:rPr>
              <a:pPr/>
              <a:t>228</a:t>
            </a:fld>
            <a:r>
              <a:rPr lang="en-US" sz="1200" smtClean="0">
                <a:solidFill>
                  <a:schemeClr val="tx1"/>
                </a:solidFill>
                <a:sym typeface="+mn-lt"/>
              </a:rPr>
              <a:t>)</a:t>
            </a:r>
            <a:endParaRPr lang="en-US" sz="1200">
              <a:solidFill>
                <a:schemeClr val="tx1"/>
              </a:solidFill>
              <a:sym typeface="+mn-lt"/>
            </a:endParaRPr>
          </a:p>
        </p:txBody>
      </p:sp>
      <p:sp>
        <p:nvSpPr>
          <p:cNvPr id="98" name="Rectangle 97"/>
          <p:cNvSpPr/>
          <p:nvPr>
            <p:custDataLst>
              <p:tags r:id="rId39"/>
            </p:custDataLst>
          </p:nvPr>
        </p:nvSpPr>
        <p:spPr bwMode="auto">
          <a:xfrm>
            <a:off x="4957763"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8D25E8D-2222-4C31-86AE-223D037CB5A6}" type="datetime'''''2''''''''''0''''''''''''''''1''''''''''''''''''2'''''''">
              <a:rPr lang="en-US" sz="1200">
                <a:solidFill>
                  <a:schemeClr val="tx1"/>
                </a:solidFill>
                <a:latin typeface="Calibri"/>
                <a:sym typeface="Calibri"/>
              </a:rPr>
              <a:pPr algn="ctr">
                <a:spcBef>
                  <a:spcPct val="0"/>
                </a:spcBef>
                <a:spcAft>
                  <a:spcPct val="0"/>
                </a:spcAft>
              </a:pPr>
              <a:t>2012</a:t>
            </a:fld>
            <a:endParaRPr lang="en-US" sz="1200">
              <a:solidFill>
                <a:schemeClr val="tx1"/>
              </a:solidFill>
              <a:latin typeface="Calibri"/>
              <a:sym typeface="Calibri"/>
            </a:endParaRPr>
          </a:p>
        </p:txBody>
      </p:sp>
      <p:sp>
        <p:nvSpPr>
          <p:cNvPr id="91" name="Rectangle 90"/>
          <p:cNvSpPr/>
          <p:nvPr>
            <p:custDataLst>
              <p:tags r:id="rId40"/>
            </p:custDataLst>
          </p:nvPr>
        </p:nvSpPr>
        <p:spPr bwMode="auto">
          <a:xfrm>
            <a:off x="790575"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EAF3FA-490A-4666-A6FF-3B2B14FF0900}" type="datetime'''''''''''''''2''''''''''''''''''0''''''''''''''''0''''7'''''">
              <a:rPr lang="en-US" sz="1200">
                <a:solidFill>
                  <a:schemeClr val="tx1"/>
                </a:solidFill>
              </a:rPr>
              <a:pPr/>
              <a:t>2007</a:t>
            </a:fld>
            <a:endParaRPr lang="en-US" sz="1200" dirty="0">
              <a:solidFill>
                <a:schemeClr val="tx1"/>
              </a:solidFill>
              <a:sym typeface="+mn-lt"/>
            </a:endParaRPr>
          </a:p>
        </p:txBody>
      </p:sp>
      <p:sp>
        <p:nvSpPr>
          <p:cNvPr id="114" name="Rectangle 113"/>
          <p:cNvSpPr/>
          <p:nvPr>
            <p:custDataLst>
              <p:tags r:id="rId41"/>
            </p:custDataLst>
          </p:nvPr>
        </p:nvSpPr>
        <p:spPr bwMode="gray">
          <a:xfrm>
            <a:off x="4752975" y="4562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175A46F-7988-4A7B-B566-36E044F7FFB9}" type="datetime'2''''3''''''''''''''''''''''''%'''''''''''">
              <a:rPr lang="en-US" sz="1200" smtClean="0">
                <a:solidFill>
                  <a:schemeClr val="tx1"/>
                </a:solidFill>
              </a:rPr>
              <a:pPr/>
              <a:t>2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AAC9D0B-FAD5-4563-94BA-D433F40C3EF1}" type="datetime'''''''1''''''''''2''''''''''''''''''''''''''''''''''9'">
              <a:rPr lang="en-US" sz="1200" smtClean="0">
                <a:solidFill>
                  <a:schemeClr val="tx1"/>
                </a:solidFill>
              </a:rPr>
              <a:pPr/>
              <a:t>129</a:t>
            </a:fld>
            <a:r>
              <a:rPr lang="en-US" sz="1200" smtClean="0">
                <a:solidFill>
                  <a:schemeClr val="tx1"/>
                </a:solidFill>
                <a:sym typeface="+mn-lt"/>
              </a:rPr>
              <a:t>)</a:t>
            </a:r>
            <a:endParaRPr lang="en-US" sz="1200">
              <a:solidFill>
                <a:schemeClr val="tx1"/>
              </a:solidFill>
              <a:sym typeface="+mn-lt"/>
            </a:endParaRPr>
          </a:p>
        </p:txBody>
      </p:sp>
      <p:sp>
        <p:nvSpPr>
          <p:cNvPr id="112" name="Rectangle 111"/>
          <p:cNvSpPr/>
          <p:nvPr>
            <p:custDataLst>
              <p:tags r:id="rId42"/>
            </p:custDataLst>
          </p:nvPr>
        </p:nvSpPr>
        <p:spPr bwMode="gray">
          <a:xfrm>
            <a:off x="3086100" y="45434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2BD3DEF-43A3-49FC-9F5A-791D9AC7E1A7}" type="datetime'''''''''''''3''''''''''''7''''''''''''''''''''%'''''">
              <a:rPr lang="en-US" sz="1200" smtClean="0">
                <a:solidFill>
                  <a:schemeClr val="tx1"/>
                </a:solidFill>
              </a:rPr>
              <a:pPr/>
              <a:t>3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7C96EAB-D342-41C7-84D2-F46D80728D8B}" type="datetime'''''''''1''''''''''''''37'''''''''''''''''''''''''''''''''">
              <a:rPr lang="en-US" sz="1200" smtClean="0">
                <a:solidFill>
                  <a:schemeClr val="tx1"/>
                </a:solidFill>
              </a:rPr>
              <a:pPr/>
              <a:t>137</a:t>
            </a:fld>
            <a:r>
              <a:rPr lang="en-US" sz="1200" smtClean="0">
                <a:solidFill>
                  <a:schemeClr val="tx1"/>
                </a:solidFill>
                <a:sym typeface="+mn-lt"/>
              </a:rPr>
              <a:t>)</a:t>
            </a:r>
            <a:endParaRPr lang="en-US" sz="1200">
              <a:solidFill>
                <a:schemeClr val="tx1"/>
              </a:solidFill>
              <a:sym typeface="+mn-lt"/>
            </a:endParaRPr>
          </a:p>
        </p:txBody>
      </p:sp>
      <p:sp>
        <p:nvSpPr>
          <p:cNvPr id="118" name="Rectangle 117"/>
          <p:cNvSpPr/>
          <p:nvPr>
            <p:custDataLst>
              <p:tags r:id="rId43"/>
            </p:custDataLst>
          </p:nvPr>
        </p:nvSpPr>
        <p:spPr bwMode="gray">
          <a:xfrm>
            <a:off x="1795463" y="46005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59B04F0-3C69-4C1F-A310-13CFA3A988E7}" type="datetime'''''''''''''''''''''''''61''''''''''''''''%'">
              <a:rPr lang="en-US" sz="1200" smtClean="0">
                <a:solidFill>
                  <a:schemeClr val="tx1"/>
                </a:solidFill>
              </a:rPr>
              <a:pPr/>
              <a:t>6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1575FE4A-0089-4895-973E-C13466074B8B}" type="datetime'''''''''''1''''''''''1''''''''''4'">
              <a:rPr lang="en-US" sz="1200" smtClean="0">
                <a:solidFill>
                  <a:schemeClr val="tx1"/>
                </a:solidFill>
              </a:rPr>
              <a:pPr/>
              <a:t>114</a:t>
            </a:fld>
            <a:r>
              <a:rPr lang="en-US" sz="1200" smtClean="0">
                <a:solidFill>
                  <a:schemeClr val="tx1"/>
                </a:solidFill>
                <a:sym typeface="+mn-lt"/>
              </a:rPr>
              <a:t>)</a:t>
            </a:r>
            <a:endParaRPr lang="en-US" sz="1200">
              <a:solidFill>
                <a:schemeClr val="tx1"/>
              </a:solidFill>
              <a:sym typeface="+mn-lt"/>
            </a:endParaRPr>
          </a:p>
        </p:txBody>
      </p:sp>
      <p:sp>
        <p:nvSpPr>
          <p:cNvPr id="104" name="Rectangle 103"/>
          <p:cNvSpPr/>
          <p:nvPr>
            <p:custDataLst>
              <p:tags r:id="rId44"/>
            </p:custDataLst>
          </p:nvPr>
        </p:nvSpPr>
        <p:spPr bwMode="auto">
          <a:xfrm>
            <a:off x="482600" y="3819525"/>
            <a:ext cx="214313"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custDataLst>
              <p:tags r:id="rId45"/>
            </p:custDataLst>
          </p:nvPr>
        </p:nvSpPr>
        <p:spPr bwMode="auto">
          <a:xfrm>
            <a:off x="1919288" y="3819525"/>
            <a:ext cx="214313"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custDataLst>
              <p:tags r:id="rId46"/>
            </p:custDataLst>
          </p:nvPr>
        </p:nvSpPr>
        <p:spPr bwMode="auto">
          <a:xfrm>
            <a:off x="2184400" y="3814763"/>
            <a:ext cx="12811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146AE3B-B198-4F56-98BF-DB1D4A1A95CD}" type="datetime'''''N''e''a''k''''''t''''yv''ū''s v''a''''r''''''t''otojai'''">
              <a:rPr lang="en-US" sz="1200">
                <a:solidFill>
                  <a:schemeClr val="tx1"/>
                </a:solidFill>
                <a:sym typeface="+mn-lt"/>
              </a:rPr>
              <a:pPr>
                <a:spcBef>
                  <a:spcPct val="0"/>
                </a:spcBef>
                <a:spcAft>
                  <a:spcPct val="0"/>
                </a:spcAft>
              </a:pPr>
              <a:t>Neaktyvūs vartotojai</a:t>
            </a:fld>
            <a:endParaRPr lang="en-US" sz="1200" dirty="0">
              <a:solidFill>
                <a:schemeClr val="tx1"/>
              </a:solidFill>
              <a:sym typeface="+mn-lt"/>
            </a:endParaRPr>
          </a:p>
        </p:txBody>
      </p:sp>
      <p:sp>
        <p:nvSpPr>
          <p:cNvPr id="102" name="Rectangle 101"/>
          <p:cNvSpPr/>
          <p:nvPr>
            <p:custDataLst>
              <p:tags r:id="rId47"/>
            </p:custDataLst>
          </p:nvPr>
        </p:nvSpPr>
        <p:spPr bwMode="auto">
          <a:xfrm>
            <a:off x="747713" y="3814763"/>
            <a:ext cx="10699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8389B0E0-B9A7-4A5B-8487-AEDF7E07F8E8}" type="datetime'''A''''''ktyvū''s'' ''''vato''''''''t''''''''''oj''''a''i'''''">
              <a:rPr lang="en-US" sz="1200">
                <a:solidFill>
                  <a:schemeClr val="tx1"/>
                </a:solidFill>
                <a:sym typeface="+mn-lt"/>
              </a:rPr>
              <a:pPr>
                <a:spcBef>
                  <a:spcPct val="0"/>
                </a:spcBef>
                <a:spcAft>
                  <a:spcPct val="0"/>
                </a:spcAft>
              </a:pPr>
              <a:t>Aktyvūs vatotojai</a:t>
            </a:fld>
            <a:endParaRPr lang="en-US" sz="1200" dirty="0">
              <a:solidFill>
                <a:schemeClr val="tx1"/>
              </a:solidFill>
              <a:sym typeface="+mn-lt"/>
            </a:endParaRPr>
          </a:p>
        </p:txBody>
      </p:sp>
      <p:sp>
        <p:nvSpPr>
          <p:cNvPr id="106" name="Rectangle 105"/>
          <p:cNvSpPr/>
          <p:nvPr/>
        </p:nvSpPr>
        <p:spPr>
          <a:xfrm>
            <a:off x="336550" y="3357563"/>
            <a:ext cx="8519926" cy="2879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aujai užsiregistravusių aktyvių ir neaktyvių* vartotojų skaičius, proc.</a:t>
            </a:r>
            <a:endParaRPr lang="lt-LT" sz="1200" dirty="0">
              <a:solidFill>
                <a:schemeClr val="bg1"/>
              </a:solidFill>
              <a:cs typeface="Cambria"/>
            </a:endParaRPr>
          </a:p>
        </p:txBody>
      </p:sp>
      <p:sp>
        <p:nvSpPr>
          <p:cNvPr id="107" name="Rectangle 106"/>
          <p:cNvSpPr/>
          <p:nvPr/>
        </p:nvSpPr>
        <p:spPr>
          <a:xfrm>
            <a:off x="336550" y="3644901"/>
            <a:ext cx="8519926" cy="216036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24" name="Rectangle 123"/>
          <p:cNvSpPr/>
          <p:nvPr/>
        </p:nvSpPr>
        <p:spPr>
          <a:xfrm>
            <a:off x="6516216" y="3667125"/>
            <a:ext cx="2292720" cy="2242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Vidutiniškai apie trečdalis naujai užsiregistravusių vartotojų tampa aktyvūs – vykdo projektus.</a:t>
            </a:r>
          </a:p>
          <a:p>
            <a:pPr marL="96838" lvl="0" indent="-96838" algn="just">
              <a:buFont typeface="Arial" panose="020B0604020202020204" pitchFamily="34" charset="0"/>
              <a:buChar char="•"/>
            </a:pPr>
            <a:r>
              <a:rPr lang="lt-LT" sz="1200" dirty="0" smtClean="0">
                <a:solidFill>
                  <a:prstClr val="black"/>
                </a:solidFill>
              </a:rPr>
              <a:t>Aktyvų vartotojų dalis buvo sumažėjusi 2011 ir 2012 m., tačiau 2013 m. vėl išaugo.</a:t>
            </a:r>
          </a:p>
          <a:p>
            <a:pPr marL="96838" lvl="0" indent="-96838" algn="just">
              <a:buFont typeface="Arial" panose="020B0604020202020204" pitchFamily="34" charset="0"/>
              <a:buChar char="•"/>
            </a:pPr>
            <a:r>
              <a:rPr lang="lt-LT" sz="1200" dirty="0" smtClean="0">
                <a:solidFill>
                  <a:prstClr val="black"/>
                </a:solidFill>
              </a:rPr>
              <a:t>Didesnė dalis vartotojų užsiregistravusių 2012 m. tapo neaktyviais lyginant su kitais metais. </a:t>
            </a:r>
            <a:endParaRPr lang="lt-LT" sz="1200" dirty="0">
              <a:solidFill>
                <a:prstClr val="black"/>
              </a:solidFill>
            </a:endParaRPr>
          </a:p>
        </p:txBody>
      </p:sp>
      <p:sp>
        <p:nvSpPr>
          <p:cNvPr id="12" name="TextBox 11"/>
          <p:cNvSpPr txBox="1"/>
          <p:nvPr/>
        </p:nvSpPr>
        <p:spPr>
          <a:xfrm>
            <a:off x="2565434" y="1343754"/>
            <a:ext cx="1257267" cy="357054"/>
          </a:xfrm>
          <a:prstGeom prst="ellipse">
            <a:avLst/>
          </a:prstGeom>
          <a:solidFill>
            <a:schemeClr val="bg1"/>
          </a:solidFill>
          <a:ln>
            <a:solidFill>
              <a:schemeClr val="tx1">
                <a:lumMod val="95000"/>
                <a:lumOff val="5000"/>
              </a:schemeClr>
            </a:solidFill>
          </a:ln>
        </p:spPr>
        <p:txBody>
          <a:bodyPr wrap="square" rtlCol="0">
            <a:spAutoFit/>
          </a:bodyPr>
          <a:lstStyle/>
          <a:p>
            <a:r>
              <a:rPr lang="lt-LT" sz="1050" b="1" dirty="0" smtClean="0"/>
              <a:t>VISO: 2615</a:t>
            </a:r>
            <a:endParaRPr lang="en-US" sz="1050" b="1" dirty="0"/>
          </a:p>
        </p:txBody>
      </p:sp>
      <p:sp>
        <p:nvSpPr>
          <p:cNvPr id="62" name="Rectangle 61"/>
          <p:cNvSpPr/>
          <p:nvPr/>
        </p:nvSpPr>
        <p:spPr>
          <a:xfrm>
            <a:off x="163490" y="5843565"/>
            <a:ext cx="6045245" cy="430887"/>
          </a:xfrm>
          <a:prstGeom prst="rect">
            <a:avLst/>
          </a:prstGeom>
        </p:spPr>
        <p:txBody>
          <a:bodyPr wrap="none">
            <a:spAutoFit/>
          </a:bodyPr>
          <a:lstStyle/>
          <a:p>
            <a:r>
              <a:rPr lang="lt-LT" sz="1100" u="sng" dirty="0" smtClean="0">
                <a:solidFill>
                  <a:schemeClr val="bg1">
                    <a:lumMod val="50000"/>
                  </a:schemeClr>
                </a:solidFill>
                <a:cs typeface="Cambria"/>
              </a:rPr>
              <a:t>*Aktyvus vartotojas </a:t>
            </a:r>
            <a:r>
              <a:rPr lang="lt-LT" sz="1100" dirty="0">
                <a:solidFill>
                  <a:schemeClr val="bg1">
                    <a:lumMod val="50000"/>
                  </a:schemeClr>
                </a:solidFill>
                <a:cs typeface="Cambria"/>
              </a:rPr>
              <a:t>- per 2007-2013 m. vykdęs bent vieną eTwinning programos projektą</a:t>
            </a:r>
            <a:r>
              <a:rPr lang="lt-LT" sz="1100" dirty="0" smtClean="0">
                <a:solidFill>
                  <a:schemeClr val="bg1">
                    <a:lumMod val="50000"/>
                  </a:schemeClr>
                </a:solidFill>
                <a:cs typeface="Cambria"/>
              </a:rPr>
              <a:t>.;</a:t>
            </a:r>
          </a:p>
          <a:p>
            <a:r>
              <a:rPr lang="lt-LT" sz="1100" u="sng" dirty="0" smtClean="0">
                <a:solidFill>
                  <a:schemeClr val="bg1">
                    <a:lumMod val="50000"/>
                  </a:schemeClr>
                </a:solidFill>
              </a:rPr>
              <a:t>Neaktyvus vartotojas </a:t>
            </a:r>
            <a:r>
              <a:rPr lang="lt-LT" sz="1100" dirty="0">
                <a:solidFill>
                  <a:schemeClr val="bg1">
                    <a:lumMod val="50000"/>
                  </a:schemeClr>
                </a:solidFill>
              </a:rPr>
              <a:t>- per 2007-2013 m. laikotarpį nevykdęs nei vieno eTwinning programos projekto.</a:t>
            </a:r>
            <a:endParaRPr lang="en-US" sz="1100" dirty="0">
              <a:solidFill>
                <a:schemeClr val="bg1">
                  <a:lumMod val="50000"/>
                </a:schemeClr>
              </a:solidFill>
            </a:endParaRPr>
          </a:p>
        </p:txBody>
      </p:sp>
    </p:spTree>
    <p:extLst>
      <p:ext uri="{BB962C8B-B14F-4D97-AF65-F5344CB8AC3E}">
        <p14:creationId xmlns:p14="http://schemas.microsoft.com/office/powerpoint/2010/main" val="34023479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354585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9"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47145" y="332656"/>
            <a:ext cx="8229600" cy="487362"/>
          </a:xfrm>
        </p:spPr>
        <p:txBody>
          <a:bodyPr>
            <a:noAutofit/>
          </a:bodyPr>
          <a:lstStyle/>
          <a:p>
            <a:r>
              <a:rPr lang="lt-LT" sz="2000" b="1" dirty="0">
                <a:solidFill>
                  <a:schemeClr val="tx2">
                    <a:lumMod val="75000"/>
                  </a:schemeClr>
                </a:solidFill>
              </a:rPr>
              <a:t>Daugiausiai vartotojų gavusių Nacionalinius kokybės ženklelius yra Marijampolės regione </a:t>
            </a:r>
            <a:endParaRPr lang="en-US" sz="2000" b="1" dirty="0">
              <a:solidFill>
                <a:schemeClr val="tx2">
                  <a:lumMod val="75000"/>
                </a:schemeClr>
              </a:solidFill>
            </a:endParaRPr>
          </a:p>
        </p:txBody>
      </p:sp>
      <p:sp>
        <p:nvSpPr>
          <p:cNvPr id="5" name="Rectangle 4"/>
          <p:cNvSpPr/>
          <p:nvPr/>
        </p:nvSpPr>
        <p:spPr>
          <a:xfrm>
            <a:off x="241300" y="1258888"/>
            <a:ext cx="4402650" cy="497463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241300" y="957263"/>
            <a:ext cx="4407046"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Vartotojų, gavusių QL, pasiskirstymas pagal regioną, vnt. </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964610998"/>
              </p:ext>
            </p:extLst>
          </p:nvPr>
        </p:nvGraphicFramePr>
        <p:xfrm>
          <a:off x="266700" y="1143000"/>
          <a:ext cx="4181388" cy="1304910"/>
        </p:xfrm>
        <a:graphic>
          <a:graphicData uri="http://schemas.openxmlformats.org/presentationml/2006/ole">
            <mc:AlternateContent xmlns:mc="http://schemas.openxmlformats.org/markup-compatibility/2006">
              <mc:Choice xmlns:v="urn:schemas-microsoft-com:vml" Requires="v">
                <p:oleObj spid="_x0000_s31780" name="Chart" r:id="rId39" imgW="4181318" imgH="1305010" progId="MSGraph.Chart.8">
                  <p:embed followColorScheme="full"/>
                </p:oleObj>
              </mc:Choice>
              <mc:Fallback>
                <p:oleObj name="Chart" r:id="rId39" imgW="4181318" imgH="1305010" progId="MSGraph.Chart.8">
                  <p:embed followColorScheme="full"/>
                  <p:pic>
                    <p:nvPicPr>
                      <p:cNvPr id="0" name=""/>
                      <p:cNvPicPr/>
                      <p:nvPr/>
                    </p:nvPicPr>
                    <p:blipFill>
                      <a:blip r:embed="rId40"/>
                      <a:stretch>
                        <a:fillRect/>
                      </a:stretch>
                    </p:blipFill>
                    <p:spPr>
                      <a:xfrm>
                        <a:off x="266700" y="1143000"/>
                        <a:ext cx="4181388" cy="1304910"/>
                      </a:xfrm>
                      <a:prstGeom prst="rect">
                        <a:avLst/>
                      </a:prstGeom>
                    </p:spPr>
                  </p:pic>
                </p:oleObj>
              </mc:Fallback>
            </mc:AlternateContent>
          </a:graphicData>
        </a:graphic>
      </p:graphicFrame>
      <p:sp>
        <p:nvSpPr>
          <p:cNvPr id="14" name="Rectangle 13"/>
          <p:cNvSpPr/>
          <p:nvPr>
            <p:custDataLst>
              <p:tags r:id="rId5"/>
            </p:custDataLst>
          </p:nvPr>
        </p:nvSpPr>
        <p:spPr bwMode="auto">
          <a:xfrm flipV="1">
            <a:off x="4062413" y="2460625"/>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1FE6ABC-F3D9-4F0A-9A75-974DE1B06193}"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15" name="Rectangle 14"/>
          <p:cNvSpPr/>
          <p:nvPr>
            <p:custDataLst>
              <p:tags r:id="rId6"/>
            </p:custDataLst>
          </p:nvPr>
        </p:nvSpPr>
        <p:spPr bwMode="auto">
          <a:xfrm flipV="1">
            <a:off x="3667125" y="2460625"/>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70379EB-4521-468B-B6CC-D562E45CBFF0}"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11" name="Rectangle 10"/>
          <p:cNvSpPr/>
          <p:nvPr>
            <p:custDataLst>
              <p:tags r:id="rId7"/>
            </p:custDataLst>
          </p:nvPr>
        </p:nvSpPr>
        <p:spPr bwMode="auto">
          <a:xfrm flipV="1">
            <a:off x="3271838" y="2460625"/>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D907F5A-539A-4B77-9C0B-FFB836F7B540}"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8"/>
            </p:custDataLst>
          </p:nvPr>
        </p:nvSpPr>
        <p:spPr bwMode="auto">
          <a:xfrm flipV="1">
            <a:off x="2881313" y="2460625"/>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9F99782-4CC5-44E0-A34D-73AA570F5CD9}"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3" name="Rectangle 12"/>
          <p:cNvSpPr/>
          <p:nvPr>
            <p:custDataLst>
              <p:tags r:id="rId9"/>
            </p:custDataLst>
          </p:nvPr>
        </p:nvSpPr>
        <p:spPr bwMode="auto">
          <a:xfrm flipV="1">
            <a:off x="2490788" y="2460625"/>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44E62E7-554D-4FA7-A5CB-D0BE4A0BD18F}"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8" name="Rectangle 7"/>
          <p:cNvSpPr/>
          <p:nvPr>
            <p:custDataLst>
              <p:tags r:id="rId10"/>
            </p:custDataLst>
          </p:nvPr>
        </p:nvSpPr>
        <p:spPr bwMode="auto">
          <a:xfrm flipV="1">
            <a:off x="2095500" y="2460625"/>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9EA443A-6B8B-4C09-B870-2A8AF36E3D51}"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9" name="Rectangle 8"/>
          <p:cNvSpPr/>
          <p:nvPr>
            <p:custDataLst>
              <p:tags r:id="rId11"/>
            </p:custDataLst>
          </p:nvPr>
        </p:nvSpPr>
        <p:spPr bwMode="auto">
          <a:xfrm flipV="1">
            <a:off x="1700213" y="2460625"/>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292C178-7AE9-4A5B-A719-63E254AEF1F0}"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0" name="Rectangle 9"/>
          <p:cNvSpPr/>
          <p:nvPr>
            <p:custDataLst>
              <p:tags r:id="rId12"/>
            </p:custDataLst>
          </p:nvPr>
        </p:nvSpPr>
        <p:spPr bwMode="auto">
          <a:xfrm flipV="1">
            <a:off x="1309688" y="2460625"/>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277944F-B931-4559-ADAE-E8B694D7E8A5}"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6" name="Rectangle 15"/>
          <p:cNvSpPr/>
          <p:nvPr>
            <p:custDataLst>
              <p:tags r:id="rId13"/>
            </p:custDataLst>
          </p:nvPr>
        </p:nvSpPr>
        <p:spPr bwMode="auto">
          <a:xfrm flipV="1">
            <a:off x="914400" y="2460625"/>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FADF2C7-77F0-45CB-88A4-09381BE5AC8C}"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17" name="Rectangle 16"/>
          <p:cNvSpPr/>
          <p:nvPr>
            <p:custDataLst>
              <p:tags r:id="rId14"/>
            </p:custDataLst>
          </p:nvPr>
        </p:nvSpPr>
        <p:spPr bwMode="auto">
          <a:xfrm flipV="1">
            <a:off x="519113" y="2460625"/>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44C12C0-A41A-4CA4-A1B2-25572280C559}"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grpSp>
        <p:nvGrpSpPr>
          <p:cNvPr id="18" name="Group 17"/>
          <p:cNvGrpSpPr/>
          <p:nvPr/>
        </p:nvGrpSpPr>
        <p:grpSpPr>
          <a:xfrm>
            <a:off x="322613" y="3337202"/>
            <a:ext cx="4250624" cy="2896324"/>
            <a:chOff x="889059" y="1069816"/>
            <a:chExt cx="7078200" cy="5159375"/>
          </a:xfrm>
        </p:grpSpPr>
        <p:grpSp>
          <p:nvGrpSpPr>
            <p:cNvPr id="19" name="Group 18"/>
            <p:cNvGrpSpPr/>
            <p:nvPr/>
          </p:nvGrpSpPr>
          <p:grpSpPr>
            <a:xfrm>
              <a:off x="1204509" y="1069816"/>
              <a:ext cx="6762750" cy="5159375"/>
              <a:chOff x="2140960" y="943031"/>
              <a:chExt cx="6762750" cy="5159375"/>
            </a:xfrm>
          </p:grpSpPr>
          <p:sp>
            <p:nvSpPr>
              <p:cNvPr id="30" name="Freeform 29"/>
              <p:cNvSpPr/>
              <p:nvPr/>
            </p:nvSpPr>
            <p:spPr>
              <a:xfrm>
                <a:off x="3903085" y="1006531"/>
                <a:ext cx="1962149"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4131684" y="2725795"/>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3420167" y="2028278"/>
              <a:ext cx="1206778" cy="277000"/>
            </a:xfrm>
            <a:prstGeom prst="rect">
              <a:avLst/>
            </a:prstGeom>
            <a:noFill/>
            <a:ln w="6350">
              <a:noFill/>
            </a:ln>
          </p:spPr>
          <p:txBody>
            <a:bodyPr wrap="square" rtlCol="0">
              <a:spAutoFit/>
            </a:bodyPr>
            <a:lstStyle/>
            <a:p>
              <a:r>
                <a:rPr lang="lt-LT" sz="1200" b="1" dirty="0" smtClean="0"/>
                <a:t>Šiaulių regionas</a:t>
              </a:r>
            </a:p>
          </p:txBody>
        </p:sp>
        <p:sp>
          <p:nvSpPr>
            <p:cNvPr id="21" name="TextBox 20"/>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2" name="TextBox 21"/>
            <p:cNvSpPr txBox="1"/>
            <p:nvPr/>
          </p:nvSpPr>
          <p:spPr>
            <a:xfrm>
              <a:off x="5589826" y="4444586"/>
              <a:ext cx="1206778" cy="461665"/>
            </a:xfrm>
            <a:prstGeom prst="rect">
              <a:avLst/>
            </a:prstGeom>
            <a:noFill/>
            <a:ln w="6350">
              <a:noFill/>
            </a:ln>
          </p:spPr>
          <p:txBody>
            <a:bodyPr wrap="square" rtlCol="0">
              <a:spAutoFit/>
            </a:bodyPr>
            <a:lstStyle/>
            <a:p>
              <a:r>
                <a:rPr lang="lt-LT" sz="1200" b="1" dirty="0" smtClean="0"/>
                <a:t>Vilniaus regionas</a:t>
              </a:r>
            </a:p>
          </p:txBody>
        </p:sp>
        <p:sp>
          <p:nvSpPr>
            <p:cNvPr id="23" name="TextBox 22"/>
            <p:cNvSpPr txBox="1"/>
            <p:nvPr/>
          </p:nvSpPr>
          <p:spPr>
            <a:xfrm>
              <a:off x="4166875" y="5264785"/>
              <a:ext cx="1768753" cy="276999"/>
            </a:xfrm>
            <a:prstGeom prst="rect">
              <a:avLst/>
            </a:prstGeom>
            <a:noFill/>
            <a:ln w="6350">
              <a:noFill/>
            </a:ln>
          </p:spPr>
          <p:txBody>
            <a:bodyPr wrap="square" rtlCol="0">
              <a:spAutoFit/>
            </a:bodyPr>
            <a:lstStyle/>
            <a:p>
              <a:r>
                <a:rPr lang="lt-LT" sz="1200" b="1" dirty="0" smtClean="0"/>
                <a:t>Alytaus regionas</a:t>
              </a:r>
            </a:p>
          </p:txBody>
        </p:sp>
        <p:sp>
          <p:nvSpPr>
            <p:cNvPr id="24" name="TextBox 23"/>
            <p:cNvSpPr txBox="1"/>
            <p:nvPr/>
          </p:nvSpPr>
          <p:spPr>
            <a:xfrm>
              <a:off x="4250643" y="3757602"/>
              <a:ext cx="1206778" cy="276999"/>
            </a:xfrm>
            <a:prstGeom prst="rect">
              <a:avLst/>
            </a:prstGeom>
            <a:noFill/>
            <a:ln w="6350">
              <a:noFill/>
            </a:ln>
          </p:spPr>
          <p:txBody>
            <a:bodyPr wrap="square" rtlCol="0">
              <a:spAutoFit/>
            </a:bodyPr>
            <a:lstStyle/>
            <a:p>
              <a:r>
                <a:rPr lang="lt-LT" sz="1200" b="1" dirty="0" smtClean="0"/>
                <a:t>Kauno regionas</a:t>
              </a:r>
            </a:p>
          </p:txBody>
        </p:sp>
        <p:sp>
          <p:nvSpPr>
            <p:cNvPr id="25" name="TextBox 24"/>
            <p:cNvSpPr txBox="1"/>
            <p:nvPr/>
          </p:nvSpPr>
          <p:spPr>
            <a:xfrm>
              <a:off x="2509434" y="4514801"/>
              <a:ext cx="1892578" cy="822388"/>
            </a:xfrm>
            <a:prstGeom prst="rect">
              <a:avLst/>
            </a:prstGeom>
            <a:noFill/>
            <a:ln w="6350">
              <a:noFill/>
            </a:ln>
          </p:spPr>
          <p:txBody>
            <a:bodyPr wrap="square" rtlCol="0">
              <a:spAutoFit/>
            </a:bodyPr>
            <a:lstStyle/>
            <a:p>
              <a:r>
                <a:rPr lang="lt-LT" sz="1200" b="1" dirty="0" smtClean="0"/>
                <a:t>Marijampolės regionas</a:t>
              </a:r>
            </a:p>
          </p:txBody>
        </p:sp>
        <p:sp>
          <p:nvSpPr>
            <p:cNvPr id="26" name="TextBox 25"/>
            <p:cNvSpPr txBox="1"/>
            <p:nvPr/>
          </p:nvSpPr>
          <p:spPr>
            <a:xfrm>
              <a:off x="889059" y="1338658"/>
              <a:ext cx="1464449" cy="793991"/>
            </a:xfrm>
            <a:prstGeom prst="rect">
              <a:avLst/>
            </a:prstGeom>
            <a:noFill/>
            <a:ln w="6350">
              <a:noFill/>
            </a:ln>
          </p:spPr>
          <p:txBody>
            <a:bodyPr wrap="square" rtlCol="0">
              <a:spAutoFit/>
            </a:bodyPr>
            <a:lstStyle/>
            <a:p>
              <a:r>
                <a:rPr lang="lt-LT" sz="1200" b="1" dirty="0" smtClean="0"/>
                <a:t>Klaipėdos regionas</a:t>
              </a:r>
            </a:p>
          </p:txBody>
        </p:sp>
        <p:sp>
          <p:nvSpPr>
            <p:cNvPr id="27" name="TextBox 26"/>
            <p:cNvSpPr txBox="1"/>
            <p:nvPr/>
          </p:nvSpPr>
          <p:spPr>
            <a:xfrm>
              <a:off x="2023658" y="1751279"/>
              <a:ext cx="1343741" cy="793991"/>
            </a:xfrm>
            <a:prstGeom prst="rect">
              <a:avLst/>
            </a:prstGeom>
            <a:noFill/>
            <a:ln w="6350">
              <a:noFill/>
            </a:ln>
          </p:spPr>
          <p:txBody>
            <a:bodyPr wrap="square" rtlCol="0">
              <a:spAutoFit/>
            </a:bodyPr>
            <a:lstStyle/>
            <a:p>
              <a:r>
                <a:rPr lang="lt-LT" sz="1200" b="1" dirty="0" smtClean="0"/>
                <a:t>Telšių regionas</a:t>
              </a:r>
            </a:p>
          </p:txBody>
        </p:sp>
        <p:sp>
          <p:nvSpPr>
            <p:cNvPr id="28" name="TextBox 27"/>
            <p:cNvSpPr txBox="1"/>
            <p:nvPr/>
          </p:nvSpPr>
          <p:spPr>
            <a:xfrm>
              <a:off x="2192643" y="3060820"/>
              <a:ext cx="1483912" cy="276999"/>
            </a:xfrm>
            <a:prstGeom prst="rect">
              <a:avLst/>
            </a:prstGeom>
            <a:noFill/>
            <a:ln w="6350">
              <a:noFill/>
            </a:ln>
          </p:spPr>
          <p:txBody>
            <a:bodyPr wrap="square" rtlCol="0">
              <a:spAutoFit/>
            </a:bodyPr>
            <a:lstStyle/>
            <a:p>
              <a:r>
                <a:rPr lang="lt-LT" sz="1200" b="1" dirty="0" smtClean="0"/>
                <a:t>Tauragės regionas</a:t>
              </a:r>
            </a:p>
          </p:txBody>
        </p:sp>
        <p:sp>
          <p:nvSpPr>
            <p:cNvPr id="29" name="TextBox 28"/>
            <p:cNvSpPr txBox="1"/>
            <p:nvPr/>
          </p:nvSpPr>
          <p:spPr>
            <a:xfrm>
              <a:off x="6015675" y="2714079"/>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40" name="Rectangle 39"/>
          <p:cNvSpPr/>
          <p:nvPr/>
        </p:nvSpPr>
        <p:spPr>
          <a:xfrm>
            <a:off x="447675" y="1368425"/>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
        <p:nvSpPr>
          <p:cNvPr id="41" name="Rectangle 40"/>
          <p:cNvSpPr/>
          <p:nvPr/>
        </p:nvSpPr>
        <p:spPr>
          <a:xfrm>
            <a:off x="4776788" y="1368425"/>
            <a:ext cx="4300118" cy="4865101"/>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2" name="Rectangle 41"/>
          <p:cNvSpPr/>
          <p:nvPr/>
        </p:nvSpPr>
        <p:spPr>
          <a:xfrm>
            <a:off x="4792663" y="957263"/>
            <a:ext cx="4304412" cy="41106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Vartotojų, gavusių QL, dalis lyginant su visų eTwinning programoje užsiregistravusių vartotojų skaičiumi regione, proc. </a:t>
            </a:r>
            <a:endParaRPr lang="lt-LT" sz="1200" dirty="0">
              <a:solidFill>
                <a:schemeClr val="bg1"/>
              </a:solidFill>
              <a:cs typeface="Cambria"/>
            </a:endParaRPr>
          </a:p>
        </p:txBody>
      </p:sp>
      <p:graphicFrame>
        <p:nvGraphicFramePr>
          <p:cNvPr id="43" name="Object 42"/>
          <p:cNvGraphicFramePr>
            <a:graphicFrameLocks/>
          </p:cNvGraphicFramePr>
          <p:nvPr>
            <p:custDataLst>
              <p:tags r:id="rId15"/>
            </p:custDataLst>
            <p:extLst>
              <p:ext uri="{D42A27DB-BD31-4B8C-83A1-F6EECF244321}">
                <p14:modId xmlns:p14="http://schemas.microsoft.com/office/powerpoint/2010/main" val="492188878"/>
              </p:ext>
            </p:extLst>
          </p:nvPr>
        </p:nvGraphicFramePr>
        <p:xfrm>
          <a:off x="4914899" y="1447800"/>
          <a:ext cx="4124390" cy="1000080"/>
        </p:xfrm>
        <a:graphic>
          <a:graphicData uri="http://schemas.openxmlformats.org/presentationml/2006/ole">
            <mc:AlternateContent xmlns:mc="http://schemas.openxmlformats.org/markup-compatibility/2006">
              <mc:Choice xmlns:v="urn:schemas-microsoft-com:vml" Requires="v">
                <p:oleObj spid="_x0000_s31781" name="Chart" r:id="rId41" imgW="4124453" imgH="1000262" progId="MSGraph.Chart.8">
                  <p:embed followColorScheme="full"/>
                </p:oleObj>
              </mc:Choice>
              <mc:Fallback>
                <p:oleObj name="Chart" r:id="rId41" imgW="4124453" imgH="1000262" progId="MSGraph.Chart.8">
                  <p:embed followColorScheme="full"/>
                  <p:pic>
                    <p:nvPicPr>
                      <p:cNvPr id="0" name=""/>
                      <p:cNvPicPr/>
                      <p:nvPr/>
                    </p:nvPicPr>
                    <p:blipFill>
                      <a:blip r:embed="rId42"/>
                      <a:stretch>
                        <a:fillRect/>
                      </a:stretch>
                    </p:blipFill>
                    <p:spPr>
                      <a:xfrm>
                        <a:off x="4914899" y="1447800"/>
                        <a:ext cx="4124390" cy="1000080"/>
                      </a:xfrm>
                      <a:prstGeom prst="rect">
                        <a:avLst/>
                      </a:prstGeom>
                    </p:spPr>
                  </p:pic>
                </p:oleObj>
              </mc:Fallback>
            </mc:AlternateContent>
          </a:graphicData>
        </a:graphic>
      </p:graphicFrame>
      <p:sp>
        <p:nvSpPr>
          <p:cNvPr id="44" name="Rectangle 43"/>
          <p:cNvSpPr/>
          <p:nvPr>
            <p:custDataLst>
              <p:tags r:id="rId16"/>
            </p:custDataLst>
          </p:nvPr>
        </p:nvSpPr>
        <p:spPr bwMode="auto">
          <a:xfrm flipV="1">
            <a:off x="8662988" y="2460625"/>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FB35404-97D0-4DD8-9AEE-1421BD6E5FB4}"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52" name="Rectangle 51"/>
          <p:cNvSpPr/>
          <p:nvPr>
            <p:custDataLst>
              <p:tags r:id="rId17"/>
            </p:custDataLst>
          </p:nvPr>
        </p:nvSpPr>
        <p:spPr bwMode="gray">
          <a:xfrm>
            <a:off x="6634163" y="19081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10EB0D4-E5EC-4021-9275-00E3D67C635C}" type="datetime'''''''3'''''''''''',''''''''''9''''''''%'''''''''''''">
              <a:rPr lang="en-US" sz="1000">
                <a:solidFill>
                  <a:schemeClr val="tx1"/>
                </a:solidFill>
              </a:rPr>
              <a:pPr algn="ctr">
                <a:spcBef>
                  <a:spcPct val="0"/>
                </a:spcBef>
                <a:spcAft>
                  <a:spcPct val="0"/>
                </a:spcAft>
              </a:pPr>
              <a:t>3,9%</a:t>
            </a:fld>
            <a:endParaRPr lang="en-US" sz="1000" dirty="0">
              <a:solidFill>
                <a:schemeClr val="tx1"/>
              </a:solidFill>
              <a:latin typeface="Calibri"/>
              <a:sym typeface="Calibri"/>
            </a:endParaRPr>
          </a:p>
        </p:txBody>
      </p:sp>
      <p:sp>
        <p:nvSpPr>
          <p:cNvPr id="55" name="Rectangle 54"/>
          <p:cNvSpPr/>
          <p:nvPr>
            <p:custDataLst>
              <p:tags r:id="rId18"/>
            </p:custDataLst>
          </p:nvPr>
        </p:nvSpPr>
        <p:spPr bwMode="gray">
          <a:xfrm>
            <a:off x="6243638" y="19081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1E45D3C-6D18-4AF3-8D06-015D6CE54E5C}" type="datetime'''''''''''3'''''''''''',''9''''''''''''%'''''''''''''''">
              <a:rPr lang="en-US" sz="1000">
                <a:solidFill>
                  <a:schemeClr val="tx1"/>
                </a:solidFill>
              </a:rPr>
              <a:pPr algn="ctr">
                <a:spcBef>
                  <a:spcPct val="0"/>
                </a:spcBef>
                <a:spcAft>
                  <a:spcPct val="0"/>
                </a:spcAft>
              </a:pPr>
              <a:t>3,9%</a:t>
            </a:fld>
            <a:endParaRPr lang="en-US" sz="1000" dirty="0">
              <a:solidFill>
                <a:schemeClr val="tx1"/>
              </a:solidFill>
              <a:latin typeface="Calibri"/>
              <a:sym typeface="Calibri"/>
            </a:endParaRPr>
          </a:p>
        </p:txBody>
      </p:sp>
      <p:sp>
        <p:nvSpPr>
          <p:cNvPr id="48" name="Rectangle 47"/>
          <p:cNvSpPr/>
          <p:nvPr>
            <p:custDataLst>
              <p:tags r:id="rId19"/>
            </p:custDataLst>
          </p:nvPr>
        </p:nvSpPr>
        <p:spPr bwMode="gray">
          <a:xfrm>
            <a:off x="7810500" y="19939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8F76860-EDEA-4D01-AC1B-67868D10DAC1}" type="datetime'2'',6''''''''''''''''''''''''''''''''''%'''''''''''''''''">
              <a:rPr lang="en-US" sz="1000">
                <a:solidFill>
                  <a:schemeClr val="tx1"/>
                </a:solidFill>
              </a:rPr>
              <a:pPr algn="ctr">
                <a:spcBef>
                  <a:spcPct val="0"/>
                </a:spcBef>
                <a:spcAft>
                  <a:spcPct val="0"/>
                </a:spcAft>
              </a:pPr>
              <a:t>2,6%</a:t>
            </a:fld>
            <a:endParaRPr lang="en-US" sz="1000" dirty="0">
              <a:solidFill>
                <a:schemeClr val="tx1"/>
              </a:solidFill>
              <a:latin typeface="Calibri"/>
              <a:sym typeface="Calibri"/>
            </a:endParaRPr>
          </a:p>
        </p:txBody>
      </p:sp>
      <p:sp>
        <p:nvSpPr>
          <p:cNvPr id="46" name="Rectangle 45"/>
          <p:cNvSpPr/>
          <p:nvPr>
            <p:custDataLst>
              <p:tags r:id="rId20"/>
            </p:custDataLst>
          </p:nvPr>
        </p:nvSpPr>
        <p:spPr bwMode="auto">
          <a:xfrm flipV="1">
            <a:off x="7877175" y="2460625"/>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E7445A0-A1AB-4D45-9602-27AC0DEFDF46}"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47" name="Rectangle 46"/>
          <p:cNvSpPr/>
          <p:nvPr>
            <p:custDataLst>
              <p:tags r:id="rId21"/>
            </p:custDataLst>
          </p:nvPr>
        </p:nvSpPr>
        <p:spPr bwMode="gray">
          <a:xfrm>
            <a:off x="7415213" y="196532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3F6799E-AB2F-4EE8-85A3-7432E9888FC8}" type="datetime'''2'''''''''''''''',''''''''''9''''''''''''''''''''''''%'''">
              <a:rPr lang="en-US" sz="1000">
                <a:solidFill>
                  <a:schemeClr val="tx1"/>
                </a:solidFill>
              </a:rPr>
              <a:pPr algn="ctr">
                <a:spcBef>
                  <a:spcPct val="0"/>
                </a:spcBef>
                <a:spcAft>
                  <a:spcPct val="0"/>
                </a:spcAft>
              </a:pPr>
              <a:t>2,9%</a:t>
            </a:fld>
            <a:endParaRPr lang="en-US" sz="1000" dirty="0">
              <a:solidFill>
                <a:schemeClr val="tx1"/>
              </a:solidFill>
              <a:latin typeface="Calibri"/>
              <a:sym typeface="Calibri"/>
            </a:endParaRPr>
          </a:p>
        </p:txBody>
      </p:sp>
      <p:sp>
        <p:nvSpPr>
          <p:cNvPr id="49" name="Rectangle 48"/>
          <p:cNvSpPr/>
          <p:nvPr>
            <p:custDataLst>
              <p:tags r:id="rId22"/>
            </p:custDataLst>
          </p:nvPr>
        </p:nvSpPr>
        <p:spPr bwMode="gray">
          <a:xfrm>
            <a:off x="8205788" y="20129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8F596D0-34E3-4F39-961E-17875480C5E3}" type="datetime'''''''''''''''2'''''''',''3''''''%'''''''''''">
              <a:rPr lang="en-US" sz="1000">
                <a:solidFill>
                  <a:schemeClr val="tx1"/>
                </a:solidFill>
              </a:rPr>
              <a:pPr algn="ctr">
                <a:spcBef>
                  <a:spcPct val="0"/>
                </a:spcBef>
                <a:spcAft>
                  <a:spcPct val="0"/>
                </a:spcAft>
              </a:pPr>
              <a:t>2,3%</a:t>
            </a:fld>
            <a:endParaRPr lang="en-US" sz="1000" dirty="0">
              <a:solidFill>
                <a:schemeClr val="tx1"/>
              </a:solidFill>
              <a:latin typeface="Calibri"/>
              <a:sym typeface="Calibri"/>
            </a:endParaRPr>
          </a:p>
        </p:txBody>
      </p:sp>
      <p:sp>
        <p:nvSpPr>
          <p:cNvPr id="60" name="Rectangle 59"/>
          <p:cNvSpPr/>
          <p:nvPr>
            <p:custDataLst>
              <p:tags r:id="rId23"/>
            </p:custDataLst>
          </p:nvPr>
        </p:nvSpPr>
        <p:spPr bwMode="auto">
          <a:xfrm flipV="1">
            <a:off x="6700838" y="2460625"/>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6CC47E-E450-4170-AE00-392359791D17}"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59" name="Rectangle 58"/>
          <p:cNvSpPr/>
          <p:nvPr>
            <p:custDataLst>
              <p:tags r:id="rId24"/>
            </p:custDataLst>
          </p:nvPr>
        </p:nvSpPr>
        <p:spPr bwMode="auto">
          <a:xfrm flipV="1">
            <a:off x="7091363" y="2460625"/>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8CD8FFB-ED6E-4DC2-8DCD-5D1C4CFA144F}"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45" name="Rectangle 44"/>
          <p:cNvSpPr/>
          <p:nvPr>
            <p:custDataLst>
              <p:tags r:id="rId25"/>
            </p:custDataLst>
          </p:nvPr>
        </p:nvSpPr>
        <p:spPr bwMode="auto">
          <a:xfrm flipV="1">
            <a:off x="8272463" y="2460625"/>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E8DFB36-B418-4802-9887-BFCE6F1B68FB}"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58" name="Rectangle 57"/>
          <p:cNvSpPr/>
          <p:nvPr>
            <p:custDataLst>
              <p:tags r:id="rId26"/>
            </p:custDataLst>
          </p:nvPr>
        </p:nvSpPr>
        <p:spPr bwMode="auto">
          <a:xfrm flipV="1">
            <a:off x="7481888" y="2460625"/>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6A93C91-225C-4018-B9A4-DE8892C00500}"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51" name="Rectangle 50"/>
          <p:cNvSpPr/>
          <p:nvPr>
            <p:custDataLst>
              <p:tags r:id="rId27"/>
            </p:custDataLst>
          </p:nvPr>
        </p:nvSpPr>
        <p:spPr bwMode="gray">
          <a:xfrm>
            <a:off x="7024688" y="19462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4E986FD-B0D2-4CFD-A117-5E23359303BE}" type="datetime'''''3'''',''''''''''3%'''''''''''''">
              <a:rPr lang="en-US" sz="1000">
                <a:solidFill>
                  <a:schemeClr val="tx1"/>
                </a:solidFill>
              </a:rPr>
              <a:pPr algn="ctr">
                <a:spcBef>
                  <a:spcPct val="0"/>
                </a:spcBef>
                <a:spcAft>
                  <a:spcPct val="0"/>
                </a:spcAft>
              </a:pPr>
              <a:t>3,3%</a:t>
            </a:fld>
            <a:endParaRPr lang="en-US" sz="1000" dirty="0">
              <a:solidFill>
                <a:schemeClr val="tx1"/>
              </a:solidFill>
              <a:latin typeface="Calibri"/>
              <a:sym typeface="Calibri"/>
            </a:endParaRPr>
          </a:p>
        </p:txBody>
      </p:sp>
      <p:sp>
        <p:nvSpPr>
          <p:cNvPr id="61" name="Rectangle 60"/>
          <p:cNvSpPr/>
          <p:nvPr>
            <p:custDataLst>
              <p:tags r:id="rId28"/>
            </p:custDataLst>
          </p:nvPr>
        </p:nvSpPr>
        <p:spPr bwMode="auto">
          <a:xfrm flipV="1">
            <a:off x="6310313" y="2460625"/>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CC9B1D5-3AAC-4062-B8D7-0D32EFD6E733}"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50" name="Rectangle 49"/>
          <p:cNvSpPr/>
          <p:nvPr>
            <p:custDataLst>
              <p:tags r:id="rId29"/>
            </p:custDataLst>
          </p:nvPr>
        </p:nvSpPr>
        <p:spPr bwMode="gray">
          <a:xfrm>
            <a:off x="8596313" y="20891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FA8BFDD-672C-4201-BCB8-312C3F4B5CAE}" type="datetime'''''''''''''''''''1'''''''''''',''''''''''2''%'''''''''''''">
              <a:rPr lang="en-US" sz="1000">
                <a:solidFill>
                  <a:schemeClr val="tx1"/>
                </a:solidFill>
              </a:rPr>
              <a:pPr algn="ctr">
                <a:spcBef>
                  <a:spcPct val="0"/>
                </a:spcBef>
                <a:spcAft>
                  <a:spcPct val="0"/>
                </a:spcAft>
              </a:pPr>
              <a:t>1,2%</a:t>
            </a:fld>
            <a:endParaRPr lang="en-US" sz="1000" dirty="0">
              <a:solidFill>
                <a:schemeClr val="tx1"/>
              </a:solidFill>
              <a:latin typeface="Calibri"/>
              <a:sym typeface="Calibri"/>
            </a:endParaRPr>
          </a:p>
        </p:txBody>
      </p:sp>
      <p:sp>
        <p:nvSpPr>
          <p:cNvPr id="62" name="Rectangle 61"/>
          <p:cNvSpPr/>
          <p:nvPr>
            <p:custDataLst>
              <p:tags r:id="rId30"/>
            </p:custDataLst>
          </p:nvPr>
        </p:nvSpPr>
        <p:spPr bwMode="auto">
          <a:xfrm flipV="1">
            <a:off x="5915025" y="2460625"/>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923C6CF-0545-4D41-A836-5313E4133923}"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53" name="Rectangle 52"/>
          <p:cNvSpPr/>
          <p:nvPr>
            <p:custDataLst>
              <p:tags r:id="rId31"/>
            </p:custDataLst>
          </p:nvPr>
        </p:nvSpPr>
        <p:spPr bwMode="gray">
          <a:xfrm>
            <a:off x="5848350" y="185102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D0F0E15-72AA-4415-8F4B-D9202785FFB2}" type="datetime'''''''''''''''''4,''''''''''''''7''''''''''''''%'''''''''''">
              <a:rPr lang="en-US" sz="1000">
                <a:solidFill>
                  <a:schemeClr val="tx1"/>
                </a:solidFill>
              </a:rPr>
              <a:pPr algn="ctr">
                <a:spcBef>
                  <a:spcPct val="0"/>
                </a:spcBef>
                <a:spcAft>
                  <a:spcPct val="0"/>
                </a:spcAft>
              </a:pPr>
              <a:t>4,7%</a:t>
            </a:fld>
            <a:endParaRPr lang="en-US" sz="1000" dirty="0">
              <a:solidFill>
                <a:schemeClr val="tx1"/>
              </a:solidFill>
              <a:latin typeface="Calibri"/>
              <a:sym typeface="Calibri"/>
            </a:endParaRPr>
          </a:p>
        </p:txBody>
      </p:sp>
      <p:sp>
        <p:nvSpPr>
          <p:cNvPr id="63" name="Rectangle 62"/>
          <p:cNvSpPr/>
          <p:nvPr>
            <p:custDataLst>
              <p:tags r:id="rId32"/>
            </p:custDataLst>
          </p:nvPr>
        </p:nvSpPr>
        <p:spPr bwMode="auto">
          <a:xfrm flipV="1">
            <a:off x="5519738" y="2460625"/>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5C8A109-8CA2-42C9-9AD6-C71C1EB8671F}"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54" name="Rectangle 53"/>
          <p:cNvSpPr/>
          <p:nvPr>
            <p:custDataLst>
              <p:tags r:id="rId33"/>
            </p:custDataLst>
          </p:nvPr>
        </p:nvSpPr>
        <p:spPr bwMode="gray">
          <a:xfrm>
            <a:off x="5453063" y="17176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36E6D9F-E620-4EE4-AA79-CD7890D0ADB2}" type="datetime'''6'''''''''''''''''''''''''''''''',7''%'''''''''">
              <a:rPr lang="en-US" sz="1000">
                <a:solidFill>
                  <a:schemeClr val="tx1"/>
                </a:solidFill>
              </a:rPr>
              <a:pPr algn="ctr">
                <a:spcBef>
                  <a:spcPct val="0"/>
                </a:spcBef>
                <a:spcAft>
                  <a:spcPct val="0"/>
                </a:spcAft>
              </a:pPr>
              <a:t>6,7%</a:t>
            </a:fld>
            <a:endParaRPr lang="en-US" sz="1000" dirty="0">
              <a:solidFill>
                <a:schemeClr val="tx1"/>
              </a:solidFill>
              <a:latin typeface="Calibri"/>
              <a:sym typeface="Calibri"/>
            </a:endParaRPr>
          </a:p>
        </p:txBody>
      </p:sp>
      <p:sp>
        <p:nvSpPr>
          <p:cNvPr id="57" name="Rectangle 56"/>
          <p:cNvSpPr/>
          <p:nvPr>
            <p:custDataLst>
              <p:tags r:id="rId34"/>
            </p:custDataLst>
          </p:nvPr>
        </p:nvSpPr>
        <p:spPr bwMode="auto">
          <a:xfrm flipV="1">
            <a:off x="5129213" y="2460625"/>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4612E89-5F15-4EDD-9E1F-B87038439224}"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56" name="Rectangle 55"/>
          <p:cNvSpPr/>
          <p:nvPr>
            <p:custDataLst>
              <p:tags r:id="rId35"/>
            </p:custDataLst>
          </p:nvPr>
        </p:nvSpPr>
        <p:spPr bwMode="gray">
          <a:xfrm>
            <a:off x="5029200" y="139382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3483D94-175E-4AE0-ACC1-9312E5DFD1C1}" type="datetime'''''''''''''''1''''''''''''''''1'''',''''''''''6''''''''''%'">
              <a:rPr lang="en-US" sz="1000">
                <a:solidFill>
                  <a:schemeClr val="tx1"/>
                </a:solidFill>
              </a:rPr>
              <a:pPr algn="ctr">
                <a:spcBef>
                  <a:spcPct val="0"/>
                </a:spcBef>
                <a:spcAft>
                  <a:spcPct val="0"/>
                </a:spcAft>
              </a:pPr>
              <a:t>11,6%</a:t>
            </a:fld>
            <a:endParaRPr lang="en-US" sz="1000" dirty="0">
              <a:solidFill>
                <a:schemeClr val="tx1"/>
              </a:solidFill>
              <a:latin typeface="Calibri"/>
              <a:sym typeface="Calibri"/>
            </a:endParaRPr>
          </a:p>
        </p:txBody>
      </p:sp>
      <p:grpSp>
        <p:nvGrpSpPr>
          <p:cNvPr id="64" name="Group 63"/>
          <p:cNvGrpSpPr/>
          <p:nvPr/>
        </p:nvGrpSpPr>
        <p:grpSpPr>
          <a:xfrm>
            <a:off x="5173844" y="3271934"/>
            <a:ext cx="3741002" cy="2875019"/>
            <a:chOff x="993301" y="876972"/>
            <a:chExt cx="6973958" cy="5352219"/>
          </a:xfrm>
        </p:grpSpPr>
        <p:grpSp>
          <p:nvGrpSpPr>
            <p:cNvPr id="65" name="Group 64"/>
            <p:cNvGrpSpPr/>
            <p:nvPr/>
          </p:nvGrpSpPr>
          <p:grpSpPr>
            <a:xfrm>
              <a:off x="1204509" y="1069816"/>
              <a:ext cx="6762750" cy="5159375"/>
              <a:chOff x="2140960" y="943031"/>
              <a:chExt cx="6762750" cy="5159375"/>
            </a:xfrm>
          </p:grpSpPr>
          <p:sp>
            <p:nvSpPr>
              <p:cNvPr id="76" name="Freeform 75"/>
              <p:cNvSpPr/>
              <p:nvPr/>
            </p:nvSpPr>
            <p:spPr>
              <a:xfrm>
                <a:off x="3903085" y="1006531"/>
                <a:ext cx="1962149"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76"/>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4131684" y="2725795"/>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p:cNvSpPr txBox="1"/>
            <p:nvPr/>
          </p:nvSpPr>
          <p:spPr>
            <a:xfrm>
              <a:off x="3255435" y="1973025"/>
              <a:ext cx="1371511" cy="859449"/>
            </a:xfrm>
            <a:prstGeom prst="rect">
              <a:avLst/>
            </a:prstGeom>
            <a:noFill/>
            <a:ln w="6350">
              <a:noFill/>
            </a:ln>
          </p:spPr>
          <p:txBody>
            <a:bodyPr wrap="square" rtlCol="0">
              <a:spAutoFit/>
            </a:bodyPr>
            <a:lstStyle/>
            <a:p>
              <a:r>
                <a:rPr lang="lt-LT" sz="1200" b="1" dirty="0" smtClean="0"/>
                <a:t>Šiaulių regionas</a:t>
              </a:r>
            </a:p>
          </p:txBody>
        </p:sp>
        <p:sp>
          <p:nvSpPr>
            <p:cNvPr id="67" name="TextBox 66"/>
            <p:cNvSpPr txBox="1"/>
            <p:nvPr/>
          </p:nvSpPr>
          <p:spPr>
            <a:xfrm>
              <a:off x="5051252" y="1722676"/>
              <a:ext cx="1745350" cy="276998"/>
            </a:xfrm>
            <a:prstGeom prst="rect">
              <a:avLst/>
            </a:prstGeom>
            <a:noFill/>
            <a:ln w="6350">
              <a:noFill/>
            </a:ln>
          </p:spPr>
          <p:txBody>
            <a:bodyPr wrap="square" rtlCol="0">
              <a:spAutoFit/>
            </a:bodyPr>
            <a:lstStyle/>
            <a:p>
              <a:r>
                <a:rPr lang="lt-LT" sz="1200" b="1" dirty="0" smtClean="0"/>
                <a:t>Panevėžio regionas</a:t>
              </a:r>
            </a:p>
          </p:txBody>
        </p:sp>
        <p:sp>
          <p:nvSpPr>
            <p:cNvPr id="68" name="TextBox 67"/>
            <p:cNvSpPr txBox="1"/>
            <p:nvPr/>
          </p:nvSpPr>
          <p:spPr>
            <a:xfrm>
              <a:off x="5589827" y="4444587"/>
              <a:ext cx="1591264" cy="859449"/>
            </a:xfrm>
            <a:prstGeom prst="rect">
              <a:avLst/>
            </a:prstGeom>
            <a:noFill/>
            <a:ln w="6350">
              <a:noFill/>
            </a:ln>
          </p:spPr>
          <p:txBody>
            <a:bodyPr wrap="square" rtlCol="0">
              <a:spAutoFit/>
            </a:bodyPr>
            <a:lstStyle/>
            <a:p>
              <a:r>
                <a:rPr lang="lt-LT" sz="1200" b="1" dirty="0" smtClean="0"/>
                <a:t>Vilniaus regionas</a:t>
              </a:r>
            </a:p>
          </p:txBody>
        </p:sp>
        <p:sp>
          <p:nvSpPr>
            <p:cNvPr id="69" name="TextBox 68"/>
            <p:cNvSpPr txBox="1"/>
            <p:nvPr/>
          </p:nvSpPr>
          <p:spPr>
            <a:xfrm>
              <a:off x="4207723" y="5264785"/>
              <a:ext cx="1768754" cy="277000"/>
            </a:xfrm>
            <a:prstGeom prst="rect">
              <a:avLst/>
            </a:prstGeom>
            <a:noFill/>
            <a:ln w="6350">
              <a:noFill/>
            </a:ln>
          </p:spPr>
          <p:txBody>
            <a:bodyPr wrap="square" rtlCol="0">
              <a:spAutoFit/>
            </a:bodyPr>
            <a:lstStyle/>
            <a:p>
              <a:r>
                <a:rPr lang="lt-LT" sz="1200" b="1" dirty="0" smtClean="0"/>
                <a:t>Alytaus regionas</a:t>
              </a:r>
            </a:p>
          </p:txBody>
        </p:sp>
        <p:sp>
          <p:nvSpPr>
            <p:cNvPr id="70" name="TextBox 69"/>
            <p:cNvSpPr txBox="1"/>
            <p:nvPr/>
          </p:nvSpPr>
          <p:spPr>
            <a:xfrm>
              <a:off x="4193726" y="3600297"/>
              <a:ext cx="1407227" cy="802533"/>
            </a:xfrm>
            <a:prstGeom prst="rect">
              <a:avLst/>
            </a:prstGeom>
            <a:noFill/>
            <a:ln w="6350">
              <a:noFill/>
            </a:ln>
          </p:spPr>
          <p:txBody>
            <a:bodyPr wrap="square" rtlCol="0">
              <a:spAutoFit/>
            </a:bodyPr>
            <a:lstStyle/>
            <a:p>
              <a:r>
                <a:rPr lang="lt-LT" sz="1200" b="1" dirty="0" smtClean="0"/>
                <a:t>Kauno regionas</a:t>
              </a:r>
            </a:p>
          </p:txBody>
        </p:sp>
        <p:sp>
          <p:nvSpPr>
            <p:cNvPr id="71" name="TextBox 70"/>
            <p:cNvSpPr txBox="1"/>
            <p:nvPr/>
          </p:nvSpPr>
          <p:spPr>
            <a:xfrm>
              <a:off x="2405656" y="4351346"/>
              <a:ext cx="1996355" cy="802533"/>
            </a:xfrm>
            <a:prstGeom prst="rect">
              <a:avLst/>
            </a:prstGeom>
            <a:noFill/>
            <a:ln w="6350">
              <a:noFill/>
            </a:ln>
          </p:spPr>
          <p:txBody>
            <a:bodyPr wrap="square" rtlCol="0">
              <a:spAutoFit/>
            </a:bodyPr>
            <a:lstStyle/>
            <a:p>
              <a:r>
                <a:rPr lang="lt-LT" sz="1200" b="1" dirty="0" smtClean="0"/>
                <a:t>Marijampolės regionas</a:t>
              </a:r>
            </a:p>
          </p:txBody>
        </p:sp>
        <p:sp>
          <p:nvSpPr>
            <p:cNvPr id="72" name="TextBox 71"/>
            <p:cNvSpPr txBox="1"/>
            <p:nvPr/>
          </p:nvSpPr>
          <p:spPr>
            <a:xfrm>
              <a:off x="993301" y="876972"/>
              <a:ext cx="1662102" cy="857829"/>
            </a:xfrm>
            <a:prstGeom prst="rect">
              <a:avLst/>
            </a:prstGeom>
            <a:noFill/>
            <a:ln w="6350">
              <a:noFill/>
            </a:ln>
          </p:spPr>
          <p:txBody>
            <a:bodyPr wrap="square" rtlCol="0">
              <a:spAutoFit/>
            </a:bodyPr>
            <a:lstStyle/>
            <a:p>
              <a:r>
                <a:rPr lang="lt-LT" sz="1200" b="1" dirty="0" smtClean="0"/>
                <a:t>Klaipėdos regionas</a:t>
              </a:r>
            </a:p>
          </p:txBody>
        </p:sp>
        <p:sp>
          <p:nvSpPr>
            <p:cNvPr id="73" name="TextBox 72"/>
            <p:cNvSpPr txBox="1"/>
            <p:nvPr/>
          </p:nvSpPr>
          <p:spPr>
            <a:xfrm>
              <a:off x="1984054" y="1722676"/>
              <a:ext cx="1363754" cy="802533"/>
            </a:xfrm>
            <a:prstGeom prst="rect">
              <a:avLst/>
            </a:prstGeom>
            <a:noFill/>
            <a:ln w="6350">
              <a:noFill/>
            </a:ln>
          </p:spPr>
          <p:txBody>
            <a:bodyPr wrap="square" rtlCol="0">
              <a:spAutoFit/>
            </a:bodyPr>
            <a:lstStyle/>
            <a:p>
              <a:r>
                <a:rPr lang="lt-LT" sz="1200" b="1" dirty="0" smtClean="0"/>
                <a:t>Telšių regionas</a:t>
              </a:r>
            </a:p>
          </p:txBody>
        </p:sp>
        <p:sp>
          <p:nvSpPr>
            <p:cNvPr id="74" name="TextBox 73"/>
            <p:cNvSpPr txBox="1"/>
            <p:nvPr/>
          </p:nvSpPr>
          <p:spPr>
            <a:xfrm>
              <a:off x="2346410" y="3099598"/>
              <a:ext cx="1483910" cy="277000"/>
            </a:xfrm>
            <a:prstGeom prst="rect">
              <a:avLst/>
            </a:prstGeom>
            <a:noFill/>
            <a:ln w="6350">
              <a:noFill/>
            </a:ln>
          </p:spPr>
          <p:txBody>
            <a:bodyPr wrap="square" rtlCol="0">
              <a:spAutoFit/>
            </a:bodyPr>
            <a:lstStyle/>
            <a:p>
              <a:r>
                <a:rPr lang="lt-LT" sz="1200" b="1" dirty="0" smtClean="0"/>
                <a:t>Tauragės regionas</a:t>
              </a:r>
            </a:p>
          </p:txBody>
        </p:sp>
        <p:sp>
          <p:nvSpPr>
            <p:cNvPr id="75" name="TextBox 74"/>
            <p:cNvSpPr txBox="1"/>
            <p:nvPr/>
          </p:nvSpPr>
          <p:spPr>
            <a:xfrm>
              <a:off x="5816989" y="2598899"/>
              <a:ext cx="1498738" cy="276998"/>
            </a:xfrm>
            <a:prstGeom prst="rect">
              <a:avLst/>
            </a:prstGeom>
            <a:noFill/>
            <a:ln w="6350">
              <a:noFill/>
            </a:ln>
          </p:spPr>
          <p:txBody>
            <a:bodyPr wrap="square" rtlCol="0">
              <a:spAutoFit/>
            </a:bodyPr>
            <a:lstStyle/>
            <a:p>
              <a:r>
                <a:rPr lang="lt-LT" sz="1200" b="1" dirty="0" smtClean="0"/>
                <a:t>Utenos regionas</a:t>
              </a:r>
            </a:p>
          </p:txBody>
        </p:sp>
      </p:grpSp>
      <p:sp>
        <p:nvSpPr>
          <p:cNvPr id="86" name="Rectangle 85"/>
          <p:cNvSpPr/>
          <p:nvPr/>
        </p:nvSpPr>
        <p:spPr>
          <a:xfrm>
            <a:off x="5186363" y="1574800"/>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31071608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7504" y="188640"/>
            <a:ext cx="8856984" cy="487362"/>
          </a:xfrm>
        </p:spPr>
        <p:txBody>
          <a:bodyPr>
            <a:noAutofit/>
          </a:bodyPr>
          <a:lstStyle/>
          <a:p>
            <a:r>
              <a:rPr lang="lt-LT" sz="2000" b="1" dirty="0">
                <a:solidFill>
                  <a:schemeClr val="tx2">
                    <a:lumMod val="75000"/>
                  </a:schemeClr>
                </a:solidFill>
              </a:rPr>
              <a:t>Daugiausiai projektų gavusių Nacionalinius kokybės ženklelius yra Šiaulių regione, tačiau didžiausia dalimi šių projektų lyginant su visais regione įvykdytais projektais  išsiskiria Telšių regionas </a:t>
            </a:r>
            <a:endParaRPr lang="en-US" sz="2000" b="1" dirty="0">
              <a:solidFill>
                <a:schemeClr val="tx2">
                  <a:lumMod val="75000"/>
                </a:schemeClr>
              </a:solidFill>
            </a:endParaRPr>
          </a:p>
        </p:txBody>
      </p:sp>
      <p:pic>
        <p:nvPicPr>
          <p:cNvPr id="5" name="Picture 4" descr="C:\Users\Karolina\„Google“ diskas\SC_Vykdomi projektai\63SMPF_SMPF etwinning\Projekto vykdymas\01 projektu ir profiliu analize\projektu analize\slides for word\maps\double map\Slide41.GIF"/>
          <p:cNvPicPr/>
          <p:nvPr/>
        </p:nvPicPr>
        <p:blipFill rotWithShape="1">
          <a:blip r:embed="rId2">
            <a:extLst>
              <a:ext uri="{28A0092B-C50C-407E-A947-70E740481C1C}">
                <a14:useLocalDpi xmlns:a14="http://schemas.microsoft.com/office/drawing/2010/main" val="0"/>
              </a:ext>
            </a:extLst>
          </a:blip>
          <a:srcRect l="1742" t="14700" b="1548"/>
          <a:stretch/>
        </p:blipFill>
        <p:spPr bwMode="auto">
          <a:xfrm>
            <a:off x="467544" y="1052736"/>
            <a:ext cx="8064896" cy="515819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9529832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4128188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3"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08181" y="188640"/>
            <a:ext cx="8820980" cy="487362"/>
          </a:xfrm>
        </p:spPr>
        <p:txBody>
          <a:bodyPr>
            <a:noAutofit/>
          </a:bodyPr>
          <a:lstStyle/>
          <a:p>
            <a:r>
              <a:rPr lang="lt-LT" sz="2000" b="1" dirty="0">
                <a:solidFill>
                  <a:schemeClr val="tx2">
                    <a:lumMod val="75000"/>
                  </a:schemeClr>
                </a:solidFill>
              </a:rPr>
              <a:t>Didžiausias skaičius švietimo įstaigų gavusių Nacionalinius kokybės ženklelius yra Kauno regione, tačiau lyginant procentinę dalį nuo visų regione užregistruotų švietimo įstaigų išsiskiria Marijampolės regionas  </a:t>
            </a:r>
            <a:endParaRPr lang="en-US" sz="2000" b="1" dirty="0">
              <a:solidFill>
                <a:schemeClr val="tx2">
                  <a:lumMod val="75000"/>
                </a:schemeClr>
              </a:solidFill>
            </a:endParaRPr>
          </a:p>
        </p:txBody>
      </p:sp>
      <p:sp>
        <p:nvSpPr>
          <p:cNvPr id="6" name="Rectangle 5"/>
          <p:cNvSpPr/>
          <p:nvPr/>
        </p:nvSpPr>
        <p:spPr>
          <a:xfrm>
            <a:off x="241300" y="1246188"/>
            <a:ext cx="4345542" cy="497629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7" name="Rectangle 6"/>
          <p:cNvSpPr/>
          <p:nvPr/>
        </p:nvSpPr>
        <p:spPr>
          <a:xfrm>
            <a:off x="241300" y="944563"/>
            <a:ext cx="4349882"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Švietimo įstaigų, gavusių QL, pasiskirstymas pagal regioną, vnt. </a:t>
            </a:r>
            <a:endParaRPr lang="lt-LT" sz="1200" dirty="0">
              <a:solidFill>
                <a:schemeClr val="bg1"/>
              </a:solidFill>
              <a:cs typeface="Cambria"/>
            </a:endParaRPr>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4211599338"/>
              </p:ext>
            </p:extLst>
          </p:nvPr>
        </p:nvGraphicFramePr>
        <p:xfrm>
          <a:off x="266699" y="1181100"/>
          <a:ext cx="4238656" cy="1085940"/>
        </p:xfrm>
        <a:graphic>
          <a:graphicData uri="http://schemas.openxmlformats.org/presentationml/2006/ole">
            <mc:AlternateContent xmlns:mc="http://schemas.openxmlformats.org/markup-compatibility/2006">
              <mc:Choice xmlns:v="urn:schemas-microsoft-com:vml" Requires="v">
                <p:oleObj spid="_x0000_s32804" name="Chart" r:id="rId39" imgW="4238534" imgH="1085928" progId="MSGraph.Chart.8">
                  <p:embed followColorScheme="full"/>
                </p:oleObj>
              </mc:Choice>
              <mc:Fallback>
                <p:oleObj name="Chart" r:id="rId39" imgW="4238534" imgH="1085928" progId="MSGraph.Chart.8">
                  <p:embed followColorScheme="full"/>
                  <p:pic>
                    <p:nvPicPr>
                      <p:cNvPr id="0" name=""/>
                      <p:cNvPicPr/>
                      <p:nvPr/>
                    </p:nvPicPr>
                    <p:blipFill>
                      <a:blip r:embed="rId40"/>
                      <a:stretch>
                        <a:fillRect/>
                      </a:stretch>
                    </p:blipFill>
                    <p:spPr>
                      <a:xfrm>
                        <a:off x="266699" y="1181100"/>
                        <a:ext cx="4238656" cy="1085940"/>
                      </a:xfrm>
                      <a:prstGeom prst="rect">
                        <a:avLst/>
                      </a:prstGeom>
                    </p:spPr>
                  </p:pic>
                </p:oleObj>
              </mc:Fallback>
            </mc:AlternateContent>
          </a:graphicData>
        </a:graphic>
      </p:graphicFrame>
      <p:sp>
        <p:nvSpPr>
          <p:cNvPr id="10" name="Rectangle 9"/>
          <p:cNvSpPr/>
          <p:nvPr>
            <p:custDataLst>
              <p:tags r:id="rId5"/>
            </p:custDataLst>
          </p:nvPr>
        </p:nvSpPr>
        <p:spPr bwMode="auto">
          <a:xfrm flipV="1">
            <a:off x="4119563" y="2279650"/>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7256C11-4A69-4B52-B222-FCE979EE2E58}"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9" name="Rectangle 8"/>
          <p:cNvSpPr/>
          <p:nvPr>
            <p:custDataLst>
              <p:tags r:id="rId6"/>
            </p:custDataLst>
          </p:nvPr>
        </p:nvSpPr>
        <p:spPr bwMode="auto">
          <a:xfrm flipV="1">
            <a:off x="3714750" y="2279650"/>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E624040-4365-430F-AF4C-712B1BBAC567}"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11" name="Rectangle 10"/>
          <p:cNvSpPr/>
          <p:nvPr>
            <p:custDataLst>
              <p:tags r:id="rId7"/>
            </p:custDataLst>
          </p:nvPr>
        </p:nvSpPr>
        <p:spPr bwMode="auto">
          <a:xfrm flipV="1">
            <a:off x="3309938" y="2279650"/>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D072994-277E-4AE3-B435-0D98764A1F7B}"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8"/>
            </p:custDataLst>
          </p:nvPr>
        </p:nvSpPr>
        <p:spPr bwMode="auto">
          <a:xfrm flipV="1">
            <a:off x="2905125" y="2279650"/>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E8247C0-06DF-468D-BD98-84FF2FFDB3F3}"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13" name="Rectangle 12"/>
          <p:cNvSpPr/>
          <p:nvPr>
            <p:custDataLst>
              <p:tags r:id="rId9"/>
            </p:custDataLst>
          </p:nvPr>
        </p:nvSpPr>
        <p:spPr bwMode="auto">
          <a:xfrm flipV="1">
            <a:off x="2500313" y="2279650"/>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CB56726-C63D-4233-8711-3DAA41821E63}"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4" name="Rectangle 13"/>
          <p:cNvSpPr/>
          <p:nvPr>
            <p:custDataLst>
              <p:tags r:id="rId10"/>
            </p:custDataLst>
          </p:nvPr>
        </p:nvSpPr>
        <p:spPr bwMode="auto">
          <a:xfrm flipV="1">
            <a:off x="2100263" y="2279650"/>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BE8A1F7-CA74-424F-90DB-BB4EFDD9F9A2}"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17" name="Rectangle 16"/>
          <p:cNvSpPr/>
          <p:nvPr>
            <p:custDataLst>
              <p:tags r:id="rId11"/>
            </p:custDataLst>
          </p:nvPr>
        </p:nvSpPr>
        <p:spPr bwMode="auto">
          <a:xfrm flipV="1">
            <a:off x="1695450" y="2279650"/>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DB7C34D-0F6D-401F-9E7E-3496B853CB5C}"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8" name="Rectangle 17"/>
          <p:cNvSpPr/>
          <p:nvPr>
            <p:custDataLst>
              <p:tags r:id="rId12"/>
            </p:custDataLst>
          </p:nvPr>
        </p:nvSpPr>
        <p:spPr bwMode="auto">
          <a:xfrm flipV="1">
            <a:off x="1290638" y="2279650"/>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1195B67-F3E2-4158-806C-2AF5173B164E}"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15" name="Rectangle 14"/>
          <p:cNvSpPr/>
          <p:nvPr>
            <p:custDataLst>
              <p:tags r:id="rId13"/>
            </p:custDataLst>
          </p:nvPr>
        </p:nvSpPr>
        <p:spPr bwMode="auto">
          <a:xfrm flipV="1">
            <a:off x="885825" y="2279650"/>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64F1B31-3BB7-4704-9A9E-D9819CA4A2D7}"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6" name="Rectangle 15"/>
          <p:cNvSpPr/>
          <p:nvPr>
            <p:custDataLst>
              <p:tags r:id="rId14"/>
            </p:custDataLst>
          </p:nvPr>
        </p:nvSpPr>
        <p:spPr bwMode="auto">
          <a:xfrm flipV="1">
            <a:off x="481013" y="2279650"/>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81FD06-6C39-490E-A040-2D9EA1427E12}"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grpSp>
        <p:nvGrpSpPr>
          <p:cNvPr id="19" name="Group 18"/>
          <p:cNvGrpSpPr/>
          <p:nvPr/>
        </p:nvGrpSpPr>
        <p:grpSpPr>
          <a:xfrm>
            <a:off x="240753" y="3019302"/>
            <a:ext cx="4229493" cy="3160901"/>
            <a:chOff x="1063677" y="1069816"/>
            <a:chExt cx="6903582" cy="5159375"/>
          </a:xfrm>
        </p:grpSpPr>
        <p:grpSp>
          <p:nvGrpSpPr>
            <p:cNvPr id="20" name="Group 19"/>
            <p:cNvGrpSpPr/>
            <p:nvPr/>
          </p:nvGrpSpPr>
          <p:grpSpPr>
            <a:xfrm>
              <a:off x="1204509" y="1069816"/>
              <a:ext cx="6762750" cy="5159375"/>
              <a:chOff x="2140960" y="943031"/>
              <a:chExt cx="6762750" cy="5159375"/>
            </a:xfrm>
          </p:grpSpPr>
          <p:sp>
            <p:nvSpPr>
              <p:cNvPr id="31" name="Freeform 30"/>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p:cNvSpPr txBox="1"/>
            <p:nvPr/>
          </p:nvSpPr>
          <p:spPr>
            <a:xfrm>
              <a:off x="3364435" y="1774765"/>
              <a:ext cx="1206778" cy="276998"/>
            </a:xfrm>
            <a:prstGeom prst="rect">
              <a:avLst/>
            </a:prstGeom>
            <a:noFill/>
            <a:ln w="6350">
              <a:noFill/>
            </a:ln>
          </p:spPr>
          <p:txBody>
            <a:bodyPr wrap="square" rtlCol="0">
              <a:spAutoFit/>
            </a:bodyPr>
            <a:lstStyle/>
            <a:p>
              <a:r>
                <a:rPr lang="lt-LT" sz="1200" b="1" dirty="0" smtClean="0"/>
                <a:t>Šiaulių regionas</a:t>
              </a:r>
            </a:p>
          </p:txBody>
        </p:sp>
        <p:sp>
          <p:nvSpPr>
            <p:cNvPr id="22" name="TextBox 21"/>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3" name="TextBox 22"/>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24" name="TextBox 23"/>
            <p:cNvSpPr txBox="1"/>
            <p:nvPr/>
          </p:nvSpPr>
          <p:spPr>
            <a:xfrm>
              <a:off x="4205737" y="5275353"/>
              <a:ext cx="1768753" cy="277000"/>
            </a:xfrm>
            <a:prstGeom prst="rect">
              <a:avLst/>
            </a:prstGeom>
            <a:noFill/>
            <a:ln w="6350">
              <a:noFill/>
            </a:ln>
          </p:spPr>
          <p:txBody>
            <a:bodyPr wrap="square" rtlCol="0">
              <a:spAutoFit/>
            </a:bodyPr>
            <a:lstStyle/>
            <a:p>
              <a:r>
                <a:rPr lang="lt-LT" sz="1200" b="1" dirty="0" smtClean="0"/>
                <a:t>Alytaus regionas</a:t>
              </a:r>
            </a:p>
          </p:txBody>
        </p:sp>
        <p:sp>
          <p:nvSpPr>
            <p:cNvPr id="25" name="TextBox 24"/>
            <p:cNvSpPr txBox="1"/>
            <p:nvPr/>
          </p:nvSpPr>
          <p:spPr>
            <a:xfrm>
              <a:off x="4250643" y="3757602"/>
              <a:ext cx="1206778" cy="276999"/>
            </a:xfrm>
            <a:prstGeom prst="rect">
              <a:avLst/>
            </a:prstGeom>
            <a:noFill/>
            <a:ln w="6350">
              <a:noFill/>
            </a:ln>
          </p:spPr>
          <p:txBody>
            <a:bodyPr wrap="square" rtlCol="0">
              <a:spAutoFit/>
            </a:bodyPr>
            <a:lstStyle/>
            <a:p>
              <a:r>
                <a:rPr lang="lt-LT" sz="1200" b="1" dirty="0" smtClean="0"/>
                <a:t>Kauno regionas</a:t>
              </a:r>
            </a:p>
          </p:txBody>
        </p:sp>
        <p:sp>
          <p:nvSpPr>
            <p:cNvPr id="26" name="TextBox 25"/>
            <p:cNvSpPr txBox="1"/>
            <p:nvPr/>
          </p:nvSpPr>
          <p:spPr>
            <a:xfrm>
              <a:off x="2448618" y="4470865"/>
              <a:ext cx="2001988" cy="751544"/>
            </a:xfrm>
            <a:prstGeom prst="rect">
              <a:avLst/>
            </a:prstGeom>
            <a:noFill/>
            <a:ln w="6350">
              <a:noFill/>
            </a:ln>
          </p:spPr>
          <p:txBody>
            <a:bodyPr wrap="square" rtlCol="0">
              <a:spAutoFit/>
            </a:bodyPr>
            <a:lstStyle/>
            <a:p>
              <a:r>
                <a:rPr lang="lt-LT" sz="1200" b="1" dirty="0" smtClean="0"/>
                <a:t>Marijampolės regionas</a:t>
              </a:r>
            </a:p>
          </p:txBody>
        </p:sp>
        <p:sp>
          <p:nvSpPr>
            <p:cNvPr id="27" name="TextBox 26"/>
            <p:cNvSpPr txBox="1"/>
            <p:nvPr/>
          </p:nvSpPr>
          <p:spPr>
            <a:xfrm>
              <a:off x="1063677" y="1099979"/>
              <a:ext cx="1400118" cy="751544"/>
            </a:xfrm>
            <a:prstGeom prst="rect">
              <a:avLst/>
            </a:prstGeom>
            <a:noFill/>
            <a:ln w="6350">
              <a:noFill/>
            </a:ln>
          </p:spPr>
          <p:txBody>
            <a:bodyPr wrap="square" rtlCol="0">
              <a:spAutoFit/>
            </a:bodyPr>
            <a:lstStyle/>
            <a:p>
              <a:r>
                <a:rPr lang="lt-LT" sz="1200" b="1" dirty="0" smtClean="0"/>
                <a:t>Klaipėdos regionas</a:t>
              </a:r>
            </a:p>
          </p:txBody>
        </p:sp>
        <p:sp>
          <p:nvSpPr>
            <p:cNvPr id="28" name="TextBox 27"/>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29" name="TextBox 28"/>
            <p:cNvSpPr txBox="1"/>
            <p:nvPr/>
          </p:nvSpPr>
          <p:spPr>
            <a:xfrm>
              <a:off x="2288910" y="3181426"/>
              <a:ext cx="1483911" cy="277000"/>
            </a:xfrm>
            <a:prstGeom prst="rect">
              <a:avLst/>
            </a:prstGeom>
            <a:noFill/>
            <a:ln w="6350">
              <a:noFill/>
            </a:ln>
          </p:spPr>
          <p:txBody>
            <a:bodyPr wrap="square" rtlCol="0">
              <a:spAutoFit/>
            </a:bodyPr>
            <a:lstStyle/>
            <a:p>
              <a:r>
                <a:rPr lang="lt-LT" sz="1200" b="1" dirty="0" smtClean="0"/>
                <a:t>Tauragės regionas</a:t>
              </a:r>
            </a:p>
          </p:txBody>
        </p:sp>
        <p:sp>
          <p:nvSpPr>
            <p:cNvPr id="30" name="TextBox 29"/>
            <p:cNvSpPr txBox="1"/>
            <p:nvPr/>
          </p:nvSpPr>
          <p:spPr>
            <a:xfrm>
              <a:off x="5882411" y="2712539"/>
              <a:ext cx="1498740" cy="276998"/>
            </a:xfrm>
            <a:prstGeom prst="rect">
              <a:avLst/>
            </a:prstGeom>
            <a:noFill/>
            <a:ln w="6350">
              <a:noFill/>
            </a:ln>
          </p:spPr>
          <p:txBody>
            <a:bodyPr wrap="square" rtlCol="0">
              <a:spAutoFit/>
            </a:bodyPr>
            <a:lstStyle/>
            <a:p>
              <a:r>
                <a:rPr lang="lt-LT" sz="1200" b="1" dirty="0" smtClean="0"/>
                <a:t>Utenos regionas</a:t>
              </a:r>
            </a:p>
          </p:txBody>
        </p:sp>
      </p:grpSp>
      <p:sp>
        <p:nvSpPr>
          <p:cNvPr id="41" name="Rectangle 40"/>
          <p:cNvSpPr/>
          <p:nvPr/>
        </p:nvSpPr>
        <p:spPr>
          <a:xfrm>
            <a:off x="290513" y="1355725"/>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
        <p:nvSpPr>
          <p:cNvPr id="42" name="Rectangle 41"/>
          <p:cNvSpPr/>
          <p:nvPr/>
        </p:nvSpPr>
        <p:spPr>
          <a:xfrm>
            <a:off x="4725988" y="1247776"/>
            <a:ext cx="4345542" cy="497471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3" name="Rectangle 42"/>
          <p:cNvSpPr/>
          <p:nvPr/>
        </p:nvSpPr>
        <p:spPr>
          <a:xfrm>
            <a:off x="4725988" y="947738"/>
            <a:ext cx="4349882" cy="408542"/>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Švietimo įstaigų, </a:t>
            </a:r>
            <a:r>
              <a:rPr lang="lt-LT" sz="1200" dirty="0">
                <a:solidFill>
                  <a:schemeClr val="bg1"/>
                </a:solidFill>
                <a:cs typeface="Cambria"/>
              </a:rPr>
              <a:t>gavusių QL, dalis lyginant su visų eTwinning programoje užregistruotų regiono įstaigų skaičiumi, proc. </a:t>
            </a:r>
          </a:p>
        </p:txBody>
      </p:sp>
      <p:graphicFrame>
        <p:nvGraphicFramePr>
          <p:cNvPr id="44" name="Object 43"/>
          <p:cNvGraphicFramePr>
            <a:graphicFrameLocks/>
          </p:cNvGraphicFramePr>
          <p:nvPr>
            <p:custDataLst>
              <p:tags r:id="rId15"/>
            </p:custDataLst>
            <p:extLst>
              <p:ext uri="{D42A27DB-BD31-4B8C-83A1-F6EECF244321}">
                <p14:modId xmlns:p14="http://schemas.microsoft.com/office/powerpoint/2010/main" val="2218162415"/>
              </p:ext>
            </p:extLst>
          </p:nvPr>
        </p:nvGraphicFramePr>
        <p:xfrm>
          <a:off x="4762500" y="1447800"/>
          <a:ext cx="3905312" cy="914490"/>
        </p:xfrm>
        <a:graphic>
          <a:graphicData uri="http://schemas.openxmlformats.org/presentationml/2006/ole">
            <mc:AlternateContent xmlns:mc="http://schemas.openxmlformats.org/markup-compatibility/2006">
              <mc:Choice xmlns:v="urn:schemas-microsoft-com:vml" Requires="v">
                <p:oleObj spid="_x0000_s32805" name="Chart" r:id="rId41" imgW="3905418" imgH="914244" progId="MSGraph.Chart.8">
                  <p:embed followColorScheme="full"/>
                </p:oleObj>
              </mc:Choice>
              <mc:Fallback>
                <p:oleObj name="Chart" r:id="rId41" imgW="3905418" imgH="914244" progId="MSGraph.Chart.8">
                  <p:embed followColorScheme="full"/>
                  <p:pic>
                    <p:nvPicPr>
                      <p:cNvPr id="0" name=""/>
                      <p:cNvPicPr/>
                      <p:nvPr/>
                    </p:nvPicPr>
                    <p:blipFill>
                      <a:blip r:embed="rId42"/>
                      <a:stretch>
                        <a:fillRect/>
                      </a:stretch>
                    </p:blipFill>
                    <p:spPr>
                      <a:xfrm>
                        <a:off x="4762500" y="1447800"/>
                        <a:ext cx="3905312" cy="914490"/>
                      </a:xfrm>
                      <a:prstGeom prst="rect">
                        <a:avLst/>
                      </a:prstGeom>
                    </p:spPr>
                  </p:pic>
                </p:oleObj>
              </mc:Fallback>
            </mc:AlternateContent>
          </a:graphicData>
        </a:graphic>
      </p:graphicFrame>
      <p:sp>
        <p:nvSpPr>
          <p:cNvPr id="54" name="Rectangle 53"/>
          <p:cNvSpPr/>
          <p:nvPr>
            <p:custDataLst>
              <p:tags r:id="rId16"/>
            </p:custDataLst>
          </p:nvPr>
        </p:nvSpPr>
        <p:spPr bwMode="gray">
          <a:xfrm>
            <a:off x="8239125" y="18605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144DE0A-036E-4410-A015-7C76DE15BBAA}" type="datetime'''''3'''''''''''''''''''',''''''8''%'''''''''''''''''''">
              <a:rPr lang="en-US" sz="1000">
                <a:solidFill>
                  <a:schemeClr val="tx1"/>
                </a:solidFill>
              </a:rPr>
              <a:pPr algn="ctr">
                <a:spcBef>
                  <a:spcPct val="0"/>
                </a:spcBef>
                <a:spcAft>
                  <a:spcPct val="0"/>
                </a:spcAft>
              </a:pPr>
              <a:t>3,8%</a:t>
            </a:fld>
            <a:endParaRPr lang="en-US" sz="1000" dirty="0">
              <a:solidFill>
                <a:schemeClr val="tx1"/>
              </a:solidFill>
              <a:latin typeface="Calibri"/>
              <a:sym typeface="Calibri"/>
            </a:endParaRPr>
          </a:p>
        </p:txBody>
      </p:sp>
      <p:sp>
        <p:nvSpPr>
          <p:cNvPr id="51" name="Rectangle 50"/>
          <p:cNvSpPr/>
          <p:nvPr>
            <p:custDataLst>
              <p:tags r:id="rId17"/>
            </p:custDataLst>
          </p:nvPr>
        </p:nvSpPr>
        <p:spPr bwMode="gray">
          <a:xfrm>
            <a:off x="5995988" y="164147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46EC554-8AA0-4B71-8C36-57A12476716B}" type="datetime'''1''''''''''''''''''''''''0'''''''''''''''''',''0''''''%'">
              <a:rPr lang="en-US" sz="1000">
                <a:solidFill>
                  <a:schemeClr val="tx1"/>
                </a:solidFill>
              </a:rPr>
              <a:pPr algn="ctr">
                <a:spcBef>
                  <a:spcPct val="0"/>
                </a:spcBef>
                <a:spcAft>
                  <a:spcPct val="0"/>
                </a:spcAft>
              </a:pPr>
              <a:t>10,0%</a:t>
            </a:fld>
            <a:endParaRPr lang="en-US" sz="1000" dirty="0">
              <a:solidFill>
                <a:schemeClr val="tx1"/>
              </a:solidFill>
              <a:latin typeface="Calibri"/>
              <a:sym typeface="Calibri"/>
            </a:endParaRPr>
          </a:p>
        </p:txBody>
      </p:sp>
      <p:sp>
        <p:nvSpPr>
          <p:cNvPr id="56" name="Rectangle 55"/>
          <p:cNvSpPr/>
          <p:nvPr>
            <p:custDataLst>
              <p:tags r:id="rId18"/>
            </p:custDataLst>
          </p:nvPr>
        </p:nvSpPr>
        <p:spPr bwMode="auto">
          <a:xfrm flipV="1">
            <a:off x="7939088" y="2289175"/>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FDEB2BD-E918-4B9D-87A9-40A02C1D72EC}"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64" name="Rectangle 63"/>
          <p:cNvSpPr/>
          <p:nvPr>
            <p:custDataLst>
              <p:tags r:id="rId19"/>
            </p:custDataLst>
          </p:nvPr>
        </p:nvSpPr>
        <p:spPr bwMode="auto">
          <a:xfrm flipV="1">
            <a:off x="7200900" y="2289175"/>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B5D95A6-DDAC-4074-AA20-CE40ACDBFC4C}"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55" name="Rectangle 54"/>
          <p:cNvSpPr/>
          <p:nvPr>
            <p:custDataLst>
              <p:tags r:id="rId20"/>
            </p:custDataLst>
          </p:nvPr>
        </p:nvSpPr>
        <p:spPr bwMode="auto">
          <a:xfrm flipV="1">
            <a:off x="7572375" y="2289175"/>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9A904A2-6B1D-439A-B4AE-93B3E8A15286}"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57" name="Rectangle 56"/>
          <p:cNvSpPr/>
          <p:nvPr>
            <p:custDataLst>
              <p:tags r:id="rId21"/>
            </p:custDataLst>
          </p:nvPr>
        </p:nvSpPr>
        <p:spPr bwMode="auto">
          <a:xfrm flipV="1">
            <a:off x="8305800" y="2289175"/>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8040A2C-64A7-447F-BEE3-24A77CDF91B0}"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63" name="Rectangle 62"/>
          <p:cNvSpPr/>
          <p:nvPr>
            <p:custDataLst>
              <p:tags r:id="rId22"/>
            </p:custDataLst>
          </p:nvPr>
        </p:nvSpPr>
        <p:spPr bwMode="auto">
          <a:xfrm flipV="1">
            <a:off x="6467475" y="2289175"/>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71D0139-A8AF-4241-B5C3-5AB1D8374513}"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52" name="Rectangle 51"/>
          <p:cNvSpPr/>
          <p:nvPr>
            <p:custDataLst>
              <p:tags r:id="rId23"/>
            </p:custDataLst>
          </p:nvPr>
        </p:nvSpPr>
        <p:spPr bwMode="gray">
          <a:xfrm>
            <a:off x="7505700" y="17843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E09703C-716E-4782-B428-8F684343EB7D}" type="datetime'''''''''''6,''''''''''''''0''''''''''''%'''''''''''''''''">
              <a:rPr lang="en-US" sz="1000">
                <a:solidFill>
                  <a:schemeClr val="tx1"/>
                </a:solidFill>
              </a:rPr>
              <a:pPr algn="ctr">
                <a:spcBef>
                  <a:spcPct val="0"/>
                </a:spcBef>
                <a:spcAft>
                  <a:spcPct val="0"/>
                </a:spcAft>
              </a:pPr>
              <a:t>6,0%</a:t>
            </a:fld>
            <a:endParaRPr lang="en-US" sz="1000" dirty="0">
              <a:solidFill>
                <a:schemeClr val="tx1"/>
              </a:solidFill>
              <a:latin typeface="Calibri"/>
              <a:sym typeface="Calibri"/>
            </a:endParaRPr>
          </a:p>
        </p:txBody>
      </p:sp>
      <p:sp>
        <p:nvSpPr>
          <p:cNvPr id="58" name="Rectangle 57"/>
          <p:cNvSpPr/>
          <p:nvPr>
            <p:custDataLst>
              <p:tags r:id="rId24"/>
            </p:custDataLst>
          </p:nvPr>
        </p:nvSpPr>
        <p:spPr bwMode="auto">
          <a:xfrm flipV="1">
            <a:off x="6834188" y="2289175"/>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89C6A0D-DE9E-4682-8E1F-639B810AFC61}"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53" name="Rectangle 52"/>
          <p:cNvSpPr/>
          <p:nvPr>
            <p:custDataLst>
              <p:tags r:id="rId25"/>
            </p:custDataLst>
          </p:nvPr>
        </p:nvSpPr>
        <p:spPr bwMode="gray">
          <a:xfrm>
            <a:off x="6400800" y="17272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7D0D384-07B2-41E0-8B4D-69405D1EB7C3}" type="datetime'''7'',''''''''''''''5''''''''''''%'''''">
              <a:rPr lang="en-US" sz="1000">
                <a:solidFill>
                  <a:schemeClr val="tx1"/>
                </a:solidFill>
              </a:rPr>
              <a:pPr algn="ctr">
                <a:spcBef>
                  <a:spcPct val="0"/>
                </a:spcBef>
                <a:spcAft>
                  <a:spcPct val="0"/>
                </a:spcAft>
              </a:pPr>
              <a:t>7,5%</a:t>
            </a:fld>
            <a:endParaRPr lang="en-US" sz="1000" dirty="0">
              <a:solidFill>
                <a:schemeClr val="tx1"/>
              </a:solidFill>
              <a:latin typeface="Calibri"/>
              <a:sym typeface="Calibri"/>
            </a:endParaRPr>
          </a:p>
        </p:txBody>
      </p:sp>
      <p:sp>
        <p:nvSpPr>
          <p:cNvPr id="61" name="Rectangle 60"/>
          <p:cNvSpPr/>
          <p:nvPr>
            <p:custDataLst>
              <p:tags r:id="rId26"/>
            </p:custDataLst>
          </p:nvPr>
        </p:nvSpPr>
        <p:spPr bwMode="auto">
          <a:xfrm flipV="1">
            <a:off x="6096000" y="2289175"/>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90A499F-E0EF-458A-8C23-261D1E4AE089}"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50" name="Rectangle 49"/>
          <p:cNvSpPr/>
          <p:nvPr>
            <p:custDataLst>
              <p:tags r:id="rId27"/>
            </p:custDataLst>
          </p:nvPr>
        </p:nvSpPr>
        <p:spPr bwMode="gray">
          <a:xfrm>
            <a:off x="7134225" y="177482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06D5053-60EC-4305-AD7D-A29F4B6484C8}" type="datetime'''6'''''''''''''''''''''''''''''''''',3%'''">
              <a:rPr lang="en-US" sz="1000">
                <a:solidFill>
                  <a:schemeClr val="tx1"/>
                </a:solidFill>
              </a:rPr>
              <a:pPr algn="ctr">
                <a:spcBef>
                  <a:spcPct val="0"/>
                </a:spcBef>
                <a:spcAft>
                  <a:spcPct val="0"/>
                </a:spcAft>
              </a:pPr>
              <a:t>6,3%</a:t>
            </a:fld>
            <a:endParaRPr lang="en-US" sz="1000" dirty="0">
              <a:solidFill>
                <a:schemeClr val="tx1"/>
              </a:solidFill>
              <a:latin typeface="Calibri"/>
              <a:sym typeface="Calibri"/>
            </a:endParaRPr>
          </a:p>
        </p:txBody>
      </p:sp>
      <p:sp>
        <p:nvSpPr>
          <p:cNvPr id="49" name="Rectangle 48"/>
          <p:cNvSpPr/>
          <p:nvPr>
            <p:custDataLst>
              <p:tags r:id="rId28"/>
            </p:custDataLst>
          </p:nvPr>
        </p:nvSpPr>
        <p:spPr bwMode="gray">
          <a:xfrm>
            <a:off x="6767513" y="17653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19C1A04-CB2E-43DA-9968-F0325E20CAF9}" type="datetime'''''''''''''''''''''''''6'''''''''''''''',''6''%'''''">
              <a:rPr lang="en-US" sz="1000">
                <a:solidFill>
                  <a:schemeClr val="tx1"/>
                </a:solidFill>
              </a:rPr>
              <a:pPr algn="ctr">
                <a:spcBef>
                  <a:spcPct val="0"/>
                </a:spcBef>
                <a:spcAft>
                  <a:spcPct val="0"/>
                </a:spcAft>
              </a:pPr>
              <a:t>6,6%</a:t>
            </a:fld>
            <a:endParaRPr lang="en-US" sz="1000" dirty="0">
              <a:solidFill>
                <a:schemeClr val="tx1"/>
              </a:solidFill>
              <a:latin typeface="Calibri"/>
              <a:sym typeface="Calibri"/>
            </a:endParaRPr>
          </a:p>
        </p:txBody>
      </p:sp>
      <p:sp>
        <p:nvSpPr>
          <p:cNvPr id="46" name="Rectangle 45"/>
          <p:cNvSpPr/>
          <p:nvPr>
            <p:custDataLst>
              <p:tags r:id="rId29"/>
            </p:custDataLst>
          </p:nvPr>
        </p:nvSpPr>
        <p:spPr bwMode="gray">
          <a:xfrm>
            <a:off x="7872413" y="18034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8A49194-DFE8-4EBA-839E-C117411F9ECB}" type="datetime'''''''5,''''''''''''''3''''''%'''''''''''''''">
              <a:rPr lang="en-US" sz="1000">
                <a:solidFill>
                  <a:schemeClr val="tx1"/>
                </a:solidFill>
              </a:rPr>
              <a:pPr algn="ctr">
                <a:spcBef>
                  <a:spcPct val="0"/>
                </a:spcBef>
                <a:spcAft>
                  <a:spcPct val="0"/>
                </a:spcAft>
              </a:pPr>
              <a:t>5,3%</a:t>
            </a:fld>
            <a:endParaRPr lang="en-US" sz="1000" dirty="0">
              <a:solidFill>
                <a:schemeClr val="tx1"/>
              </a:solidFill>
              <a:latin typeface="Calibri"/>
              <a:sym typeface="Calibri"/>
            </a:endParaRPr>
          </a:p>
        </p:txBody>
      </p:sp>
      <p:sp>
        <p:nvSpPr>
          <p:cNvPr id="62" name="Rectangle 61"/>
          <p:cNvSpPr/>
          <p:nvPr>
            <p:custDataLst>
              <p:tags r:id="rId30"/>
            </p:custDataLst>
          </p:nvPr>
        </p:nvSpPr>
        <p:spPr bwMode="auto">
          <a:xfrm flipV="1">
            <a:off x="5724525" y="2289175"/>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69D9C09-62BC-4E40-995F-FBA31FCBF709}"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47" name="Rectangle 46"/>
          <p:cNvSpPr/>
          <p:nvPr>
            <p:custDataLst>
              <p:tags r:id="rId31"/>
            </p:custDataLst>
          </p:nvPr>
        </p:nvSpPr>
        <p:spPr bwMode="gray">
          <a:xfrm>
            <a:off x="5624513" y="163195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1CFDEEE-2104-4A4F-8DAE-F1F05366F86B}" type="datetime'''''''1''''0'''''''',''''4''''%'''''''''''''''''''''">
              <a:rPr lang="en-US" sz="1000">
                <a:solidFill>
                  <a:schemeClr val="tx1"/>
                </a:solidFill>
              </a:rPr>
              <a:pPr algn="ctr">
                <a:spcBef>
                  <a:spcPct val="0"/>
                </a:spcBef>
                <a:spcAft>
                  <a:spcPct val="0"/>
                </a:spcAft>
              </a:pPr>
              <a:t>10,4%</a:t>
            </a:fld>
            <a:endParaRPr lang="en-US" sz="1000" dirty="0">
              <a:solidFill>
                <a:schemeClr val="tx1"/>
              </a:solidFill>
              <a:latin typeface="Calibri"/>
              <a:sym typeface="Calibri"/>
            </a:endParaRPr>
          </a:p>
        </p:txBody>
      </p:sp>
      <p:sp>
        <p:nvSpPr>
          <p:cNvPr id="59" name="Rectangle 58"/>
          <p:cNvSpPr/>
          <p:nvPr>
            <p:custDataLst>
              <p:tags r:id="rId32"/>
            </p:custDataLst>
          </p:nvPr>
        </p:nvSpPr>
        <p:spPr bwMode="auto">
          <a:xfrm flipV="1">
            <a:off x="5357813" y="2289175"/>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6095210-30FA-4D25-827B-33599588956D}"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45" name="Rectangle 44"/>
          <p:cNvSpPr/>
          <p:nvPr>
            <p:custDataLst>
              <p:tags r:id="rId33"/>
            </p:custDataLst>
          </p:nvPr>
        </p:nvSpPr>
        <p:spPr bwMode="gray">
          <a:xfrm>
            <a:off x="5257800" y="153670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AAD3B8E-F720-48E9-B78A-A150430F8E49}" type="datetime'''1''''''''3'''''''''',''''''''''''''0''''''''''''''''%'''''">
              <a:rPr lang="en-US" sz="1000">
                <a:solidFill>
                  <a:schemeClr val="tx1"/>
                </a:solidFill>
              </a:rPr>
              <a:pPr algn="ctr">
                <a:spcBef>
                  <a:spcPct val="0"/>
                </a:spcBef>
                <a:spcAft>
                  <a:spcPct val="0"/>
                </a:spcAft>
              </a:pPr>
              <a:t>13,0%</a:t>
            </a:fld>
            <a:endParaRPr lang="en-US" sz="1000" dirty="0">
              <a:solidFill>
                <a:schemeClr val="tx1"/>
              </a:solidFill>
              <a:latin typeface="Calibri"/>
              <a:sym typeface="Calibri"/>
            </a:endParaRPr>
          </a:p>
        </p:txBody>
      </p:sp>
      <p:sp>
        <p:nvSpPr>
          <p:cNvPr id="60" name="Rectangle 59"/>
          <p:cNvSpPr/>
          <p:nvPr>
            <p:custDataLst>
              <p:tags r:id="rId34"/>
            </p:custDataLst>
          </p:nvPr>
        </p:nvSpPr>
        <p:spPr bwMode="auto">
          <a:xfrm flipV="1">
            <a:off x="4991100" y="2289175"/>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AE3F202-A633-48A1-A913-BEE4161071AC}"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48" name="Rectangle 47"/>
          <p:cNvSpPr/>
          <p:nvPr>
            <p:custDataLst>
              <p:tags r:id="rId35"/>
            </p:custDataLst>
          </p:nvPr>
        </p:nvSpPr>
        <p:spPr bwMode="gray">
          <a:xfrm>
            <a:off x="4891088" y="139382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593B97-7A6E-4EAD-AAAA-FB82AA652E84}" type="datetime'1''''''''''''''7'''',''''''''''''''''''''0''''%'''''''''''''">
              <a:rPr lang="en-US" sz="1000">
                <a:solidFill>
                  <a:schemeClr val="tx1"/>
                </a:solidFill>
              </a:rPr>
              <a:pPr algn="ctr">
                <a:spcBef>
                  <a:spcPct val="0"/>
                </a:spcBef>
                <a:spcAft>
                  <a:spcPct val="0"/>
                </a:spcAft>
              </a:pPr>
              <a:t>17,0%</a:t>
            </a:fld>
            <a:endParaRPr lang="en-US" sz="1000" dirty="0">
              <a:solidFill>
                <a:schemeClr val="tx1"/>
              </a:solidFill>
              <a:latin typeface="Calibri"/>
              <a:sym typeface="Calibri"/>
            </a:endParaRPr>
          </a:p>
        </p:txBody>
      </p:sp>
      <p:grpSp>
        <p:nvGrpSpPr>
          <p:cNvPr id="65" name="Group 64"/>
          <p:cNvGrpSpPr/>
          <p:nvPr/>
        </p:nvGrpSpPr>
        <p:grpSpPr>
          <a:xfrm>
            <a:off x="4701279" y="2971058"/>
            <a:ext cx="4265818" cy="3158991"/>
            <a:chOff x="1000177" y="1069816"/>
            <a:chExt cx="6967082" cy="5159375"/>
          </a:xfrm>
        </p:grpSpPr>
        <p:grpSp>
          <p:nvGrpSpPr>
            <p:cNvPr id="66" name="Group 65"/>
            <p:cNvGrpSpPr/>
            <p:nvPr/>
          </p:nvGrpSpPr>
          <p:grpSpPr>
            <a:xfrm>
              <a:off x="1204509" y="1069816"/>
              <a:ext cx="6762750" cy="5159375"/>
              <a:chOff x="2140960" y="943031"/>
              <a:chExt cx="6762750" cy="5159375"/>
            </a:xfrm>
          </p:grpSpPr>
          <p:sp>
            <p:nvSpPr>
              <p:cNvPr id="77" name="Freeform 76"/>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TextBox 66"/>
            <p:cNvSpPr txBox="1"/>
            <p:nvPr/>
          </p:nvSpPr>
          <p:spPr>
            <a:xfrm>
              <a:off x="3364436" y="1900107"/>
              <a:ext cx="1206778" cy="276998"/>
            </a:xfrm>
            <a:prstGeom prst="rect">
              <a:avLst/>
            </a:prstGeom>
            <a:noFill/>
            <a:ln w="6350">
              <a:noFill/>
            </a:ln>
          </p:spPr>
          <p:txBody>
            <a:bodyPr wrap="square" rtlCol="0">
              <a:spAutoFit/>
            </a:bodyPr>
            <a:lstStyle/>
            <a:p>
              <a:r>
                <a:rPr lang="lt-LT" sz="1200" b="1" dirty="0" smtClean="0"/>
                <a:t>Šiaulių regionas</a:t>
              </a:r>
            </a:p>
          </p:txBody>
        </p:sp>
        <p:sp>
          <p:nvSpPr>
            <p:cNvPr id="68" name="TextBox 67"/>
            <p:cNvSpPr txBox="1"/>
            <p:nvPr/>
          </p:nvSpPr>
          <p:spPr>
            <a:xfrm>
              <a:off x="4967900" y="1782501"/>
              <a:ext cx="1745351" cy="276998"/>
            </a:xfrm>
            <a:prstGeom prst="rect">
              <a:avLst/>
            </a:prstGeom>
            <a:noFill/>
            <a:ln w="6350">
              <a:noFill/>
            </a:ln>
          </p:spPr>
          <p:txBody>
            <a:bodyPr wrap="square" rtlCol="0">
              <a:spAutoFit/>
            </a:bodyPr>
            <a:lstStyle/>
            <a:p>
              <a:r>
                <a:rPr lang="lt-LT" sz="1200" b="1" dirty="0" smtClean="0"/>
                <a:t>Panevėžio regionas</a:t>
              </a:r>
            </a:p>
          </p:txBody>
        </p:sp>
        <p:sp>
          <p:nvSpPr>
            <p:cNvPr id="69" name="TextBox 68"/>
            <p:cNvSpPr txBox="1"/>
            <p:nvPr/>
          </p:nvSpPr>
          <p:spPr>
            <a:xfrm>
              <a:off x="5457421" y="4252227"/>
              <a:ext cx="1206778" cy="461665"/>
            </a:xfrm>
            <a:prstGeom prst="rect">
              <a:avLst/>
            </a:prstGeom>
            <a:noFill/>
            <a:ln w="6350">
              <a:noFill/>
            </a:ln>
          </p:spPr>
          <p:txBody>
            <a:bodyPr wrap="square" rtlCol="0">
              <a:spAutoFit/>
            </a:bodyPr>
            <a:lstStyle/>
            <a:p>
              <a:r>
                <a:rPr lang="lt-LT" sz="1200" b="1" dirty="0" smtClean="0"/>
                <a:t>Vilniaus regionas</a:t>
              </a:r>
            </a:p>
          </p:txBody>
        </p:sp>
        <p:sp>
          <p:nvSpPr>
            <p:cNvPr id="70" name="TextBox 69"/>
            <p:cNvSpPr txBox="1"/>
            <p:nvPr/>
          </p:nvSpPr>
          <p:spPr>
            <a:xfrm>
              <a:off x="3969654" y="5275353"/>
              <a:ext cx="1768753" cy="277000"/>
            </a:xfrm>
            <a:prstGeom prst="rect">
              <a:avLst/>
            </a:prstGeom>
            <a:noFill/>
            <a:ln w="6350">
              <a:noFill/>
            </a:ln>
          </p:spPr>
          <p:txBody>
            <a:bodyPr wrap="square" rtlCol="0">
              <a:spAutoFit/>
            </a:bodyPr>
            <a:lstStyle/>
            <a:p>
              <a:r>
                <a:rPr lang="lt-LT" sz="1200" b="1" dirty="0" smtClean="0"/>
                <a:t>Alytaus regionas</a:t>
              </a:r>
            </a:p>
          </p:txBody>
        </p:sp>
        <p:sp>
          <p:nvSpPr>
            <p:cNvPr id="71" name="TextBox 70"/>
            <p:cNvSpPr txBox="1"/>
            <p:nvPr/>
          </p:nvSpPr>
          <p:spPr>
            <a:xfrm>
              <a:off x="4231547" y="3664197"/>
              <a:ext cx="1206778" cy="276998"/>
            </a:xfrm>
            <a:prstGeom prst="rect">
              <a:avLst/>
            </a:prstGeom>
            <a:noFill/>
            <a:ln w="6350">
              <a:noFill/>
            </a:ln>
          </p:spPr>
          <p:txBody>
            <a:bodyPr wrap="square" rtlCol="0">
              <a:spAutoFit/>
            </a:bodyPr>
            <a:lstStyle/>
            <a:p>
              <a:r>
                <a:rPr lang="lt-LT" sz="1200" b="1" dirty="0" smtClean="0"/>
                <a:t>Kauno regionas</a:t>
              </a:r>
            </a:p>
          </p:txBody>
        </p:sp>
        <p:sp>
          <p:nvSpPr>
            <p:cNvPr id="72" name="TextBox 71"/>
            <p:cNvSpPr txBox="1"/>
            <p:nvPr/>
          </p:nvSpPr>
          <p:spPr>
            <a:xfrm>
              <a:off x="2615781" y="4252227"/>
              <a:ext cx="1598618" cy="643202"/>
            </a:xfrm>
            <a:prstGeom prst="rect">
              <a:avLst/>
            </a:prstGeom>
            <a:noFill/>
            <a:ln w="6350">
              <a:noFill/>
            </a:ln>
          </p:spPr>
          <p:txBody>
            <a:bodyPr wrap="square" rtlCol="0">
              <a:spAutoFit/>
            </a:bodyPr>
            <a:lstStyle/>
            <a:p>
              <a:r>
                <a:rPr lang="lt-LT" sz="1200" b="1" dirty="0" smtClean="0"/>
                <a:t>Marijampolės regionas</a:t>
              </a:r>
            </a:p>
          </p:txBody>
        </p:sp>
        <p:sp>
          <p:nvSpPr>
            <p:cNvPr id="73" name="TextBox 72"/>
            <p:cNvSpPr txBox="1"/>
            <p:nvPr/>
          </p:nvSpPr>
          <p:spPr>
            <a:xfrm>
              <a:off x="1000177" y="1263706"/>
              <a:ext cx="1606094" cy="754007"/>
            </a:xfrm>
            <a:prstGeom prst="rect">
              <a:avLst/>
            </a:prstGeom>
            <a:noFill/>
            <a:ln w="6350">
              <a:noFill/>
            </a:ln>
          </p:spPr>
          <p:txBody>
            <a:bodyPr wrap="square" rtlCol="0">
              <a:spAutoFit/>
            </a:bodyPr>
            <a:lstStyle/>
            <a:p>
              <a:r>
                <a:rPr lang="lt-LT" sz="1200" b="1" dirty="0" smtClean="0"/>
                <a:t>Klaipėdos regionas</a:t>
              </a:r>
            </a:p>
          </p:txBody>
        </p:sp>
        <p:sp>
          <p:nvSpPr>
            <p:cNvPr id="74" name="TextBox 73"/>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75" name="TextBox 74"/>
            <p:cNvSpPr txBox="1"/>
            <p:nvPr/>
          </p:nvSpPr>
          <p:spPr>
            <a:xfrm>
              <a:off x="2380569" y="3076167"/>
              <a:ext cx="1483911" cy="277000"/>
            </a:xfrm>
            <a:prstGeom prst="rect">
              <a:avLst/>
            </a:prstGeom>
            <a:noFill/>
            <a:ln w="6350">
              <a:noFill/>
            </a:ln>
          </p:spPr>
          <p:txBody>
            <a:bodyPr wrap="square" rtlCol="0">
              <a:spAutoFit/>
            </a:bodyPr>
            <a:lstStyle/>
            <a:p>
              <a:r>
                <a:rPr lang="lt-LT" sz="1200" b="1" dirty="0" smtClean="0"/>
                <a:t>Tauragės regionas</a:t>
              </a:r>
            </a:p>
          </p:txBody>
        </p:sp>
        <p:sp>
          <p:nvSpPr>
            <p:cNvPr id="76" name="TextBox 75"/>
            <p:cNvSpPr txBox="1"/>
            <p:nvPr/>
          </p:nvSpPr>
          <p:spPr>
            <a:xfrm>
              <a:off x="6056492" y="2605743"/>
              <a:ext cx="1498739" cy="276998"/>
            </a:xfrm>
            <a:prstGeom prst="rect">
              <a:avLst/>
            </a:prstGeom>
            <a:noFill/>
            <a:ln w="6350">
              <a:noFill/>
            </a:ln>
          </p:spPr>
          <p:txBody>
            <a:bodyPr wrap="square" rtlCol="0">
              <a:spAutoFit/>
            </a:bodyPr>
            <a:lstStyle/>
            <a:p>
              <a:r>
                <a:rPr lang="lt-LT" sz="1200" b="1" dirty="0" smtClean="0"/>
                <a:t>Utenos regionas</a:t>
              </a:r>
            </a:p>
          </p:txBody>
        </p:sp>
      </p:grpSp>
    </p:spTree>
    <p:extLst>
      <p:ext uri="{BB962C8B-B14F-4D97-AF65-F5344CB8AC3E}">
        <p14:creationId xmlns:p14="http://schemas.microsoft.com/office/powerpoint/2010/main" val="36800562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3</a:t>
            </a:fld>
            <a:endParaRPr lang="lt-LT" dirty="0"/>
          </a:p>
        </p:txBody>
      </p:sp>
      <p:sp>
        <p:nvSpPr>
          <p:cNvPr id="3" name="Title 2"/>
          <p:cNvSpPr>
            <a:spLocks noGrp="1"/>
          </p:cNvSpPr>
          <p:nvPr>
            <p:ph type="title"/>
          </p:nvPr>
        </p:nvSpPr>
        <p:spPr>
          <a:xfrm>
            <a:off x="143508" y="205334"/>
            <a:ext cx="8856984" cy="487362"/>
          </a:xfrm>
        </p:spPr>
        <p:txBody>
          <a:bodyPr>
            <a:normAutofit/>
          </a:bodyPr>
          <a:lstStyle/>
          <a:p>
            <a:r>
              <a:rPr lang="lt-LT" sz="2000" b="1" dirty="0">
                <a:solidFill>
                  <a:schemeClr val="tx2">
                    <a:lumMod val="75000"/>
                  </a:schemeClr>
                </a:solidFill>
              </a:rPr>
              <a:t>Absoliučiai daugumai respondentų projektų vykdymas buvo naudingas</a:t>
            </a:r>
          </a:p>
        </p:txBody>
      </p:sp>
      <p:pic>
        <p:nvPicPr>
          <p:cNvPr id="106499" name="Picture 3" descr="Slide31"/>
          <p:cNvPicPr>
            <a:picLocks noChangeAspect="1" noChangeArrowheads="1"/>
          </p:cNvPicPr>
          <p:nvPr/>
        </p:nvPicPr>
        <p:blipFill rotWithShape="1">
          <a:blip r:embed="rId2">
            <a:extLst>
              <a:ext uri="{28A0092B-C50C-407E-A947-70E740481C1C}">
                <a14:useLocalDpi xmlns:a14="http://schemas.microsoft.com/office/drawing/2010/main" val="0"/>
              </a:ext>
            </a:extLst>
          </a:blip>
          <a:srcRect l="66070" t="12720" b="49136"/>
          <a:stretch/>
        </p:blipFill>
        <p:spPr bwMode="auto">
          <a:xfrm>
            <a:off x="1223628" y="1044724"/>
            <a:ext cx="2644324" cy="2232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22" name="Picture 2" descr="a"/>
          <p:cNvPicPr>
            <a:picLocks noChangeAspect="1" noChangeArrowheads="1"/>
          </p:cNvPicPr>
          <p:nvPr/>
        </p:nvPicPr>
        <p:blipFill>
          <a:blip r:embed="rId3">
            <a:extLst>
              <a:ext uri="{28A0092B-C50C-407E-A947-70E740481C1C}">
                <a14:useLocalDpi xmlns:a14="http://schemas.microsoft.com/office/drawing/2010/main" val="0"/>
              </a:ext>
            </a:extLst>
          </a:blip>
          <a:srcRect t="51366" r="38063" b="8932"/>
          <a:stretch>
            <a:fillRect/>
          </a:stretch>
        </p:blipFill>
        <p:spPr bwMode="auto">
          <a:xfrm>
            <a:off x="1115616" y="3337824"/>
            <a:ext cx="5979236" cy="2880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4105234" y="1052736"/>
            <a:ext cx="2915038" cy="1600438"/>
          </a:xfrm>
          <a:prstGeom prst="rect">
            <a:avLst/>
          </a:prstGeom>
        </p:spPr>
        <p:txBody>
          <a:bodyPr wrap="square">
            <a:spAutoFit/>
          </a:bodyPr>
          <a:lstStyle/>
          <a:p>
            <a:pPr marL="285750" indent="-285750" algn="just">
              <a:buFont typeface="Arial" panose="020B0604020202020204" pitchFamily="34" charset="0"/>
              <a:buChar char="•"/>
            </a:pPr>
            <a:r>
              <a:rPr lang="lt-LT" sz="1400" dirty="0"/>
              <a:t>Repondentai, kurie nurodė, kad dalyvavimas programos “eTwinning projekte” įgyvendino ne daugiau nei tris projektus. </a:t>
            </a:r>
            <a:endParaRPr lang="lt-LT" sz="1400" dirty="0" smtClean="0"/>
          </a:p>
          <a:p>
            <a:pPr marL="285750" indent="-285750" algn="just">
              <a:buFont typeface="Arial" panose="020B0604020202020204" pitchFamily="34" charset="0"/>
              <a:buChar char="•"/>
            </a:pPr>
            <a:r>
              <a:rPr lang="lt-LT" sz="1400" dirty="0"/>
              <a:t>V</a:t>
            </a:r>
            <a:r>
              <a:rPr lang="lt-LT" sz="1400" dirty="0" smtClean="0"/>
              <a:t>isi </a:t>
            </a:r>
            <a:r>
              <a:rPr lang="lt-LT" sz="1400" dirty="0"/>
              <a:t>respondentai įgyvendinę daugiau nei tris projektus teigė, kad jiems tai buvo naudinga.  </a:t>
            </a:r>
          </a:p>
        </p:txBody>
      </p:sp>
    </p:spTree>
    <p:extLst>
      <p:ext uri="{BB962C8B-B14F-4D97-AF65-F5344CB8AC3E}">
        <p14:creationId xmlns:p14="http://schemas.microsoft.com/office/powerpoint/2010/main" val="179698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2197" y="152400"/>
            <a:ext cx="8928992" cy="1088740"/>
          </a:xfrm>
        </p:spPr>
        <p:txBody>
          <a:bodyPr>
            <a:noAutofit/>
          </a:bodyPr>
          <a:lstStyle/>
          <a:p>
            <a:r>
              <a:rPr lang="lt-LT" sz="2000" b="1" dirty="0">
                <a:solidFill>
                  <a:schemeClr val="tx2">
                    <a:lumMod val="75000"/>
                  </a:schemeClr>
                </a:solidFill>
              </a:rPr>
              <a:t>Daugumos respondentų nuomone, dalyvavimas eTwinning projekte yra naudingas mokiniams ir ypač padeda padidinti mokinių kūrybiškumą bei pagilinti </a:t>
            </a:r>
            <a:r>
              <a:rPr lang="lt-LT" sz="2000" b="1" dirty="0" smtClean="0">
                <a:solidFill>
                  <a:schemeClr val="tx2">
                    <a:lumMod val="75000"/>
                  </a:schemeClr>
                </a:solidFill>
              </a:rPr>
              <a:t>žinias.</a:t>
            </a:r>
            <a:endParaRPr lang="lt-LT" sz="2000" b="1" dirty="0">
              <a:solidFill>
                <a:schemeClr val="tx2">
                  <a:lumMod val="75000"/>
                </a:schemeClr>
              </a:solidFill>
            </a:endParaRPr>
          </a:p>
        </p:txBody>
      </p:sp>
      <p:pic>
        <p:nvPicPr>
          <p:cNvPr id="5" name="Content Placeholder 4" descr="C:\Users\Karolina\AppData\Local\Microsoft\Windows\INetCache\Content.Word\Slide33.gif"/>
          <p:cNvPicPr>
            <a:picLocks noGrp="1"/>
          </p:cNvPicPr>
          <p:nvPr>
            <p:ph idx="1"/>
          </p:nvPr>
        </p:nvPicPr>
        <p:blipFill rotWithShape="1">
          <a:blip r:embed="rId2">
            <a:extLst>
              <a:ext uri="{28A0092B-C50C-407E-A947-70E740481C1C}">
                <a14:useLocalDpi xmlns:a14="http://schemas.microsoft.com/office/drawing/2010/main" val="0"/>
              </a:ext>
            </a:extLst>
          </a:blip>
          <a:srcRect l="903" t="12886" r="17288" b="9107"/>
          <a:stretch/>
        </p:blipFill>
        <p:spPr bwMode="auto">
          <a:xfrm>
            <a:off x="1943708" y="1371600"/>
            <a:ext cx="7128792" cy="5098116"/>
          </a:xfrm>
          <a:prstGeom prst="rect">
            <a:avLst/>
          </a:prstGeom>
          <a:noFill/>
          <a:ln>
            <a:noFill/>
          </a:ln>
          <a:extLst>
            <a:ext uri="{53640926-AAD7-44D8-BBD7-CCE9431645EC}">
              <a14:shadowObscured xmlns:a14="http://schemas.microsoft.com/office/drawing/2010/main"/>
            </a:ext>
          </a:extLst>
        </p:spPr>
      </p:pic>
      <p:sp>
        <p:nvSpPr>
          <p:cNvPr id="4" name="TextBox 3"/>
          <p:cNvSpPr txBox="1"/>
          <p:nvPr/>
        </p:nvSpPr>
        <p:spPr>
          <a:xfrm>
            <a:off x="11502" y="1447800"/>
            <a:ext cx="1943708" cy="2308324"/>
          </a:xfrm>
          <a:prstGeom prst="rect">
            <a:avLst/>
          </a:prstGeom>
          <a:noFill/>
        </p:spPr>
        <p:txBody>
          <a:bodyPr wrap="square" rtlCol="0">
            <a:spAutoFit/>
          </a:bodyPr>
          <a:lstStyle/>
          <a:p>
            <a:pPr marL="171450" indent="-171450" algn="just">
              <a:buFont typeface="Arial" panose="020B0604020202020204" pitchFamily="34" charset="0"/>
              <a:buChar char="•"/>
            </a:pPr>
            <a:r>
              <a:rPr lang="lt-LT" sz="1200" dirty="0"/>
              <a:t>Daugiausiai respondentų nurodė, kad tikėjosi ir jų mokiniams dalyvavimas projekte padėjo padidinti kūrybiškumą, pagerinti žinias apie Europos šalis ir jų kultūrą, pagilinti žinias (pagal projekto tipą), bei pagerinti darbo komandoje ir bendradarbaivimo įgudžius.</a:t>
            </a:r>
          </a:p>
        </p:txBody>
      </p:sp>
    </p:spTree>
    <p:extLst>
      <p:ext uri="{BB962C8B-B14F-4D97-AF65-F5344CB8AC3E}">
        <p14:creationId xmlns:p14="http://schemas.microsoft.com/office/powerpoint/2010/main" val="186182662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7504" y="277342"/>
            <a:ext cx="9020648" cy="487362"/>
          </a:xfrm>
        </p:spPr>
        <p:txBody>
          <a:bodyPr>
            <a:noAutofit/>
          </a:bodyPr>
          <a:lstStyle/>
          <a:p>
            <a:r>
              <a:rPr lang="lt-LT" sz="2000" b="1" dirty="0">
                <a:solidFill>
                  <a:schemeClr val="tx2">
                    <a:lumMod val="75000"/>
                  </a:schemeClr>
                </a:solidFill>
              </a:rPr>
              <a:t>Dalyvavimas projektuose paskatina organizacijas dažniau dalyvauti panašiuose projektuose, padidina organizacijos žinomumą ir įvaizdį bei padidina integraciją tarp mokomųjų dalykų bei bendradarbiavimą tarp mokytojų</a:t>
            </a:r>
          </a:p>
        </p:txBody>
      </p:sp>
      <p:pic>
        <p:nvPicPr>
          <p:cNvPr id="108546" name="Picture 2" descr="o"/>
          <p:cNvPicPr>
            <a:picLocks noChangeAspect="1" noChangeArrowheads="1"/>
          </p:cNvPicPr>
          <p:nvPr/>
        </p:nvPicPr>
        <p:blipFill>
          <a:blip r:embed="rId2">
            <a:extLst>
              <a:ext uri="{28A0092B-C50C-407E-A947-70E740481C1C}">
                <a14:useLocalDpi xmlns:a14="http://schemas.microsoft.com/office/drawing/2010/main" val="0"/>
              </a:ext>
            </a:extLst>
          </a:blip>
          <a:srcRect t="13750" b="25258"/>
          <a:stretch>
            <a:fillRect/>
          </a:stretch>
        </p:blipFill>
        <p:spPr bwMode="auto">
          <a:xfrm>
            <a:off x="254968" y="1988840"/>
            <a:ext cx="8873184" cy="4068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359532" y="972000"/>
            <a:ext cx="8604956" cy="1015663"/>
          </a:xfrm>
          <a:prstGeom prst="rect">
            <a:avLst/>
          </a:prstGeom>
        </p:spPr>
        <p:txBody>
          <a:bodyPr wrap="square">
            <a:spAutoFit/>
          </a:bodyPr>
          <a:lstStyle/>
          <a:p>
            <a:pPr marL="285750" indent="-285750">
              <a:buFont typeface="Arial" panose="020B0604020202020204" pitchFamily="34" charset="0"/>
              <a:buChar char="•"/>
            </a:pPr>
            <a:r>
              <a:rPr lang="lt-LT" sz="1200" dirty="0"/>
              <a:t>Dalyvavimas programos “eTwinning” projektuose, pusės respondentų organizacijose padidino dalyvavimą tarptautiniuose projektuose ir/ar bendradarbiavimą su užsenio švietimo institucijomis. </a:t>
            </a:r>
            <a:endParaRPr lang="lt-LT" sz="1200" dirty="0" smtClean="0"/>
          </a:p>
          <a:p>
            <a:pPr marL="285750" indent="-285750">
              <a:buFont typeface="Arial" panose="020B0604020202020204" pitchFamily="34" charset="0"/>
              <a:buChar char="•"/>
            </a:pPr>
            <a:r>
              <a:rPr lang="lt-LT" sz="1200" dirty="0" smtClean="0"/>
              <a:t>beveik </a:t>
            </a:r>
            <a:r>
              <a:rPr lang="lt-LT" sz="1200" dirty="0"/>
              <a:t>pusė respondentų nurodė, kad padidėjo organizacijos žinomumas bei įvaizdis. </a:t>
            </a:r>
            <a:endParaRPr lang="lt-LT" sz="1200" dirty="0" smtClean="0"/>
          </a:p>
          <a:p>
            <a:pPr marL="285750" indent="-285750">
              <a:buFont typeface="Arial" panose="020B0604020202020204" pitchFamily="34" charset="0"/>
              <a:buChar char="•"/>
            </a:pPr>
            <a:r>
              <a:rPr lang="lt-LT" sz="1200" dirty="0" smtClean="0"/>
              <a:t>45 </a:t>
            </a:r>
            <a:r>
              <a:rPr lang="lt-LT" sz="1200" dirty="0"/>
              <a:t>proc. respondentų nurodė, kad dalyvavimas „eTwinning“ programoje </a:t>
            </a:r>
            <a:r>
              <a:rPr lang="lt-LT" sz="1200" dirty="0" smtClean="0"/>
              <a:t>padėjoa </a:t>
            </a:r>
            <a:r>
              <a:rPr lang="lt-LT" sz="1200" dirty="0"/>
              <a:t>padidinti integraciją tarp mokomųjų dalykų ir mokytojų benrdadarbiavimą (40 proc.). </a:t>
            </a:r>
          </a:p>
        </p:txBody>
      </p:sp>
    </p:spTree>
    <p:extLst>
      <p:ext uri="{BB962C8B-B14F-4D97-AF65-F5344CB8AC3E}">
        <p14:creationId xmlns:p14="http://schemas.microsoft.com/office/powerpoint/2010/main" val="32963330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0384" y="224644"/>
            <a:ext cx="8450087" cy="828092"/>
          </a:xfrm>
        </p:spPr>
        <p:txBody>
          <a:bodyPr>
            <a:noAutofit/>
          </a:bodyPr>
          <a:lstStyle/>
          <a:p>
            <a:r>
              <a:rPr lang="lt-LT" sz="2000" b="1" dirty="0">
                <a:solidFill>
                  <a:schemeClr val="tx2">
                    <a:lumMod val="75000"/>
                  </a:schemeClr>
                </a:solidFill>
              </a:rPr>
              <a:t>Vykdant programos „eTwinning“ projektus, administracija buvo įsitraukusi  į pusės (50 proc.) respondentų projektus ir tai padėjo pagerinti bendradarbiavimą su mokytojais ir padidinti jos palaikymą </a:t>
            </a:r>
            <a:r>
              <a:rPr lang="lt-LT" sz="2000" b="1" dirty="0" smtClean="0">
                <a:solidFill>
                  <a:schemeClr val="tx2">
                    <a:lumMod val="75000"/>
                  </a:schemeClr>
                </a:solidFill>
              </a:rPr>
              <a:t>mokytojų </a:t>
            </a:r>
            <a:r>
              <a:rPr lang="lt-LT" sz="2000" b="1" dirty="0">
                <a:solidFill>
                  <a:schemeClr val="tx2">
                    <a:lumMod val="75000"/>
                  </a:schemeClr>
                </a:solidFill>
              </a:rPr>
              <a:t>iniciatyvoms</a:t>
            </a:r>
          </a:p>
        </p:txBody>
      </p:sp>
      <p:pic>
        <p:nvPicPr>
          <p:cNvPr id="109570" name="Picture 2" descr="r"/>
          <p:cNvPicPr>
            <a:picLocks noChangeAspect="1" noChangeArrowheads="1"/>
          </p:cNvPicPr>
          <p:nvPr/>
        </p:nvPicPr>
        <p:blipFill>
          <a:blip r:embed="rId2">
            <a:extLst>
              <a:ext uri="{28A0092B-C50C-407E-A947-70E740481C1C}">
                <a14:useLocalDpi xmlns:a14="http://schemas.microsoft.com/office/drawing/2010/main" val="0"/>
              </a:ext>
            </a:extLst>
          </a:blip>
          <a:srcRect t="13737" b="26808"/>
          <a:stretch>
            <a:fillRect/>
          </a:stretch>
        </p:blipFill>
        <p:spPr bwMode="auto">
          <a:xfrm>
            <a:off x="287524" y="2667000"/>
            <a:ext cx="8316924" cy="3708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288962" y="1219200"/>
            <a:ext cx="8460940" cy="1384995"/>
          </a:xfrm>
          <a:prstGeom prst="rect">
            <a:avLst/>
          </a:prstGeom>
        </p:spPr>
        <p:txBody>
          <a:bodyPr wrap="square">
            <a:spAutoFit/>
          </a:bodyPr>
          <a:lstStyle/>
          <a:p>
            <a:pPr algn="just"/>
            <a:r>
              <a:rPr lang="lt-LT" sz="1200" dirty="0"/>
              <a:t>60 proc. respondentų nurodė, kad po jų projektų, kuriuose buvo įsitraukusi administracija, padidėjo administracijos palaikymas mokytojų </a:t>
            </a:r>
            <a:r>
              <a:rPr lang="lt-LT" sz="1200" dirty="0" smtClean="0"/>
              <a:t>iniciatyvoms</a:t>
            </a:r>
          </a:p>
          <a:p>
            <a:pPr algn="just"/>
            <a:r>
              <a:rPr lang="lt-LT" sz="1200" dirty="0" smtClean="0"/>
              <a:t>75 </a:t>
            </a:r>
            <a:r>
              <a:rPr lang="lt-LT" sz="1200" dirty="0"/>
              <a:t>proc. nurodė, kad pagerėjo bendradabiavimas su </a:t>
            </a:r>
            <a:r>
              <a:rPr lang="lt-LT" sz="1200" dirty="0" smtClean="0"/>
              <a:t>adminisracija;</a:t>
            </a:r>
          </a:p>
          <a:p>
            <a:pPr algn="just"/>
            <a:r>
              <a:rPr lang="lt-LT" sz="1200" dirty="0" smtClean="0"/>
              <a:t>Tuo </a:t>
            </a:r>
            <a:r>
              <a:rPr lang="lt-LT" sz="1200" dirty="0"/>
              <a:t>tarpu tik 25 proc. respondentų, kurių projektuose nebuvo įsitraukusi organizacija, nurodė, kad pagerėjo bendradarbiavimas su administracija ir 40 proc., kad padidėjo adminstracijos palaikymas mokytojų </a:t>
            </a:r>
            <a:r>
              <a:rPr lang="lt-LT" sz="1200" dirty="0" smtClean="0"/>
              <a:t>iniciatyvoms;</a:t>
            </a:r>
          </a:p>
          <a:p>
            <a:pPr algn="just"/>
            <a:r>
              <a:rPr lang="lt-LT" sz="1200" dirty="0" smtClean="0"/>
              <a:t>Taip </a:t>
            </a:r>
            <a:r>
              <a:rPr lang="lt-LT" sz="1200" dirty="0"/>
              <a:t>pat ženkliai didesnė dalis respondentų (75 proc.), į kurių projektus nebuvo įsitraukusi administracija, nurodė kad projekto vykdymas neturėjo poveikio organizacijai. </a:t>
            </a:r>
          </a:p>
        </p:txBody>
      </p:sp>
    </p:spTree>
    <p:extLst>
      <p:ext uri="{BB962C8B-B14F-4D97-AF65-F5344CB8AC3E}">
        <p14:creationId xmlns:p14="http://schemas.microsoft.com/office/powerpoint/2010/main" val="14499474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7</a:t>
            </a:fld>
            <a:endParaRPr lang="lt-LT" dirty="0"/>
          </a:p>
        </p:txBody>
      </p:sp>
      <p:sp>
        <p:nvSpPr>
          <p:cNvPr id="3" name="Title 2"/>
          <p:cNvSpPr>
            <a:spLocks noGrp="1"/>
          </p:cNvSpPr>
          <p:nvPr>
            <p:ph type="title"/>
          </p:nvPr>
        </p:nvSpPr>
        <p:spPr>
          <a:xfrm>
            <a:off x="107504" y="152636"/>
            <a:ext cx="8856984" cy="677399"/>
          </a:xfrm>
        </p:spPr>
        <p:txBody>
          <a:bodyPr>
            <a:noAutofit/>
          </a:bodyPr>
          <a:lstStyle/>
          <a:p>
            <a:r>
              <a:rPr lang="lt-LT" sz="2000" b="1" dirty="0">
                <a:solidFill>
                  <a:schemeClr val="tx2">
                    <a:lumMod val="75000"/>
                  </a:schemeClr>
                </a:solidFill>
              </a:rPr>
              <a:t>Aktyvūs dalyviai:  patikimų partnerių ieškoma per kitus mokytojus; projektus stengiamasi vykdyti minimaliais finansiniais kaštais; profesinio tobulinimosi veiklos naudingos tiesiogiai pabendrauti su partneriais</a:t>
            </a:r>
          </a:p>
        </p:txBody>
      </p:sp>
      <p:sp>
        <p:nvSpPr>
          <p:cNvPr id="5" name="Rectangle 4"/>
          <p:cNvSpPr/>
          <p:nvPr/>
        </p:nvSpPr>
        <p:spPr>
          <a:xfrm>
            <a:off x="258213" y="2384884"/>
            <a:ext cx="1404156" cy="122315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Partnerių paieška</a:t>
            </a:r>
          </a:p>
        </p:txBody>
      </p:sp>
      <p:sp>
        <p:nvSpPr>
          <p:cNvPr id="6" name="Rectangle 5"/>
          <p:cNvSpPr/>
          <p:nvPr/>
        </p:nvSpPr>
        <p:spPr>
          <a:xfrm>
            <a:off x="1770381" y="2392490"/>
            <a:ext cx="7200800" cy="1216530"/>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smtClean="0">
                <a:solidFill>
                  <a:schemeClr val="tx1"/>
                </a:solidFill>
              </a:rPr>
              <a:t>Partnerius dažniausiai prašo rekomenduoti </a:t>
            </a:r>
            <a:r>
              <a:rPr lang="fi-FI" sz="1200" dirty="0" smtClean="0">
                <a:solidFill>
                  <a:schemeClr val="tx1"/>
                </a:solidFill>
              </a:rPr>
              <a:t>kit</a:t>
            </a:r>
            <a:r>
              <a:rPr lang="lt-LT" sz="1200" dirty="0" smtClean="0">
                <a:solidFill>
                  <a:schemeClr val="tx1"/>
                </a:solidFill>
              </a:rPr>
              <a:t>ų</a:t>
            </a:r>
            <a:r>
              <a:rPr lang="fi-FI" sz="1200" dirty="0" smtClean="0">
                <a:solidFill>
                  <a:schemeClr val="tx1"/>
                </a:solidFill>
              </a:rPr>
              <a:t> mokytoj</a:t>
            </a:r>
            <a:r>
              <a:rPr lang="lt-LT" sz="1200" dirty="0" smtClean="0">
                <a:solidFill>
                  <a:schemeClr val="tx1"/>
                </a:solidFill>
              </a:rPr>
              <a:t>ų</a:t>
            </a:r>
            <a:r>
              <a:rPr lang="fi-FI" sz="1200" dirty="0" smtClean="0">
                <a:solidFill>
                  <a:schemeClr val="tx1"/>
                </a:solidFill>
              </a:rPr>
              <a:t> </a:t>
            </a:r>
            <a:r>
              <a:rPr lang="fi-FI" sz="1200" dirty="0">
                <a:solidFill>
                  <a:schemeClr val="tx1"/>
                </a:solidFill>
              </a:rPr>
              <a:t>jau </a:t>
            </a:r>
            <a:r>
              <a:rPr lang="fi-FI" sz="1200" dirty="0" smtClean="0">
                <a:solidFill>
                  <a:schemeClr val="tx1"/>
                </a:solidFill>
              </a:rPr>
              <a:t>vykd</a:t>
            </a:r>
            <a:r>
              <a:rPr lang="lt-LT" sz="1200" dirty="0" smtClean="0">
                <a:solidFill>
                  <a:schemeClr val="tx1"/>
                </a:solidFill>
              </a:rPr>
              <a:t>žiusių</a:t>
            </a:r>
            <a:r>
              <a:rPr lang="fi-FI" sz="1200" dirty="0" smtClean="0">
                <a:solidFill>
                  <a:schemeClr val="tx1"/>
                </a:solidFill>
              </a:rPr>
              <a:t> projektus</a:t>
            </a:r>
            <a:r>
              <a:rPr lang="lt-LT" sz="1200" dirty="0">
                <a:solidFill>
                  <a:schemeClr val="tx1"/>
                </a:solidFill>
              </a:rPr>
              <a:t>, </a:t>
            </a:r>
            <a:r>
              <a:rPr lang="lt-LT" sz="1200" dirty="0" smtClean="0">
                <a:solidFill>
                  <a:schemeClr val="tx1"/>
                </a:solidFill>
              </a:rPr>
              <a:t>kadangi tai </a:t>
            </a:r>
            <a:r>
              <a:rPr lang="lt-LT" sz="1200" dirty="0">
                <a:solidFill>
                  <a:schemeClr val="tx1"/>
                </a:solidFill>
              </a:rPr>
              <a:t>padeda rasti patikimus parnerius, kurie atsakingai ir iki galo dalyvaus </a:t>
            </a:r>
            <a:r>
              <a:rPr lang="lt-LT" sz="1200" dirty="0" smtClean="0">
                <a:solidFill>
                  <a:schemeClr val="tx1"/>
                </a:solidFill>
              </a:rPr>
              <a:t>projekte;</a:t>
            </a:r>
          </a:p>
          <a:p>
            <a:pPr marL="171450" indent="-171450">
              <a:buFont typeface="Arial" panose="020B0604020202020204" pitchFamily="34" charset="0"/>
              <a:buChar char="•"/>
            </a:pPr>
            <a:r>
              <a:rPr lang="lt-LT" sz="1200" dirty="0">
                <a:solidFill>
                  <a:schemeClr val="tx1"/>
                </a:solidFill>
              </a:rPr>
              <a:t>informantai nurodė, kad </a:t>
            </a:r>
            <a:r>
              <a:rPr lang="lt-LT" sz="1200" dirty="0" smtClean="0">
                <a:solidFill>
                  <a:schemeClr val="tx1"/>
                </a:solidFill>
              </a:rPr>
              <a:t>kitiems projektams neieško </a:t>
            </a:r>
            <a:r>
              <a:rPr lang="lt-LT" sz="1200" dirty="0">
                <a:solidFill>
                  <a:schemeClr val="tx1"/>
                </a:solidFill>
              </a:rPr>
              <a:t>naujų partnerių, o dažnai </a:t>
            </a:r>
            <a:r>
              <a:rPr lang="lt-LT" sz="1200" dirty="0" smtClean="0">
                <a:solidFill>
                  <a:schemeClr val="tx1"/>
                </a:solidFill>
              </a:rPr>
              <a:t>vykdo </a:t>
            </a:r>
            <a:r>
              <a:rPr lang="lt-LT" sz="1200" dirty="0">
                <a:solidFill>
                  <a:schemeClr val="tx1"/>
                </a:solidFill>
              </a:rPr>
              <a:t>su tais pačiai </a:t>
            </a:r>
            <a:r>
              <a:rPr lang="lt-LT" sz="1200" dirty="0" smtClean="0">
                <a:solidFill>
                  <a:schemeClr val="tx1"/>
                </a:solidFill>
              </a:rPr>
              <a:t>partneriais;</a:t>
            </a:r>
          </a:p>
          <a:p>
            <a:pPr marL="171450" indent="-171450">
              <a:buFont typeface="Arial" panose="020B0604020202020204" pitchFamily="34" charset="0"/>
              <a:buChar char="•"/>
            </a:pPr>
            <a:r>
              <a:rPr lang="lt-LT" sz="1200" dirty="0">
                <a:solidFill>
                  <a:schemeClr val="tx1"/>
                </a:solidFill>
              </a:rPr>
              <a:t>susirasti partneriams itin naudingi yra seminarai, kadangi jų metu galima gyvai pabendrauti su kitais mokytojais ir aptarti projektų įdėjas, kad yra greičiau ir paprasčiau nei naudojantis </a:t>
            </a:r>
            <a:r>
              <a:rPr lang="lt-LT" sz="1200" dirty="0" smtClean="0">
                <a:solidFill>
                  <a:schemeClr val="tx1"/>
                </a:solidFill>
              </a:rPr>
              <a:t>platforma;</a:t>
            </a:r>
          </a:p>
          <a:p>
            <a:pPr marL="171450" indent="-171450">
              <a:buFont typeface="Arial" panose="020B0604020202020204" pitchFamily="34" charset="0"/>
              <a:buChar char="•"/>
            </a:pPr>
            <a:r>
              <a:rPr lang="lt-LT" sz="1200" dirty="0">
                <a:solidFill>
                  <a:schemeClr val="tx1"/>
                </a:solidFill>
              </a:rPr>
              <a:t>iš pradžių jie prisijungė prie jau sukurtų projektų, nes iš karto patiems kurti atrodė sudėtinga. </a:t>
            </a:r>
            <a:endParaRPr lang="lt-LT" sz="1200" dirty="0" smtClean="0">
              <a:solidFill>
                <a:schemeClr val="tx1"/>
              </a:solidFill>
            </a:endParaRPr>
          </a:p>
        </p:txBody>
      </p:sp>
      <p:sp>
        <p:nvSpPr>
          <p:cNvPr id="7" name="Rectangle 6"/>
          <p:cNvSpPr/>
          <p:nvPr/>
        </p:nvSpPr>
        <p:spPr>
          <a:xfrm>
            <a:off x="251520" y="1009126"/>
            <a:ext cx="1404156" cy="12308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Informacijos apie programą „eTwinning“ </a:t>
            </a:r>
            <a:r>
              <a:rPr lang="lt-LT" sz="1200" b="1" dirty="0" smtClean="0"/>
              <a:t>sklaida</a:t>
            </a:r>
            <a:endParaRPr lang="lt-LT" sz="1200" b="1" dirty="0"/>
          </a:p>
        </p:txBody>
      </p:sp>
      <p:sp>
        <p:nvSpPr>
          <p:cNvPr id="8" name="Rectangle 7"/>
          <p:cNvSpPr/>
          <p:nvPr/>
        </p:nvSpPr>
        <p:spPr>
          <a:xfrm>
            <a:off x="1763688" y="1016732"/>
            <a:ext cx="7200800" cy="122413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pagrindiniai informacijos apie programą šaltiniai yra internetas, seminarai ir kiti </a:t>
            </a:r>
            <a:r>
              <a:rPr lang="lt-LT" sz="1200" dirty="0" smtClean="0">
                <a:solidFill>
                  <a:schemeClr val="tx1"/>
                </a:solidFill>
              </a:rPr>
              <a:t>mokytojai;</a:t>
            </a:r>
          </a:p>
          <a:p>
            <a:pPr marL="171450" indent="-171450">
              <a:buFont typeface="Arial" panose="020B0604020202020204" pitchFamily="34" charset="0"/>
              <a:buChar char="•"/>
            </a:pPr>
            <a:r>
              <a:rPr lang="lt-LT" sz="1200" dirty="0">
                <a:solidFill>
                  <a:schemeClr val="tx1"/>
                </a:solidFill>
              </a:rPr>
              <a:t>programą internete rado ieškodami projektų mokiniams ir susidomėjo, nes dalyvavimas joje yra </a:t>
            </a:r>
            <a:r>
              <a:rPr lang="lt-LT" sz="1200" dirty="0" smtClean="0">
                <a:solidFill>
                  <a:schemeClr val="tx1"/>
                </a:solidFill>
              </a:rPr>
              <a:t>nemokamas;</a:t>
            </a:r>
          </a:p>
          <a:p>
            <a:pPr marL="171450" indent="-171450">
              <a:buFont typeface="Arial" panose="020B0604020202020204" pitchFamily="34" charset="0"/>
              <a:buChar char="•"/>
            </a:pPr>
            <a:r>
              <a:rPr lang="lt-LT" sz="1200" dirty="0">
                <a:solidFill>
                  <a:schemeClr val="tx1"/>
                </a:solidFill>
              </a:rPr>
              <a:t>svarbus sklaidos būdas yra kiti mokytojai. Dalis informantų nurodė, kad užsiregistravo, nes sudomino tai ką veikia kiti </a:t>
            </a:r>
            <a:r>
              <a:rPr lang="lt-LT" sz="1200" dirty="0" smtClean="0">
                <a:solidFill>
                  <a:schemeClr val="tx1"/>
                </a:solidFill>
              </a:rPr>
              <a:t>mokytojai;</a:t>
            </a:r>
          </a:p>
          <a:p>
            <a:pPr marL="171450" indent="-171450">
              <a:buFont typeface="Arial" panose="020B0604020202020204" pitchFamily="34" charset="0"/>
              <a:buChar char="•"/>
            </a:pPr>
            <a:r>
              <a:rPr lang="lt-LT" sz="1200" dirty="0" smtClean="0">
                <a:solidFill>
                  <a:schemeClr val="tx1"/>
                </a:solidFill>
              </a:rPr>
              <a:t> </a:t>
            </a:r>
            <a:r>
              <a:rPr lang="lt-LT" sz="1200" dirty="0">
                <a:solidFill>
                  <a:schemeClr val="tx1"/>
                </a:solidFill>
              </a:rPr>
              <a:t>Informantai, taip pat nuorodė, kad ir patys dažnai pasakoja kitiems mokytojams apie vykdomus projektus, skatina juos užsiregistruoti.</a:t>
            </a:r>
          </a:p>
        </p:txBody>
      </p:sp>
      <p:sp>
        <p:nvSpPr>
          <p:cNvPr id="9" name="Rectangle 8"/>
          <p:cNvSpPr/>
          <p:nvPr/>
        </p:nvSpPr>
        <p:spPr>
          <a:xfrm>
            <a:off x="250201" y="3753036"/>
            <a:ext cx="1404156" cy="1158518"/>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Finansiniai ištekliai</a:t>
            </a:r>
          </a:p>
        </p:txBody>
      </p:sp>
      <p:sp>
        <p:nvSpPr>
          <p:cNvPr id="10" name="Rectangle 9"/>
          <p:cNvSpPr/>
          <p:nvPr/>
        </p:nvSpPr>
        <p:spPr>
          <a:xfrm>
            <a:off x="1762369" y="3760642"/>
            <a:ext cx="7200800" cy="1150912"/>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smtClean="0">
                <a:solidFill>
                  <a:schemeClr val="tx1"/>
                </a:solidFill>
              </a:rPr>
              <a:t>Stengiamasi </a:t>
            </a:r>
            <a:r>
              <a:rPr lang="lt-LT" sz="1200" dirty="0">
                <a:solidFill>
                  <a:schemeClr val="tx1"/>
                </a:solidFill>
              </a:rPr>
              <a:t>projektus vykdyti taip kad nereikėtų finansinių išteklių;</a:t>
            </a:r>
          </a:p>
          <a:p>
            <a:pPr marL="171450" indent="-171450">
              <a:buFont typeface="Arial" panose="020B0604020202020204" pitchFamily="34" charset="0"/>
              <a:buChar char="•"/>
            </a:pPr>
            <a:r>
              <a:rPr lang="lt-LT" sz="1200" dirty="0" smtClean="0">
                <a:solidFill>
                  <a:schemeClr val="tx1"/>
                </a:solidFill>
              </a:rPr>
              <a:t>Stengiasi </a:t>
            </a:r>
            <a:r>
              <a:rPr lang="lt-LT" sz="1200" dirty="0">
                <a:solidFill>
                  <a:schemeClr val="tx1"/>
                </a:solidFill>
              </a:rPr>
              <a:t>kad finansinių išteklių reikėtų kuo mažiau ir juos dažnai suteikia pats mokytojas;</a:t>
            </a:r>
          </a:p>
          <a:p>
            <a:pPr marL="171450" indent="-171450">
              <a:buFont typeface="Arial" panose="020B0604020202020204" pitchFamily="34" charset="0"/>
              <a:buChar char="•"/>
            </a:pPr>
            <a:r>
              <a:rPr lang="lt-LT" sz="1200" dirty="0" smtClean="0">
                <a:solidFill>
                  <a:schemeClr val="tx1"/>
                </a:solidFill>
              </a:rPr>
              <a:t>naudojami </a:t>
            </a:r>
            <a:r>
              <a:rPr lang="lt-LT" sz="1200" dirty="0">
                <a:solidFill>
                  <a:schemeClr val="tx1"/>
                </a:solidFill>
              </a:rPr>
              <a:t>mokyklos ištekliai;</a:t>
            </a:r>
          </a:p>
          <a:p>
            <a:pPr marL="171450" indent="-171450">
              <a:buFont typeface="Arial" panose="020B0604020202020204" pitchFamily="34" charset="0"/>
              <a:buChar char="•"/>
            </a:pPr>
            <a:r>
              <a:rPr lang="lt-LT" sz="1200" dirty="0" smtClean="0">
                <a:solidFill>
                  <a:schemeClr val="tx1"/>
                </a:solidFill>
              </a:rPr>
              <a:t>prisideda </a:t>
            </a:r>
            <a:r>
              <a:rPr lang="lt-LT" sz="1200" dirty="0">
                <a:solidFill>
                  <a:schemeClr val="tx1"/>
                </a:solidFill>
              </a:rPr>
              <a:t>tėvai;</a:t>
            </a:r>
          </a:p>
          <a:p>
            <a:pPr marL="171450" indent="-171450">
              <a:buFont typeface="Arial" panose="020B0604020202020204" pitchFamily="34" charset="0"/>
              <a:buChar char="•"/>
            </a:pPr>
            <a:r>
              <a:rPr lang="lt-LT" sz="1200" dirty="0">
                <a:solidFill>
                  <a:schemeClr val="tx1"/>
                </a:solidFill>
              </a:rPr>
              <a:t>k</a:t>
            </a:r>
            <a:r>
              <a:rPr lang="lt-LT" sz="1200" dirty="0" smtClean="0">
                <a:solidFill>
                  <a:schemeClr val="tx1"/>
                </a:solidFill>
              </a:rPr>
              <a:t>ai </a:t>
            </a:r>
            <a:r>
              <a:rPr lang="lt-LT" sz="1200" dirty="0">
                <a:solidFill>
                  <a:schemeClr val="tx1"/>
                </a:solidFill>
              </a:rPr>
              <a:t>kurios mokyklos turi eTwinning </a:t>
            </a:r>
            <a:r>
              <a:rPr lang="lt-LT" sz="1200" dirty="0" smtClean="0">
                <a:solidFill>
                  <a:schemeClr val="tx1"/>
                </a:solidFill>
              </a:rPr>
              <a:t>krepšelį;</a:t>
            </a:r>
            <a:endParaRPr lang="lt-LT" sz="1200" dirty="0">
              <a:solidFill>
                <a:schemeClr val="tx1"/>
              </a:solidFill>
            </a:endParaRPr>
          </a:p>
          <a:p>
            <a:pPr marL="171450" indent="-171450">
              <a:buFont typeface="Arial" panose="020B0604020202020204" pitchFamily="34" charset="0"/>
              <a:buChar char="•"/>
            </a:pPr>
            <a:r>
              <a:rPr lang="lt-LT" sz="1200" dirty="0" smtClean="0">
                <a:solidFill>
                  <a:schemeClr val="tx1"/>
                </a:solidFill>
              </a:rPr>
              <a:t>prisideda </a:t>
            </a:r>
            <a:r>
              <a:rPr lang="lt-LT" sz="1200" dirty="0">
                <a:solidFill>
                  <a:schemeClr val="tx1"/>
                </a:solidFill>
              </a:rPr>
              <a:t>vietos valdžia.</a:t>
            </a:r>
          </a:p>
        </p:txBody>
      </p:sp>
      <p:sp>
        <p:nvSpPr>
          <p:cNvPr id="12" name="Rectangle 11"/>
          <p:cNvSpPr/>
          <p:nvPr/>
        </p:nvSpPr>
        <p:spPr>
          <a:xfrm>
            <a:off x="258213" y="5047964"/>
            <a:ext cx="1404156" cy="11946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Profesinio tobulinimosi </a:t>
            </a:r>
            <a:r>
              <a:rPr lang="lt-LT" sz="1200" b="1" dirty="0" smtClean="0"/>
              <a:t>veiklos</a:t>
            </a:r>
            <a:endParaRPr lang="lt-LT" sz="1200" b="1" dirty="0"/>
          </a:p>
        </p:txBody>
      </p:sp>
      <p:sp>
        <p:nvSpPr>
          <p:cNvPr id="13" name="Rectangle 12"/>
          <p:cNvSpPr/>
          <p:nvPr/>
        </p:nvSpPr>
        <p:spPr>
          <a:xfrm>
            <a:off x="1770381" y="5055570"/>
            <a:ext cx="7200800" cy="1188132"/>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profesinio tobulinimosi seminarai yra naudingi gauti atsakymus į rūpimus klausimus bei sužinoti apie platformos </a:t>
            </a:r>
            <a:r>
              <a:rPr lang="lt-LT" sz="1200" dirty="0" smtClean="0">
                <a:solidFill>
                  <a:schemeClr val="tx1"/>
                </a:solidFill>
              </a:rPr>
              <a:t>pasikeitimus;</a:t>
            </a:r>
          </a:p>
          <a:p>
            <a:pPr marL="171450" indent="-171450">
              <a:buFont typeface="Arial" panose="020B0604020202020204" pitchFamily="34" charset="0"/>
              <a:buChar char="•"/>
            </a:pPr>
            <a:r>
              <a:rPr lang="lt-LT" sz="1200" dirty="0">
                <a:solidFill>
                  <a:schemeClr val="tx1"/>
                </a:solidFill>
              </a:rPr>
              <a:t>atkreiptas dėmesys, kad kartais seminarai yra skirti tik pradedantiems vartotojams taigi nėra naudingi jau pažengusiems ir pasiūlyta seminarus suskirstyti į kelis lygius (pvz. pradedantiems, pažengusiems</a:t>
            </a:r>
            <a:r>
              <a:rPr lang="lt-LT" sz="1200" dirty="0" smtClean="0">
                <a:solidFill>
                  <a:schemeClr val="tx1"/>
                </a:solidFill>
              </a:rPr>
              <a:t>);</a:t>
            </a:r>
          </a:p>
          <a:p>
            <a:pPr marL="171450" indent="-171450">
              <a:buFont typeface="Arial" panose="020B0604020202020204" pitchFamily="34" charset="0"/>
              <a:buChar char="•"/>
            </a:pPr>
            <a:r>
              <a:rPr lang="lt-LT" sz="1200" dirty="0" smtClean="0">
                <a:solidFill>
                  <a:schemeClr val="tx1"/>
                </a:solidFill>
              </a:rPr>
              <a:t>Seminaruose dalyvauja kadangi jie </a:t>
            </a:r>
            <a:r>
              <a:rPr lang="lt-LT" sz="1200" dirty="0">
                <a:solidFill>
                  <a:schemeClr val="tx1"/>
                </a:solidFill>
              </a:rPr>
              <a:t>yra puiki galimybė gyvai pabendrauti  ir pasitartis su parneriais bei suirasti naujų patnerių. </a:t>
            </a:r>
            <a:endParaRPr lang="lt-LT" sz="1200" dirty="0" smtClean="0">
              <a:solidFill>
                <a:schemeClr val="tx1"/>
              </a:solidFill>
            </a:endParaRPr>
          </a:p>
        </p:txBody>
      </p:sp>
    </p:spTree>
    <p:extLst>
      <p:ext uri="{BB962C8B-B14F-4D97-AF65-F5344CB8AC3E}">
        <p14:creationId xmlns:p14="http://schemas.microsoft.com/office/powerpoint/2010/main" val="14711605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8</a:t>
            </a:fld>
            <a:endParaRPr lang="lt-LT" dirty="0"/>
          </a:p>
        </p:txBody>
      </p:sp>
      <p:sp>
        <p:nvSpPr>
          <p:cNvPr id="3" name="Title 2"/>
          <p:cNvSpPr>
            <a:spLocks noGrp="1"/>
          </p:cNvSpPr>
          <p:nvPr>
            <p:ph type="title"/>
          </p:nvPr>
        </p:nvSpPr>
        <p:spPr>
          <a:xfrm>
            <a:off x="107504" y="195317"/>
            <a:ext cx="9036496" cy="795283"/>
          </a:xfrm>
        </p:spPr>
        <p:txBody>
          <a:bodyPr>
            <a:noAutofit/>
          </a:bodyPr>
          <a:lstStyle/>
          <a:p>
            <a:r>
              <a:rPr lang="lt-LT" sz="2000" b="1" dirty="0">
                <a:solidFill>
                  <a:schemeClr val="tx2">
                    <a:lumMod val="75000"/>
                  </a:schemeClr>
                </a:solidFill>
              </a:rPr>
              <a:t>Informantų įvardintą „eTwinning“ projektų vykdymo naudą mokytojams galima suskistyti į dvi pagrindines grupes – pagerintos mokytojo kompetencijos ir įgudžiai bei buvimo tarptautinės mokytojų bendruomenės nauda</a:t>
            </a:r>
          </a:p>
        </p:txBody>
      </p:sp>
      <p:graphicFrame>
        <p:nvGraphicFramePr>
          <p:cNvPr id="5" name="Table 4"/>
          <p:cNvGraphicFramePr>
            <a:graphicFrameLocks noGrp="1"/>
          </p:cNvGraphicFramePr>
          <p:nvPr>
            <p:extLst>
              <p:ext uri="{D42A27DB-BD31-4B8C-83A1-F6EECF244321}">
                <p14:modId xmlns:p14="http://schemas.microsoft.com/office/powerpoint/2010/main" val="2693965402"/>
              </p:ext>
            </p:extLst>
          </p:nvPr>
        </p:nvGraphicFramePr>
        <p:xfrm>
          <a:off x="215516" y="1710464"/>
          <a:ext cx="8676964" cy="4274820"/>
        </p:xfrm>
        <a:graphic>
          <a:graphicData uri="http://schemas.openxmlformats.org/drawingml/2006/table">
            <a:tbl>
              <a:tblPr firstRow="1">
                <a:tableStyleId>{5C22544A-7EE6-4342-B048-85BDC9FD1C3A}</a:tableStyleId>
              </a:tblPr>
              <a:tblGrid>
                <a:gridCol w="2964082"/>
                <a:gridCol w="2861546"/>
                <a:gridCol w="2851336"/>
              </a:tblGrid>
              <a:tr h="328808">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intos kompetencijos ir įgudžiai</a:t>
                      </a:r>
                      <a:endParaRPr lang="lt-LT" sz="1100" dirty="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Tapo tarptautinės mokytojų bendruomenės dalimi </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Kita</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gerinti projektų, laiko ir žmogiškųjų išteklių valdymo įgudžiai</a:t>
                      </a:r>
                    </a:p>
                    <a:p>
                      <a:pPr marL="342900" lvl="0" indent="-342900" algn="l">
                        <a:lnSpc>
                          <a:spcPct val="150000"/>
                        </a:lnSpc>
                        <a:spcAft>
                          <a:spcPts val="0"/>
                        </a:spcAft>
                        <a:buFont typeface="Symbol"/>
                        <a:buChar char=""/>
                      </a:pPr>
                      <a:r>
                        <a:rPr lang="lt-LT" sz="1100" dirty="0">
                          <a:effectLst/>
                          <a:latin typeface="Calibri"/>
                          <a:ea typeface="Calibri"/>
                          <a:cs typeface="Arial"/>
                        </a:rPr>
                        <a:t>Pagerintos užsienio kalbų žinios (tiek mokytojų dėstančių užsienio kalbas tiek kitus dalykus);</a:t>
                      </a:r>
                    </a:p>
                    <a:p>
                      <a:pPr marL="342900" lvl="0" indent="-342900" algn="l">
                        <a:lnSpc>
                          <a:spcPct val="150000"/>
                        </a:lnSpc>
                        <a:spcAft>
                          <a:spcPts val="0"/>
                        </a:spcAft>
                        <a:buFont typeface="Symbol"/>
                        <a:buChar char=""/>
                      </a:pPr>
                      <a:r>
                        <a:rPr lang="lt-LT" sz="1100" dirty="0">
                          <a:effectLst/>
                          <a:latin typeface="Calibri"/>
                          <a:ea typeface="Calibri"/>
                          <a:cs typeface="Arial"/>
                        </a:rPr>
                        <a:t>Išmokti nauji mokymo metodai;</a:t>
                      </a:r>
                    </a:p>
                    <a:p>
                      <a:pPr marL="342900" lvl="0" indent="-342900" algn="l">
                        <a:lnSpc>
                          <a:spcPct val="150000"/>
                        </a:lnSpc>
                        <a:spcAft>
                          <a:spcPts val="0"/>
                        </a:spcAft>
                        <a:buFont typeface="Symbol"/>
                        <a:buChar char=""/>
                      </a:pPr>
                      <a:r>
                        <a:rPr lang="lt-LT" sz="1100" dirty="0">
                          <a:effectLst/>
                          <a:latin typeface="Calibri"/>
                          <a:ea typeface="Calibri"/>
                          <a:cs typeface="Arial"/>
                        </a:rPr>
                        <a:t>Pagerinti mokymo įgudžiai;</a:t>
                      </a:r>
                    </a:p>
                    <a:p>
                      <a:pPr marL="342900" lvl="0" indent="-342900" algn="l">
                        <a:lnSpc>
                          <a:spcPct val="150000"/>
                        </a:lnSpc>
                        <a:spcAft>
                          <a:spcPts val="0"/>
                        </a:spcAft>
                        <a:buFont typeface="Symbol"/>
                        <a:buChar char=""/>
                      </a:pPr>
                      <a:r>
                        <a:rPr lang="lt-LT" sz="1100" dirty="0">
                          <a:effectLst/>
                          <a:latin typeface="Calibri"/>
                          <a:ea typeface="Calibri"/>
                          <a:cs typeface="Arial"/>
                        </a:rPr>
                        <a:t>Pagerinti naudojimosi IKT įgudžiai;</a:t>
                      </a:r>
                    </a:p>
                    <a:p>
                      <a:pPr marL="342900" lvl="0" indent="-342900" algn="l">
                        <a:lnSpc>
                          <a:spcPct val="150000"/>
                        </a:lnSpc>
                        <a:spcAft>
                          <a:spcPts val="0"/>
                        </a:spcAft>
                        <a:buFont typeface="Symbol"/>
                        <a:buChar char=""/>
                      </a:pPr>
                      <a:r>
                        <a:rPr lang="lt-LT" sz="1100" dirty="0">
                          <a:effectLst/>
                          <a:latin typeface="Calibri"/>
                          <a:ea typeface="Calibri"/>
                          <a:cs typeface="Arial"/>
                        </a:rPr>
                        <a:t>Pagerinti bendradarbiavimo ir komunikacijos įgudžiai;</a:t>
                      </a:r>
                    </a:p>
                    <a:p>
                      <a:pPr marL="342900" lvl="0" indent="-342900" algn="l">
                        <a:lnSpc>
                          <a:spcPct val="150000"/>
                        </a:lnSpc>
                        <a:spcAft>
                          <a:spcPts val="0"/>
                        </a:spcAft>
                        <a:buFont typeface="Symbol"/>
                        <a:buChar char=""/>
                      </a:pPr>
                      <a:r>
                        <a:rPr lang="lt-LT" sz="1100" dirty="0">
                          <a:effectLst/>
                          <a:latin typeface="Calibri"/>
                          <a:ea typeface="Calibri"/>
                          <a:cs typeface="Arial"/>
                        </a:rPr>
                        <a:t>Pagilintos profesinės (dėstomo dalyko) žinios;</a:t>
                      </a:r>
                    </a:p>
                    <a:p>
                      <a:pPr marL="342900" lvl="0" indent="-342900" algn="l">
                        <a:lnSpc>
                          <a:spcPct val="150000"/>
                        </a:lnSpc>
                        <a:spcAft>
                          <a:spcPts val="0"/>
                        </a:spcAft>
                        <a:buFont typeface="Symbol"/>
                        <a:buChar char=""/>
                      </a:pPr>
                      <a:r>
                        <a:rPr lang="lt-LT" sz="1100" dirty="0">
                          <a:effectLst/>
                          <a:latin typeface="Calibri"/>
                          <a:ea typeface="Calibri"/>
                          <a:cs typeface="Arial"/>
                        </a:rPr>
                        <a:t>Pradėti naudoti nauji/įvairesni mokymo metodai;</a:t>
                      </a:r>
                    </a:p>
                    <a:p>
                      <a:pPr marL="342900" lvl="0" indent="-342900" algn="l">
                        <a:lnSpc>
                          <a:spcPct val="150000"/>
                        </a:lnSpc>
                        <a:spcAft>
                          <a:spcPts val="0"/>
                        </a:spcAft>
                        <a:buFont typeface="Symbol"/>
                        <a:buChar char=""/>
                      </a:pPr>
                      <a:r>
                        <a:rPr lang="lt-LT" sz="1100" dirty="0">
                          <a:effectLst/>
                          <a:latin typeface="Calibri"/>
                          <a:ea typeface="Calibri"/>
                          <a:cs typeface="Arial"/>
                        </a:rPr>
                        <a:t>IKT pradėtos dažniau naudoti pamokose.</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ėjo susirasti naujų partnerių ir draugų;</a:t>
                      </a:r>
                    </a:p>
                    <a:p>
                      <a:pPr marL="342900" lvl="0" indent="-342900" algn="l">
                        <a:lnSpc>
                          <a:spcPct val="150000"/>
                        </a:lnSpc>
                        <a:spcAft>
                          <a:spcPts val="0"/>
                        </a:spcAft>
                        <a:buFont typeface="Symbol"/>
                        <a:buChar char=""/>
                      </a:pPr>
                      <a:r>
                        <a:rPr lang="lt-LT" sz="1100" dirty="0">
                          <a:effectLst/>
                          <a:latin typeface="Calibri"/>
                          <a:ea typeface="Calibri"/>
                          <a:cs typeface="Arial"/>
                        </a:rPr>
                        <a:t>Pagerintos žinios apie partnerių šalį ir jų kultūrą;</a:t>
                      </a:r>
                    </a:p>
                    <a:p>
                      <a:pPr marL="342900" lvl="0" indent="-342900" algn="l">
                        <a:lnSpc>
                          <a:spcPct val="150000"/>
                        </a:lnSpc>
                        <a:spcAft>
                          <a:spcPts val="0"/>
                        </a:spcAft>
                        <a:buFont typeface="Symbol"/>
                        <a:buChar char=""/>
                      </a:pPr>
                      <a:r>
                        <a:rPr lang="lt-LT" sz="1100" dirty="0">
                          <a:effectLst/>
                          <a:latin typeface="Calibri"/>
                          <a:ea typeface="Calibri"/>
                          <a:cs typeface="Arial"/>
                        </a:rPr>
                        <a:t>Galimybė palyginti save su mokytojais užsienyje suteikė didesnį pasitikėjimą savo jėgomis (ypač mokytojams dirbantiems kaimo vietovėse, kurie turi mažiau galimybių benrauti su kitais mokytojais);</a:t>
                      </a:r>
                    </a:p>
                    <a:p>
                      <a:pPr marL="342900" lvl="0" indent="-342900" algn="l">
                        <a:lnSpc>
                          <a:spcPct val="150000"/>
                        </a:lnSpc>
                        <a:spcAft>
                          <a:spcPts val="0"/>
                        </a:spcAft>
                        <a:buFont typeface="Symbol"/>
                        <a:buChar char=""/>
                      </a:pPr>
                      <a:r>
                        <a:rPr lang="lt-LT" sz="1100" dirty="0">
                          <a:effectLst/>
                          <a:latin typeface="Calibri"/>
                          <a:ea typeface="Calibri"/>
                          <a:cs typeface="Arial"/>
                        </a:rPr>
                        <a:t>Suteikė galimybę pasimokyti iš užsienio mokytojų, </a:t>
                      </a:r>
                      <a:r>
                        <a:rPr lang="lt-LT" sz="1100" dirty="0" smtClean="0">
                          <a:effectLst/>
                          <a:latin typeface="Calibri"/>
                          <a:ea typeface="Calibri"/>
                          <a:cs typeface="Arial"/>
                        </a:rPr>
                        <a:t>pasikeisti patirtimi</a:t>
                      </a:r>
                      <a:r>
                        <a:rPr lang="lt-LT" sz="1100" dirty="0">
                          <a:effectLst/>
                          <a:latin typeface="Calibri"/>
                          <a:ea typeface="Calibri"/>
                          <a:cs typeface="Arial"/>
                        </a:rPr>
                        <a:t>;</a:t>
                      </a:r>
                    </a:p>
                    <a:p>
                      <a:pPr marL="342900" lvl="0" indent="-342900" algn="l">
                        <a:lnSpc>
                          <a:spcPct val="150000"/>
                        </a:lnSpc>
                        <a:spcAft>
                          <a:spcPts val="0"/>
                        </a:spcAft>
                        <a:buFont typeface="Symbol"/>
                        <a:buChar char=""/>
                      </a:pPr>
                      <a:r>
                        <a:rPr lang="lt-LT" sz="1100" dirty="0">
                          <a:effectLst/>
                          <a:latin typeface="Calibri"/>
                          <a:ea typeface="Calibri"/>
                          <a:cs typeface="Arial"/>
                        </a:rPr>
                        <a:t>Leido pasijusti, kad priklausome Europai ir esame ne prastesni už kitu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Buvo naudinga keliant savo kvalifikaciją (atestuojantis); </a:t>
                      </a:r>
                    </a:p>
                    <a:p>
                      <a:pPr marL="342900" lvl="0" indent="-342900" algn="l">
                        <a:lnSpc>
                          <a:spcPct val="150000"/>
                        </a:lnSpc>
                        <a:spcAft>
                          <a:spcPts val="0"/>
                        </a:spcAft>
                        <a:buFont typeface="Symbol"/>
                        <a:buChar char=""/>
                      </a:pPr>
                      <a:r>
                        <a:rPr lang="lt-LT" sz="1100" dirty="0">
                          <a:effectLst/>
                          <a:latin typeface="Calibri"/>
                          <a:ea typeface="Calibri"/>
                          <a:cs typeface="Arial"/>
                        </a:rPr>
                        <a:t>Įvykdžius taptautinį projektą atsirado daugiau drąsos įgyvendinti savo idėjas;</a:t>
                      </a:r>
                    </a:p>
                    <a:p>
                      <a:pPr marL="342900" lvl="0" indent="-342900" algn="l">
                        <a:lnSpc>
                          <a:spcPct val="150000"/>
                        </a:lnSpc>
                        <a:spcAft>
                          <a:spcPts val="0"/>
                        </a:spcAft>
                        <a:buFont typeface="Symbol"/>
                        <a:buChar char=""/>
                      </a:pPr>
                      <a:r>
                        <a:rPr lang="lt-LT" sz="1100" dirty="0">
                          <a:effectLst/>
                          <a:latin typeface="Calibri"/>
                          <a:ea typeface="Calibri"/>
                          <a:cs typeface="Arial"/>
                        </a:rPr>
                        <a:t>Suteikia laisvę mokytis ir įgyvendinti savo idėjas;</a:t>
                      </a:r>
                    </a:p>
                    <a:p>
                      <a:pPr marL="342900" lvl="0" indent="-342900" algn="l">
                        <a:lnSpc>
                          <a:spcPct val="150000"/>
                        </a:lnSpc>
                        <a:spcAft>
                          <a:spcPts val="0"/>
                        </a:spcAft>
                        <a:buFont typeface="Symbol"/>
                        <a:buChar char=""/>
                      </a:pPr>
                      <a:r>
                        <a:rPr lang="lt-LT" sz="1100" dirty="0">
                          <a:effectLst/>
                          <a:latin typeface="Calibri"/>
                          <a:ea typeface="Calibri"/>
                          <a:cs typeface="Arial"/>
                        </a:rPr>
                        <a:t>Gavo įvertinimą (pagyrimą) iš mokyklos adminstracijos;</a:t>
                      </a:r>
                    </a:p>
                    <a:p>
                      <a:pPr marL="342900" lvl="0" indent="-342900" algn="l">
                        <a:lnSpc>
                          <a:spcPct val="150000"/>
                        </a:lnSpc>
                        <a:spcAft>
                          <a:spcPts val="0"/>
                        </a:spcAft>
                        <a:buFont typeface="Symbol"/>
                        <a:buChar char=""/>
                      </a:pPr>
                      <a:r>
                        <a:rPr lang="lt-LT" sz="1100" dirty="0">
                          <a:effectLst/>
                          <a:latin typeface="Calibri"/>
                          <a:ea typeface="Calibri"/>
                          <a:cs typeface="Arial"/>
                        </a:rPr>
                        <a:t>Projektų vykdymas paskatino ieškoti naujų mokymo metodų, būdų kaip pamokas padaryti labiau netradicines</a:t>
                      </a:r>
                    </a:p>
                    <a:p>
                      <a:pPr marL="342900" lvl="0" indent="-342900" algn="l">
                        <a:lnSpc>
                          <a:spcPct val="150000"/>
                        </a:lnSpc>
                        <a:spcAft>
                          <a:spcPts val="0"/>
                        </a:spcAft>
                        <a:buFont typeface="Symbol"/>
                        <a:buChar char=""/>
                      </a:pPr>
                      <a:r>
                        <a:rPr lang="lt-LT" sz="1100" dirty="0">
                          <a:effectLst/>
                          <a:latin typeface="Calibri"/>
                          <a:ea typeface="Calibri"/>
                          <a:cs typeface="Arial"/>
                        </a:rPr>
                        <a:t>Padėjo susirasti partnerių Commenius projektam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6" name="Rectangle 5"/>
          <p:cNvSpPr/>
          <p:nvPr/>
        </p:nvSpPr>
        <p:spPr>
          <a:xfrm>
            <a:off x="251520" y="1096346"/>
            <a:ext cx="8604956" cy="5324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lt-LT" sz="1200" i="1" dirty="0">
                <a:solidFill>
                  <a:schemeClr val="accent1">
                    <a:lumMod val="50000"/>
                  </a:schemeClr>
                </a:solidFill>
              </a:rPr>
              <a:t>I</a:t>
            </a:r>
            <a:r>
              <a:rPr lang="lt-LT" sz="1200" i="1" dirty="0" smtClean="0">
                <a:solidFill>
                  <a:schemeClr val="accent1">
                    <a:lumMod val="50000"/>
                  </a:schemeClr>
                </a:solidFill>
              </a:rPr>
              <a:t>nformantai taip pat pabrėžė, </a:t>
            </a:r>
            <a:r>
              <a:rPr lang="lt-LT" sz="1200" i="1" dirty="0">
                <a:solidFill>
                  <a:schemeClr val="accent1">
                    <a:lumMod val="50000"/>
                  </a:schemeClr>
                </a:solidFill>
              </a:rPr>
              <a:t>kad projektų vykdymas jiems suteikė profesinės naudos ir paskatino mokytis, ieškoti būdų kaip padaryti pamokas įdomesnes bei suteikia laisvę įgyvendinti savo įdėjas. </a:t>
            </a:r>
          </a:p>
          <a:p>
            <a:endParaRPr lang="lt-LT" sz="1200" i="1" dirty="0">
              <a:solidFill>
                <a:schemeClr val="accent1">
                  <a:lumMod val="50000"/>
                </a:schemeClr>
              </a:solidFill>
            </a:endParaRPr>
          </a:p>
        </p:txBody>
      </p:sp>
    </p:spTree>
    <p:extLst>
      <p:ext uri="{BB962C8B-B14F-4D97-AF65-F5344CB8AC3E}">
        <p14:creationId xmlns:p14="http://schemas.microsoft.com/office/powerpoint/2010/main" val="22206153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9</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2000" b="1" dirty="0">
                <a:solidFill>
                  <a:schemeClr val="tx2">
                    <a:lumMod val="75000"/>
                  </a:schemeClr>
                </a:solidFill>
              </a:rPr>
              <a:t>Informantų įvardinta „eTwinning“ projektų vykdymo nauda mokiniams – pagerintos mokinių kompetencijos, žinios apie Europą, IKT įgudžiai, pamokų lankomas, padidėja motyvacija mokytis ir ryšys su mokytojais tampa glaudesnis</a:t>
            </a:r>
          </a:p>
        </p:txBody>
      </p:sp>
      <p:graphicFrame>
        <p:nvGraphicFramePr>
          <p:cNvPr id="5" name="Table 4"/>
          <p:cNvGraphicFramePr>
            <a:graphicFrameLocks noGrp="1"/>
          </p:cNvGraphicFramePr>
          <p:nvPr>
            <p:extLst>
              <p:ext uri="{D42A27DB-BD31-4B8C-83A1-F6EECF244321}">
                <p14:modId xmlns:p14="http://schemas.microsoft.com/office/powerpoint/2010/main" val="2665595944"/>
              </p:ext>
            </p:extLst>
          </p:nvPr>
        </p:nvGraphicFramePr>
        <p:xfrm>
          <a:off x="215516" y="973577"/>
          <a:ext cx="8676964" cy="5413656"/>
        </p:xfrm>
        <a:graphic>
          <a:graphicData uri="http://schemas.openxmlformats.org/drawingml/2006/table">
            <a:tbl>
              <a:tblPr firstRow="1">
                <a:tableStyleId>{5C22544A-7EE6-4342-B048-85BDC9FD1C3A}</a:tableStyleId>
              </a:tblPr>
              <a:tblGrid>
                <a:gridCol w="2964082"/>
                <a:gridCol w="2861546"/>
                <a:gridCol w="2851336"/>
              </a:tblGrid>
              <a:tr h="173012">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intos mokinių kompetencijo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ėjo žinios apie Europos šal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Pagerėjo IKT įgudžiai</a:t>
                      </a:r>
                      <a:endParaRPr lang="lt-LT" sz="110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164175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gerinti mokinių užsienio kalbų įgūdžius; </a:t>
                      </a:r>
                    </a:p>
                    <a:p>
                      <a:pPr marL="342900" lvl="0" indent="-342900" algn="l">
                        <a:lnSpc>
                          <a:spcPct val="150000"/>
                        </a:lnSpc>
                        <a:spcAft>
                          <a:spcPts val="0"/>
                        </a:spcAft>
                        <a:buFont typeface="Symbol"/>
                        <a:buChar char=""/>
                      </a:pPr>
                      <a:r>
                        <a:rPr lang="lt-LT" sz="1100" dirty="0">
                          <a:effectLst/>
                          <a:latin typeface="Calibri"/>
                          <a:ea typeface="Calibri"/>
                          <a:cs typeface="Arial"/>
                        </a:rPr>
                        <a:t>Pagilinti mokinių žinias – apie projekto temą </a:t>
                      </a:r>
                    </a:p>
                    <a:p>
                      <a:pPr marL="342900" lvl="0" indent="-342900" algn="l">
                        <a:lnSpc>
                          <a:spcPct val="150000"/>
                        </a:lnSpc>
                        <a:spcAft>
                          <a:spcPts val="0"/>
                        </a:spcAft>
                        <a:buFont typeface="Symbol"/>
                        <a:buChar char=""/>
                      </a:pPr>
                      <a:r>
                        <a:rPr lang="lt-LT" sz="1100" dirty="0">
                          <a:effectLst/>
                          <a:latin typeface="Calibri"/>
                          <a:ea typeface="Calibri"/>
                          <a:cs typeface="Arial"/>
                        </a:rPr>
                        <a:t>Pagerinti mokinių darbo komandoje ir bendravimo įgūdžius;</a:t>
                      </a:r>
                    </a:p>
                    <a:p>
                      <a:pPr marL="342900" lvl="0" indent="-342900" algn="l">
                        <a:lnSpc>
                          <a:spcPct val="150000"/>
                        </a:lnSpc>
                        <a:spcAft>
                          <a:spcPts val="0"/>
                        </a:spcAft>
                        <a:buFont typeface="Symbol"/>
                        <a:buChar char=""/>
                      </a:pPr>
                      <a:r>
                        <a:rPr lang="lt-LT" sz="1100" dirty="0">
                          <a:effectLst/>
                          <a:latin typeface="Calibri"/>
                          <a:ea typeface="Calibri"/>
                          <a:cs typeface="Arial"/>
                        </a:rPr>
                        <a:t>Bendravimo įgudžiai pagerėja.</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gerėjo mokinių žinios apie Europos šalis ir jų kultūrą. </a:t>
                      </a:r>
                    </a:p>
                    <a:p>
                      <a:pPr marL="342900" lvl="0" indent="-342900" algn="l">
                        <a:lnSpc>
                          <a:spcPct val="150000"/>
                        </a:lnSpc>
                        <a:spcAft>
                          <a:spcPts val="0"/>
                        </a:spcAft>
                        <a:buFont typeface="Symbol"/>
                        <a:buChar char=""/>
                      </a:pPr>
                      <a:r>
                        <a:rPr lang="lt-LT" sz="1100" dirty="0">
                          <a:effectLst/>
                          <a:latin typeface="Calibri"/>
                          <a:ea typeface="Calibri"/>
                          <a:cs typeface="Arial"/>
                        </a:rPr>
                        <a:t>Mokiniai geriau pažino parneriu šalis;</a:t>
                      </a:r>
                    </a:p>
                    <a:p>
                      <a:pPr marL="342900" lvl="0" indent="-342900" algn="l">
                        <a:lnSpc>
                          <a:spcPct val="150000"/>
                        </a:lnSpc>
                        <a:spcAft>
                          <a:spcPts val="0"/>
                        </a:spcAft>
                        <a:buFont typeface="Symbol"/>
                        <a:buChar char=""/>
                      </a:pPr>
                      <a:r>
                        <a:rPr lang="lt-LT" sz="1100" dirty="0">
                          <a:effectLst/>
                          <a:latin typeface="Calibri"/>
                          <a:ea typeface="Calibri"/>
                          <a:cs typeface="Arial"/>
                        </a:rPr>
                        <a:t>Susirado draugų užsienyje ir tęsia bendravimą ir po projektų.</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Dauguma mokinių jau moka naudotis IKT, bet projektai padeda pagerinti įgudžius ir išmokti naudotis naujomis programomis; </a:t>
                      </a:r>
                    </a:p>
                    <a:p>
                      <a:pPr marL="342900" lvl="0" indent="-342900" algn="l">
                        <a:lnSpc>
                          <a:spcPct val="150000"/>
                        </a:lnSpc>
                        <a:spcAft>
                          <a:spcPts val="0"/>
                        </a:spcAft>
                        <a:buFont typeface="Symbol"/>
                        <a:buChar char=""/>
                      </a:pPr>
                      <a:r>
                        <a:rPr lang="lt-LT" sz="1100">
                          <a:effectLst/>
                          <a:latin typeface="Calibri"/>
                          <a:ea typeface="Calibri"/>
                          <a:cs typeface="Arial"/>
                        </a:rPr>
                        <a:t>Naujas programas naudoja kitoms pamokom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122440">
                <a:tc>
                  <a:txBody>
                    <a:bodyPr/>
                    <a:lstStyle/>
                    <a:p>
                      <a:pPr algn="ctr">
                        <a:lnSpc>
                          <a:spcPct val="150000"/>
                        </a:lnSpc>
                        <a:spcAft>
                          <a:spcPts val="0"/>
                        </a:spcAft>
                      </a:pPr>
                      <a:r>
                        <a:rPr lang="lt-LT" sz="1100" b="1" dirty="0">
                          <a:solidFill>
                            <a:srgbClr val="FFFFFF"/>
                          </a:solidFill>
                          <a:effectLst/>
                          <a:latin typeface="Calibri"/>
                          <a:ea typeface="Calibri"/>
                          <a:cs typeface="Times New Roman"/>
                        </a:rPr>
                        <a:t>Ryšys su mokytojais tapo glaudesn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marL="55880" algn="ctr">
                        <a:lnSpc>
                          <a:spcPct val="150000"/>
                        </a:lnSpc>
                        <a:spcAft>
                          <a:spcPts val="0"/>
                        </a:spcAft>
                      </a:pPr>
                      <a:r>
                        <a:rPr lang="lt-LT" sz="1100" b="1" dirty="0">
                          <a:solidFill>
                            <a:srgbClr val="FFFFFF"/>
                          </a:solidFill>
                          <a:effectLst/>
                          <a:latin typeface="Calibri"/>
                          <a:ea typeface="Calibri"/>
                          <a:cs typeface="Times New Roman"/>
                        </a:rPr>
                        <a:t>Pagerėjo pamokų lankomuma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Padidėjo motyvacija mokyt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06999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Mokiniai tampa drąsesni – nebijo suklysti;</a:t>
                      </a:r>
                    </a:p>
                    <a:p>
                      <a:pPr marL="342900" lvl="0" indent="-342900" algn="l">
                        <a:lnSpc>
                          <a:spcPct val="150000"/>
                        </a:lnSpc>
                        <a:spcAft>
                          <a:spcPts val="0"/>
                        </a:spcAft>
                        <a:buFont typeface="Symbol"/>
                        <a:buChar char=""/>
                      </a:pPr>
                      <a:r>
                        <a:rPr lang="lt-LT" sz="1100" dirty="0">
                          <a:effectLst/>
                          <a:latin typeface="Calibri"/>
                          <a:ea typeface="Calibri"/>
                          <a:cs typeface="Arial"/>
                        </a:rPr>
                        <a:t>Laisviau bendrauja su mokytojais;</a:t>
                      </a:r>
                    </a:p>
                    <a:p>
                      <a:pPr marL="342900" lvl="0" indent="-342900" algn="l">
                        <a:lnSpc>
                          <a:spcPct val="150000"/>
                        </a:lnSpc>
                        <a:spcAft>
                          <a:spcPts val="0"/>
                        </a:spcAft>
                        <a:buFont typeface="Symbol"/>
                        <a:buChar char=""/>
                      </a:pPr>
                      <a:r>
                        <a:rPr lang="lt-LT" sz="1100" dirty="0">
                          <a:effectLst/>
                          <a:latin typeface="Calibri"/>
                          <a:ea typeface="Calibri"/>
                          <a:cs typeface="Arial"/>
                        </a:rPr>
                        <a:t>Užmegzti glaudesnius ir mažiau oficialius ryšius su mokiniais. (mokytojo santykis su jo mokiniais)</a:t>
                      </a:r>
                    </a:p>
                    <a:p>
                      <a:pPr marL="342900" lvl="0" indent="-342900" algn="l">
                        <a:lnSpc>
                          <a:spcPct val="150000"/>
                        </a:lnSpc>
                        <a:spcAft>
                          <a:spcPts val="0"/>
                        </a:spcAft>
                        <a:buFont typeface="Symbol"/>
                        <a:buChar char=""/>
                      </a:pPr>
                      <a:r>
                        <a:rPr lang="lt-LT" sz="1100" dirty="0">
                          <a:effectLst/>
                          <a:latin typeface="Calibri"/>
                          <a:ea typeface="Calibri"/>
                          <a:cs typeface="Arial"/>
                        </a:rPr>
                        <a:t>Mokiniai tapo atviresni ir pradėjo dažniau siūlyti savo idėjas, kuomet pamatė, kad į jas atkreipiamas dėmesys;</a:t>
                      </a:r>
                    </a:p>
                    <a:p>
                      <a:pPr marL="342900" lvl="0" indent="-342900" algn="l">
                        <a:lnSpc>
                          <a:spcPct val="150000"/>
                        </a:lnSpc>
                        <a:spcAft>
                          <a:spcPts val="0"/>
                        </a:spcAft>
                        <a:buFont typeface="Symbol"/>
                        <a:buChar char=""/>
                      </a:pPr>
                      <a:r>
                        <a:rPr lang="lt-LT" sz="1100" dirty="0">
                          <a:effectLst/>
                          <a:latin typeface="Calibri"/>
                          <a:ea typeface="Calibri"/>
                          <a:cs typeface="Arial"/>
                        </a:rPr>
                        <a:t>Mokiniai laisviau dalinasi savo nuomone apie pamokas kas padeda pagerinti jų </a:t>
                      </a:r>
                      <a:r>
                        <a:rPr lang="lt-LT" sz="1100" dirty="0" smtClean="0">
                          <a:effectLst/>
                          <a:latin typeface="Calibri"/>
                          <a:ea typeface="Calibri"/>
                          <a:cs typeface="Arial"/>
                        </a:rPr>
                        <a:t>kokybę.</a:t>
                      </a:r>
                      <a:r>
                        <a:rPr lang="lt-LT" sz="1100" dirty="0">
                          <a:effectLst/>
                          <a:latin typeface="Calibri"/>
                          <a:ea typeface="Calibri"/>
                          <a:cs typeface="Arial"/>
                        </a:rPr>
                        <a:t>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Dalis informantų nurodė, kad į projektus įtraukia tik „pavydzingus“ mokinius, taigi jų pamokų  lakomumui projektas neturi poveikio;</a:t>
                      </a:r>
                    </a:p>
                    <a:p>
                      <a:pPr marL="342900" lvl="0" indent="-342900" algn="l">
                        <a:lnSpc>
                          <a:spcPct val="150000"/>
                        </a:lnSpc>
                        <a:spcAft>
                          <a:spcPts val="0"/>
                        </a:spcAft>
                        <a:buFont typeface="Symbol"/>
                        <a:buChar char=""/>
                      </a:pPr>
                      <a:r>
                        <a:rPr lang="lt-LT" sz="1100">
                          <a:effectLst/>
                          <a:latin typeface="Calibri"/>
                          <a:ea typeface="Calibri"/>
                          <a:cs typeface="Arial"/>
                        </a:rPr>
                        <a:t>Prastai pamokas lankantys mokiniai dažniau ateina į pamokas kai vykdomas projektas ir tampa labau motyvuoti mokytis – ruošiasi pamokoms.</a:t>
                      </a:r>
                    </a:p>
                    <a:p>
                      <a:pPr marL="284480" algn="l">
                        <a:lnSpc>
                          <a:spcPct val="150000"/>
                        </a:lnSpc>
                        <a:spcAft>
                          <a:spcPts val="0"/>
                        </a:spcAft>
                      </a:pPr>
                      <a:r>
                        <a:rPr lang="lt-LT" sz="1100">
                          <a:effectLst/>
                          <a:latin typeface="Calibri"/>
                          <a:ea typeface="Calibri"/>
                          <a:cs typeface="Arial"/>
                        </a:rPr>
                        <a:t>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idėja mokinių motyvacija mokytis;</a:t>
                      </a:r>
                    </a:p>
                    <a:p>
                      <a:pPr marL="342900" lvl="0" indent="-342900" algn="l">
                        <a:lnSpc>
                          <a:spcPct val="150000"/>
                        </a:lnSpc>
                        <a:spcAft>
                          <a:spcPts val="0"/>
                        </a:spcAft>
                        <a:buFont typeface="Symbol"/>
                        <a:buChar char=""/>
                      </a:pPr>
                      <a:r>
                        <a:rPr lang="lt-LT" sz="1100" dirty="0">
                          <a:effectLst/>
                          <a:latin typeface="Calibri"/>
                          <a:ea typeface="Calibri"/>
                          <a:cs typeface="Arial"/>
                        </a:rPr>
                        <a:t>Labiau stengiasi;</a:t>
                      </a:r>
                    </a:p>
                    <a:p>
                      <a:pPr marL="342900" lvl="0" indent="-342900" algn="l">
                        <a:lnSpc>
                          <a:spcPct val="150000"/>
                        </a:lnSpc>
                        <a:spcAft>
                          <a:spcPts val="0"/>
                        </a:spcAft>
                        <a:buFont typeface="Symbol"/>
                        <a:buChar char=""/>
                      </a:pPr>
                      <a:r>
                        <a:rPr lang="lt-LT" sz="1100" dirty="0">
                          <a:effectLst/>
                          <a:latin typeface="Calibri"/>
                          <a:ea typeface="Calibri"/>
                          <a:cs typeface="Arial"/>
                        </a:rPr>
                        <a:t>Nežiūri į užsuotis atmestinai;</a:t>
                      </a:r>
                    </a:p>
                    <a:p>
                      <a:pPr marL="342900" lvl="0" indent="-342900" algn="l">
                        <a:lnSpc>
                          <a:spcPct val="150000"/>
                        </a:lnSpc>
                        <a:spcAft>
                          <a:spcPts val="0"/>
                        </a:spcAft>
                        <a:buFont typeface="Symbol"/>
                        <a:buChar char=""/>
                      </a:pPr>
                      <a:r>
                        <a:rPr lang="lt-LT" sz="1100" dirty="0">
                          <a:effectLst/>
                          <a:latin typeface="Calibri"/>
                          <a:ea typeface="Calibri"/>
                          <a:cs typeface="Arial"/>
                        </a:rPr>
                        <a:t>Padidėja mokinių noras dalyvauti  kituose projektuose; </a:t>
                      </a:r>
                    </a:p>
                    <a:p>
                      <a:pPr marL="342900" lvl="0" indent="-342900" algn="l">
                        <a:lnSpc>
                          <a:spcPct val="150000"/>
                        </a:lnSpc>
                        <a:spcAft>
                          <a:spcPts val="0"/>
                        </a:spcAft>
                        <a:buFont typeface="Symbol"/>
                        <a:buChar char=""/>
                      </a:pPr>
                      <a:r>
                        <a:rPr lang="lt-LT" sz="1100" dirty="0">
                          <a:effectLst/>
                          <a:latin typeface="Calibri"/>
                          <a:ea typeface="Calibri"/>
                          <a:cs typeface="Arial"/>
                        </a:rPr>
                        <a:t>Kuomet projektuose atrenkami dalyvauti tik „pavyzdingi“ mokiniai, kiti mokiniai  labiau stengiasi, kad irgi galėtų dalyvauti kituose projektuose;</a:t>
                      </a:r>
                    </a:p>
                    <a:p>
                      <a:pPr marL="342900" lvl="0" indent="-342900" algn="l">
                        <a:lnSpc>
                          <a:spcPct val="150000"/>
                        </a:lnSpc>
                        <a:spcAft>
                          <a:spcPts val="0"/>
                        </a:spcAft>
                        <a:buFont typeface="Symbol"/>
                        <a:buChar char=""/>
                      </a:pPr>
                      <a:r>
                        <a:rPr lang="lt-LT" sz="1100" dirty="0">
                          <a:effectLst/>
                          <a:latin typeface="Calibri"/>
                          <a:ea typeface="Calibri"/>
                          <a:cs typeface="Arial"/>
                        </a:rPr>
                        <a:t>Pamokos tampa įdomesnės mokiniams ir jie noriau mokosi;</a:t>
                      </a:r>
                    </a:p>
                    <a:p>
                      <a:pPr marL="342900" lvl="0" indent="-342900" algn="l">
                        <a:lnSpc>
                          <a:spcPct val="150000"/>
                        </a:lnSpc>
                        <a:spcAft>
                          <a:spcPts val="0"/>
                        </a:spcAft>
                        <a:buFont typeface="Symbol"/>
                        <a:buChar char=""/>
                      </a:pPr>
                      <a:r>
                        <a:rPr lang="lt-LT" sz="1100" dirty="0">
                          <a:effectLst/>
                          <a:latin typeface="Calibri"/>
                          <a:ea typeface="Calibri"/>
                          <a:cs typeface="Arial"/>
                        </a:rPr>
                        <a:t>Pagerėjo mokinių dalyvavusių  projekte pasiekimai/rezultatai pamokose.</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173341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186895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0"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202817" y="188640"/>
            <a:ext cx="8229600" cy="487362"/>
          </a:xfrm>
        </p:spPr>
        <p:txBody>
          <a:bodyPr>
            <a:noAutofit/>
          </a:bodyPr>
          <a:lstStyle/>
          <a:p>
            <a:r>
              <a:rPr lang="lt-LT" sz="2000" b="1" dirty="0">
                <a:solidFill>
                  <a:schemeClr val="tx2">
                    <a:lumMod val="75000"/>
                  </a:schemeClr>
                </a:solidFill>
              </a:rPr>
              <a:t>Didžioji dalis vartotojų (52 proc.) yra įvykdę po vieną projektą; vidutiniškai kiekvienais metais užsiregistravę vartotojai įvykdo po 300 projektų</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90725139"/>
              </p:ext>
            </p:extLst>
          </p:nvPr>
        </p:nvGraphicFramePr>
        <p:xfrm>
          <a:off x="266701" y="1257300"/>
          <a:ext cx="4914813" cy="1038165"/>
        </p:xfrm>
        <a:graphic>
          <a:graphicData uri="http://schemas.openxmlformats.org/presentationml/2006/ole">
            <mc:AlternateContent xmlns:mc="http://schemas.openxmlformats.org/markup-compatibility/2006">
              <mc:Choice xmlns:v="urn:schemas-microsoft-com:vml" Requires="v">
                <p:oleObj spid="_x0000_s6191" name="Chart" r:id="rId50" imgW="4914944" imgH="1038179" progId="MSGraph.Chart.8">
                  <p:embed followColorScheme="full"/>
                </p:oleObj>
              </mc:Choice>
              <mc:Fallback>
                <p:oleObj name="Chart" r:id="rId50" imgW="4914944" imgH="1038179" progId="MSGraph.Chart.8">
                  <p:embed followColorScheme="full"/>
                  <p:pic>
                    <p:nvPicPr>
                      <p:cNvPr id="0" name=""/>
                      <p:cNvPicPr/>
                      <p:nvPr/>
                    </p:nvPicPr>
                    <p:blipFill>
                      <a:blip r:embed="rId51"/>
                      <a:stretch>
                        <a:fillRect/>
                      </a:stretch>
                    </p:blipFill>
                    <p:spPr>
                      <a:xfrm>
                        <a:off x="266701" y="1257300"/>
                        <a:ext cx="4914813" cy="1038165"/>
                      </a:xfrm>
                      <a:prstGeom prst="rect">
                        <a:avLst/>
                      </a:prstGeom>
                    </p:spPr>
                  </p:pic>
                </p:oleObj>
              </mc:Fallback>
            </mc:AlternateContent>
          </a:graphicData>
        </a:graphic>
      </p:graphicFrame>
      <p:sp>
        <p:nvSpPr>
          <p:cNvPr id="5" name="Rectangle 4"/>
          <p:cNvSpPr/>
          <p:nvPr>
            <p:custDataLst>
              <p:tags r:id="rId5"/>
            </p:custDataLst>
          </p:nvPr>
        </p:nvSpPr>
        <p:spPr bwMode="auto">
          <a:xfrm>
            <a:off x="557213"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1D08CA-4F86-44FA-A5A9-DC268C8FDD9F}" type="datetime'''''''2''''''''''0''07'''">
              <a:rPr lang="en-US" sz="1200">
                <a:solidFill>
                  <a:schemeClr val="tx1"/>
                </a:solidFill>
                <a:sym typeface="+mn-lt"/>
              </a:rPr>
              <a:pPr/>
              <a:t>2007</a:t>
            </a:fld>
            <a:endParaRPr lang="en-US" sz="1200">
              <a:solidFill>
                <a:schemeClr val="tx1"/>
              </a:solidFill>
              <a:sym typeface="+mn-lt"/>
            </a:endParaRPr>
          </a:p>
        </p:txBody>
      </p:sp>
      <p:sp>
        <p:nvSpPr>
          <p:cNvPr id="8" name="Rectangle 7"/>
          <p:cNvSpPr/>
          <p:nvPr>
            <p:custDataLst>
              <p:tags r:id="rId6"/>
            </p:custDataLst>
          </p:nvPr>
        </p:nvSpPr>
        <p:spPr bwMode="auto">
          <a:xfrm>
            <a:off x="190023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4BE888-6398-4E26-B3C1-503A914139FD}" type="datetime'''''2''''''''''''''''''00''''''''''''''''9'''''''''''''''">
              <a:rPr lang="en-US" sz="1200">
                <a:solidFill>
                  <a:schemeClr val="tx1"/>
                </a:solidFill>
                <a:sym typeface="+mn-lt"/>
              </a:rPr>
              <a:pPr/>
              <a:t>2009</a:t>
            </a:fld>
            <a:endParaRPr lang="en-US" sz="1200">
              <a:solidFill>
                <a:schemeClr val="tx1"/>
              </a:solidFill>
              <a:sym typeface="+mn-lt"/>
            </a:endParaRPr>
          </a:p>
        </p:txBody>
      </p:sp>
      <p:sp>
        <p:nvSpPr>
          <p:cNvPr id="7" name="Rectangle 6"/>
          <p:cNvSpPr/>
          <p:nvPr>
            <p:custDataLst>
              <p:tags r:id="rId7"/>
            </p:custDataLst>
          </p:nvPr>
        </p:nvSpPr>
        <p:spPr bwMode="auto">
          <a:xfrm>
            <a:off x="1228725"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20B4045-0A29-40B1-A642-B8F68EE35D87}" type="datetime'20''''''''''''''''''''''''''''08'''">
              <a:rPr lang="en-US" sz="1200">
                <a:solidFill>
                  <a:schemeClr val="tx1"/>
                </a:solidFill>
                <a:sym typeface="+mn-lt"/>
              </a:rPr>
              <a:pPr/>
              <a:t>2008</a:t>
            </a:fld>
            <a:endParaRPr lang="en-US" sz="1200">
              <a:solidFill>
                <a:schemeClr val="tx1"/>
              </a:solidFill>
              <a:sym typeface="+mn-lt"/>
            </a:endParaRPr>
          </a:p>
        </p:txBody>
      </p:sp>
      <p:sp>
        <p:nvSpPr>
          <p:cNvPr id="25" name="Rectangle 24"/>
          <p:cNvSpPr/>
          <p:nvPr>
            <p:custDataLst>
              <p:tags r:id="rId8"/>
            </p:custDataLst>
          </p:nvPr>
        </p:nvSpPr>
        <p:spPr bwMode="auto">
          <a:xfrm>
            <a:off x="256698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9A565E-9C0A-4375-B4BD-2757887E765F}"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26" name="Rectangle 25"/>
          <p:cNvSpPr/>
          <p:nvPr>
            <p:custDataLst>
              <p:tags r:id="rId9"/>
            </p:custDataLst>
          </p:nvPr>
        </p:nvSpPr>
        <p:spPr bwMode="auto">
          <a:xfrm>
            <a:off x="323373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4BA013C-EEF3-4A72-8852-054E13159161}"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27" name="Rectangle 26"/>
          <p:cNvSpPr/>
          <p:nvPr>
            <p:custDataLst>
              <p:tags r:id="rId10"/>
            </p:custDataLst>
          </p:nvPr>
        </p:nvSpPr>
        <p:spPr bwMode="auto">
          <a:xfrm>
            <a:off x="3905250"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32DECEA-917E-4F36-A2BD-BE382C3E94F4}"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28" name="Rectangle 27"/>
          <p:cNvSpPr/>
          <p:nvPr>
            <p:custDataLst>
              <p:tags r:id="rId11"/>
            </p:custDataLst>
          </p:nvPr>
        </p:nvSpPr>
        <p:spPr bwMode="auto">
          <a:xfrm>
            <a:off x="4576763"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941B03-B978-41BB-AE55-D86D32AE3708}"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31" name="Rectangle 30"/>
          <p:cNvSpPr/>
          <p:nvPr/>
        </p:nvSpPr>
        <p:spPr>
          <a:xfrm>
            <a:off x="183048" y="1016732"/>
            <a:ext cx="5289052" cy="32543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Įvykdytų projektų skaičius, pagal vartotojų registracijos  metus</a:t>
            </a:r>
            <a:endParaRPr lang="lt-LT" sz="1200" dirty="0">
              <a:solidFill>
                <a:schemeClr val="bg1"/>
              </a:solidFill>
              <a:cs typeface="Cambria"/>
            </a:endParaRPr>
          </a:p>
        </p:txBody>
      </p:sp>
      <p:sp>
        <p:nvSpPr>
          <p:cNvPr id="32" name="Rectangle 31"/>
          <p:cNvSpPr/>
          <p:nvPr/>
        </p:nvSpPr>
        <p:spPr>
          <a:xfrm>
            <a:off x="186223" y="1342170"/>
            <a:ext cx="5285877" cy="202174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0" name="Rectangle 59"/>
          <p:cNvSpPr/>
          <p:nvPr/>
        </p:nvSpPr>
        <p:spPr>
          <a:xfrm>
            <a:off x="186222" y="3778250"/>
            <a:ext cx="5285877" cy="235105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61" name="Object 60"/>
          <p:cNvGraphicFramePr>
            <a:graphicFrameLocks/>
          </p:cNvGraphicFramePr>
          <p:nvPr>
            <p:custDataLst>
              <p:tags r:id="rId12"/>
            </p:custDataLst>
            <p:extLst>
              <p:ext uri="{D42A27DB-BD31-4B8C-83A1-F6EECF244321}">
                <p14:modId xmlns:p14="http://schemas.microsoft.com/office/powerpoint/2010/main" val="2374173036"/>
              </p:ext>
            </p:extLst>
          </p:nvPr>
        </p:nvGraphicFramePr>
        <p:xfrm>
          <a:off x="228600" y="3771900"/>
          <a:ext cx="5019551" cy="1000104"/>
        </p:xfrm>
        <a:graphic>
          <a:graphicData uri="http://schemas.openxmlformats.org/presentationml/2006/ole">
            <mc:AlternateContent xmlns:mc="http://schemas.openxmlformats.org/markup-compatibility/2006">
              <mc:Choice xmlns:v="urn:schemas-microsoft-com:vml" Requires="v">
                <p:oleObj spid="_x0000_s6192" name="Chart" r:id="rId52" imgW="5019547" imgH="1000262" progId="MSGraph.Chart.8">
                  <p:embed followColorScheme="full"/>
                </p:oleObj>
              </mc:Choice>
              <mc:Fallback>
                <p:oleObj name="Chart" r:id="rId52" imgW="5019547" imgH="1000262" progId="MSGraph.Chart.8">
                  <p:embed followColorScheme="full"/>
                  <p:pic>
                    <p:nvPicPr>
                      <p:cNvPr id="0" name=""/>
                      <p:cNvPicPr/>
                      <p:nvPr/>
                    </p:nvPicPr>
                    <p:blipFill>
                      <a:blip r:embed="rId53"/>
                      <a:stretch>
                        <a:fillRect/>
                      </a:stretch>
                    </p:blipFill>
                    <p:spPr>
                      <a:xfrm>
                        <a:off x="228600" y="3771900"/>
                        <a:ext cx="5019551" cy="1000104"/>
                      </a:xfrm>
                      <a:prstGeom prst="rect">
                        <a:avLst/>
                      </a:prstGeom>
                    </p:spPr>
                  </p:pic>
                </p:oleObj>
              </mc:Fallback>
            </mc:AlternateContent>
          </a:graphicData>
        </a:graphic>
      </p:graphicFrame>
      <p:sp>
        <p:nvSpPr>
          <p:cNvPr id="65" name="Rectangle 64"/>
          <p:cNvSpPr/>
          <p:nvPr>
            <p:custDataLst>
              <p:tags r:id="rId13"/>
            </p:custDataLst>
          </p:nvPr>
        </p:nvSpPr>
        <p:spPr bwMode="auto">
          <a:xfrm>
            <a:off x="18954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3471751-202B-47AC-8D3E-8520D41FF7AD}" type="datetime'''''''''''2''''''''''''''''''''''''''''00''''''''9'">
              <a:rPr lang="en-US" sz="1200">
                <a:solidFill>
                  <a:schemeClr val="tx1"/>
                </a:solidFill>
                <a:sym typeface="+mn-lt"/>
              </a:rPr>
              <a:pPr algn="ctr">
                <a:spcBef>
                  <a:spcPct val="0"/>
                </a:spcBef>
                <a:spcAft>
                  <a:spcPct val="0"/>
                </a:spcAft>
              </a:pPr>
              <a:t>2009</a:t>
            </a:fld>
            <a:endParaRPr lang="en-US" sz="1200">
              <a:solidFill>
                <a:schemeClr val="tx1"/>
              </a:solidFill>
              <a:sym typeface="+mn-lt"/>
            </a:endParaRPr>
          </a:p>
        </p:txBody>
      </p:sp>
      <p:sp>
        <p:nvSpPr>
          <p:cNvPr id="63" name="Rectangle 62"/>
          <p:cNvSpPr/>
          <p:nvPr>
            <p:custDataLst>
              <p:tags r:id="rId14"/>
            </p:custDataLst>
          </p:nvPr>
        </p:nvSpPr>
        <p:spPr bwMode="auto">
          <a:xfrm>
            <a:off x="46386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AADC18-A658-4404-989D-6C9772B59A2A}"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62" name="Rectangle 61"/>
          <p:cNvSpPr/>
          <p:nvPr>
            <p:custDataLst>
              <p:tags r:id="rId15"/>
            </p:custDataLst>
          </p:nvPr>
        </p:nvSpPr>
        <p:spPr bwMode="auto">
          <a:xfrm>
            <a:off x="39528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9FA9C1-1561-4071-9A9A-B67F7F7657D5}"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64" name="Rectangle 63"/>
          <p:cNvSpPr/>
          <p:nvPr>
            <p:custDataLst>
              <p:tags r:id="rId16"/>
            </p:custDataLst>
          </p:nvPr>
        </p:nvSpPr>
        <p:spPr bwMode="auto">
          <a:xfrm>
            <a:off x="32670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9731FB-B89E-44C1-AC4F-BCDA4E1B05F9}"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68" name="Rectangle 67"/>
          <p:cNvSpPr/>
          <p:nvPr>
            <p:custDataLst>
              <p:tags r:id="rId17"/>
            </p:custDataLst>
          </p:nvPr>
        </p:nvSpPr>
        <p:spPr bwMode="auto">
          <a:xfrm>
            <a:off x="25812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75ACDD7-3A66-4FA1-B890-3A352672BFF6}"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67" name="Rectangle 66"/>
          <p:cNvSpPr/>
          <p:nvPr>
            <p:custDataLst>
              <p:tags r:id="rId18"/>
            </p:custDataLst>
          </p:nvPr>
        </p:nvSpPr>
        <p:spPr bwMode="auto">
          <a:xfrm>
            <a:off x="5238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1AF28F3-3BE3-4B67-A41B-34D166FE2DEE}" type="datetime'2''''''''''0''''''''''''''''''0''7'''''''">
              <a:rPr lang="en-US" sz="1200">
                <a:solidFill>
                  <a:schemeClr val="tx1"/>
                </a:solidFill>
                <a:sym typeface="+mn-lt"/>
              </a:rPr>
              <a:pPr algn="ctr">
                <a:spcBef>
                  <a:spcPct val="0"/>
                </a:spcBef>
                <a:spcAft>
                  <a:spcPct val="0"/>
                </a:spcAft>
              </a:pPr>
              <a:t>2007</a:t>
            </a:fld>
            <a:endParaRPr lang="en-US" sz="1200" dirty="0">
              <a:solidFill>
                <a:schemeClr val="tx1"/>
              </a:solidFill>
              <a:sym typeface="+mn-lt"/>
            </a:endParaRPr>
          </a:p>
        </p:txBody>
      </p:sp>
      <p:sp>
        <p:nvSpPr>
          <p:cNvPr id="66" name="Rectangle 65"/>
          <p:cNvSpPr/>
          <p:nvPr>
            <p:custDataLst>
              <p:tags r:id="rId19"/>
            </p:custDataLst>
          </p:nvPr>
        </p:nvSpPr>
        <p:spPr bwMode="auto">
          <a:xfrm>
            <a:off x="12096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8BFB807-BDA9-4849-8918-2624471D2DD6}" type="datetime'''''''20''''''''''''''''''''''''''''''''''''''''''''0''''8'''">
              <a:rPr lang="en-US" sz="1200">
                <a:solidFill>
                  <a:schemeClr val="tx1"/>
                </a:solidFill>
                <a:sym typeface="+mn-lt"/>
              </a:rPr>
              <a:pPr algn="ctr">
                <a:spcBef>
                  <a:spcPct val="0"/>
                </a:spcBef>
                <a:spcAft>
                  <a:spcPct val="0"/>
                </a:spcAft>
              </a:pPr>
              <a:t>2008</a:t>
            </a:fld>
            <a:endParaRPr lang="en-US" sz="1200">
              <a:solidFill>
                <a:schemeClr val="tx1"/>
              </a:solidFill>
              <a:sym typeface="+mn-lt"/>
            </a:endParaRPr>
          </a:p>
        </p:txBody>
      </p:sp>
      <p:sp>
        <p:nvSpPr>
          <p:cNvPr id="69" name="Rectangle 68"/>
          <p:cNvSpPr/>
          <p:nvPr/>
        </p:nvSpPr>
        <p:spPr>
          <a:xfrm>
            <a:off x="186222" y="3429000"/>
            <a:ext cx="5285875" cy="38773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ieno vartotojo vidutiniškai įvykdytų projektų skaičius, pagal </a:t>
            </a:r>
            <a:r>
              <a:rPr lang="lt-LT" sz="1200" dirty="0">
                <a:solidFill>
                  <a:schemeClr val="bg1"/>
                </a:solidFill>
                <a:cs typeface="Cambria"/>
              </a:rPr>
              <a:t>vartotojo </a:t>
            </a:r>
            <a:r>
              <a:rPr lang="lt-LT" sz="1200" dirty="0" smtClean="0">
                <a:solidFill>
                  <a:schemeClr val="bg1"/>
                </a:solidFill>
                <a:cs typeface="Cambria"/>
              </a:rPr>
              <a:t>registracijos metus</a:t>
            </a:r>
            <a:endParaRPr lang="lt-LT" sz="1200" dirty="0">
              <a:solidFill>
                <a:schemeClr val="bg1"/>
              </a:solidFill>
              <a:cs typeface="Cambria"/>
            </a:endParaRPr>
          </a:p>
        </p:txBody>
      </p:sp>
      <p:graphicFrame>
        <p:nvGraphicFramePr>
          <p:cNvPr id="71" name="Object 70"/>
          <p:cNvGraphicFramePr>
            <a:graphicFrameLocks/>
          </p:cNvGraphicFramePr>
          <p:nvPr>
            <p:custDataLst>
              <p:tags r:id="rId20"/>
            </p:custDataLst>
            <p:extLst>
              <p:ext uri="{D42A27DB-BD31-4B8C-83A1-F6EECF244321}">
                <p14:modId xmlns:p14="http://schemas.microsoft.com/office/powerpoint/2010/main" val="2861294083"/>
              </p:ext>
            </p:extLst>
          </p:nvPr>
        </p:nvGraphicFramePr>
        <p:xfrm>
          <a:off x="6667500" y="1562100"/>
          <a:ext cx="1514368" cy="3981520"/>
        </p:xfrm>
        <a:graphic>
          <a:graphicData uri="http://schemas.openxmlformats.org/presentationml/2006/ole">
            <mc:AlternateContent xmlns:mc="http://schemas.openxmlformats.org/markup-compatibility/2006">
              <mc:Choice xmlns:v="urn:schemas-microsoft-com:vml" Requires="v">
                <p:oleObj spid="_x0000_s6193" name="Chart" r:id="rId54" imgW="1514640" imgH="3981385" progId="MSGraph.Chart.8">
                  <p:embed followColorScheme="full"/>
                </p:oleObj>
              </mc:Choice>
              <mc:Fallback>
                <p:oleObj name="Chart" r:id="rId54" imgW="1514640" imgH="3981385" progId="MSGraph.Chart.8">
                  <p:embed followColorScheme="full"/>
                  <p:pic>
                    <p:nvPicPr>
                      <p:cNvPr id="0" name=""/>
                      <p:cNvPicPr/>
                      <p:nvPr/>
                    </p:nvPicPr>
                    <p:blipFill>
                      <a:blip r:embed="rId55"/>
                      <a:stretch>
                        <a:fillRect/>
                      </a:stretch>
                    </p:blipFill>
                    <p:spPr>
                      <a:xfrm>
                        <a:off x="6667500" y="1562100"/>
                        <a:ext cx="1514368" cy="3981520"/>
                      </a:xfrm>
                      <a:prstGeom prst="rect">
                        <a:avLst/>
                      </a:prstGeom>
                    </p:spPr>
                  </p:pic>
                </p:oleObj>
              </mc:Fallback>
            </mc:AlternateContent>
          </a:graphicData>
        </a:graphic>
      </p:graphicFrame>
      <p:sp>
        <p:nvSpPr>
          <p:cNvPr id="74" name="Rectangle 73"/>
          <p:cNvSpPr/>
          <p:nvPr>
            <p:custDataLst>
              <p:tags r:id="rId21"/>
            </p:custDataLst>
          </p:nvPr>
        </p:nvSpPr>
        <p:spPr bwMode="auto">
          <a:xfrm>
            <a:off x="6602413" y="2319338"/>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C4E010-D449-45DC-835F-A34BD4F472BF}" type="datetime'''''''''''''''''''''''''''''''''''''''''3'">
              <a:rPr lang="en-US" sz="1200">
                <a:solidFill>
                  <a:schemeClr val="tx1"/>
                </a:solidFill>
                <a:sym typeface="+mn-lt"/>
              </a:rPr>
              <a:pPr/>
              <a:t>3</a:t>
            </a:fld>
            <a:endParaRPr lang="en-US" sz="1200">
              <a:solidFill>
                <a:schemeClr val="tx1"/>
              </a:solidFill>
              <a:sym typeface="+mn-lt"/>
            </a:endParaRPr>
          </a:p>
        </p:txBody>
      </p:sp>
      <p:sp>
        <p:nvSpPr>
          <p:cNvPr id="72" name="Rectangle 71"/>
          <p:cNvSpPr/>
          <p:nvPr>
            <p:custDataLst>
              <p:tags r:id="rId22"/>
            </p:custDataLst>
          </p:nvPr>
        </p:nvSpPr>
        <p:spPr bwMode="auto">
          <a:xfrm>
            <a:off x="6602413" y="174307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2DB2C72-2D9E-4D90-9DD3-ECF2E4B11BA0}" type="datetime'''''''''''''''''1'''''''''''''''''''''''''''''">
              <a:rPr lang="en-US" sz="1200">
                <a:solidFill>
                  <a:schemeClr val="tx1"/>
                </a:solidFill>
                <a:sym typeface="+mn-lt"/>
              </a:rPr>
              <a:pPr/>
              <a:t>1</a:t>
            </a:fld>
            <a:endParaRPr lang="en-US" sz="1200">
              <a:solidFill>
                <a:schemeClr val="tx1"/>
              </a:solidFill>
              <a:sym typeface="+mn-lt"/>
            </a:endParaRPr>
          </a:p>
        </p:txBody>
      </p:sp>
      <p:sp>
        <p:nvSpPr>
          <p:cNvPr id="73" name="Rectangle 72"/>
          <p:cNvSpPr/>
          <p:nvPr>
            <p:custDataLst>
              <p:tags r:id="rId23"/>
            </p:custDataLst>
          </p:nvPr>
        </p:nvSpPr>
        <p:spPr bwMode="auto">
          <a:xfrm>
            <a:off x="6602413" y="202882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10B7ED7-C15B-49C0-804A-4C74BF0386A2}" type="datetime'''''''2'''''''''''''''''''''''''''''''''''">
              <a:rPr lang="en-US" sz="1200">
                <a:solidFill>
                  <a:schemeClr val="tx1"/>
                </a:solidFill>
                <a:sym typeface="+mn-lt"/>
              </a:rPr>
              <a:pPr/>
              <a:t>2</a:t>
            </a:fld>
            <a:endParaRPr lang="en-US" sz="1200">
              <a:solidFill>
                <a:schemeClr val="tx1"/>
              </a:solidFill>
              <a:sym typeface="+mn-lt"/>
            </a:endParaRPr>
          </a:p>
        </p:txBody>
      </p:sp>
      <p:sp>
        <p:nvSpPr>
          <p:cNvPr id="92" name="Rectangle 91"/>
          <p:cNvSpPr/>
          <p:nvPr>
            <p:custDataLst>
              <p:tags r:id="rId24"/>
            </p:custDataLst>
          </p:nvPr>
        </p:nvSpPr>
        <p:spPr bwMode="auto">
          <a:xfrm>
            <a:off x="6602413" y="318135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46D9AFE-F95B-4A12-A76B-971E29A71236}" type="datetime'''''''''6'''''''''''''">
              <a:rPr lang="en-US" sz="1200">
                <a:solidFill>
                  <a:schemeClr val="tx1"/>
                </a:solidFill>
                <a:sym typeface="+mn-lt"/>
              </a:rPr>
              <a:pPr algn="r">
                <a:spcBef>
                  <a:spcPct val="0"/>
                </a:spcBef>
                <a:spcAft>
                  <a:spcPct val="0"/>
                </a:spcAft>
              </a:pPr>
              <a:t>6</a:t>
            </a:fld>
            <a:endParaRPr lang="en-US" sz="1200">
              <a:solidFill>
                <a:schemeClr val="tx1"/>
              </a:solidFill>
              <a:sym typeface="+mn-lt"/>
            </a:endParaRPr>
          </a:p>
        </p:txBody>
      </p:sp>
      <p:sp>
        <p:nvSpPr>
          <p:cNvPr id="142" name="Rectangle 141"/>
          <p:cNvSpPr/>
          <p:nvPr>
            <p:custDataLst>
              <p:tags r:id="rId25"/>
            </p:custDataLst>
          </p:nvPr>
        </p:nvSpPr>
        <p:spPr bwMode="gray">
          <a:xfrm>
            <a:off x="8093075" y="1743075"/>
            <a:ext cx="666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FE0DF54A-5159-4512-BC41-3E7544618A20}" type="datetime'''5''''''''''2''''%'''''''''''''''''''''''''''''''''">
              <a:rPr lang="en-US" sz="1200" smtClean="0">
                <a:solidFill>
                  <a:schemeClr val="tx1"/>
                </a:solidFill>
                <a:sym typeface="+mn-lt"/>
              </a:rPr>
              <a:pPr/>
              <a:t>52%</a:t>
            </a:fld>
            <a:r>
              <a:rPr lang="en-US" sz="1200" smtClean="0">
                <a:solidFill>
                  <a:schemeClr val="tx1"/>
                </a:solidFill>
                <a:sym typeface="+mn-lt"/>
              </a:rPr>
              <a:t> (</a:t>
            </a:r>
            <a:fld id="{2FEF478B-348A-48A9-90A8-DF4183F7439F}" type="datetime'''''''4''''''''''''''''''''''1''''''''''6'''''''''''''''''''">
              <a:rPr lang="en-US" sz="1200" smtClean="0">
                <a:solidFill>
                  <a:schemeClr val="tx1"/>
                </a:solidFill>
                <a:sym typeface="+mn-lt"/>
              </a:rPr>
              <a:pPr/>
              <a:t>416</a:t>
            </a:fld>
            <a:r>
              <a:rPr lang="en-US" sz="1200" smtClean="0">
                <a:solidFill>
                  <a:schemeClr val="tx1"/>
                </a:solidFill>
                <a:sym typeface="+mn-lt"/>
              </a:rPr>
              <a:t>)</a:t>
            </a:r>
            <a:endParaRPr lang="en-US" sz="1200" dirty="0">
              <a:solidFill>
                <a:schemeClr val="tx1"/>
              </a:solidFill>
              <a:sym typeface="+mn-lt"/>
            </a:endParaRPr>
          </a:p>
        </p:txBody>
      </p:sp>
      <p:sp>
        <p:nvSpPr>
          <p:cNvPr id="90" name="Rectangle 89"/>
          <p:cNvSpPr/>
          <p:nvPr>
            <p:custDataLst>
              <p:tags r:id="rId26"/>
            </p:custDataLst>
          </p:nvPr>
        </p:nvSpPr>
        <p:spPr bwMode="auto">
          <a:xfrm>
            <a:off x="6602413" y="260985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8C7B732-3A32-4C67-AD4F-522F8BB5EDF2}" type="datetime'''''''''''''''''''''''''''''''''''''''4'''''''''''''''">
              <a:rPr lang="en-US" sz="1200">
                <a:solidFill>
                  <a:schemeClr val="tx1"/>
                </a:solidFill>
                <a:sym typeface="+mn-lt"/>
              </a:rPr>
              <a:pPr algn="r">
                <a:spcBef>
                  <a:spcPct val="0"/>
                </a:spcBef>
                <a:spcAft>
                  <a:spcPct val="0"/>
                </a:spcAft>
              </a:pPr>
              <a:t>4</a:t>
            </a:fld>
            <a:endParaRPr lang="en-US" sz="1200">
              <a:solidFill>
                <a:schemeClr val="tx1"/>
              </a:solidFill>
              <a:sym typeface="+mn-lt"/>
            </a:endParaRPr>
          </a:p>
        </p:txBody>
      </p:sp>
      <p:sp>
        <p:nvSpPr>
          <p:cNvPr id="143" name="Rectangle 142"/>
          <p:cNvSpPr/>
          <p:nvPr>
            <p:custDataLst>
              <p:tags r:id="rId27"/>
            </p:custDataLst>
          </p:nvPr>
        </p:nvSpPr>
        <p:spPr bwMode="gray">
          <a:xfrm>
            <a:off x="7283450" y="2028825"/>
            <a:ext cx="666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0651C9ED-990B-4C4F-A886-071CFCF50385}" type="datetime'''''''''''''''''''1''''''''''''''9''''''''''''''''''%'''''''''">
              <a:rPr lang="en-US" sz="1200" smtClean="0">
                <a:solidFill>
                  <a:schemeClr val="tx1"/>
                </a:solidFill>
                <a:sym typeface="+mn-lt"/>
              </a:rPr>
              <a:pPr/>
              <a:t>19%</a:t>
            </a:fld>
            <a:r>
              <a:rPr lang="en-US" sz="1200" smtClean="0">
                <a:solidFill>
                  <a:schemeClr val="tx1"/>
                </a:solidFill>
                <a:sym typeface="+mn-lt"/>
              </a:rPr>
              <a:t> (</a:t>
            </a:r>
            <a:fld id="{0C1C0714-B331-48C4-A8DC-026854DF7CB8}" type="datetime'''''''''''1''''''''''5''''''''''''''''''''''1'''">
              <a:rPr lang="en-US" sz="1200" smtClean="0">
                <a:solidFill>
                  <a:schemeClr val="tx1"/>
                </a:solidFill>
                <a:sym typeface="+mn-lt"/>
              </a:rPr>
              <a:pPr/>
              <a:t>151</a:t>
            </a:fld>
            <a:r>
              <a:rPr lang="en-US" sz="1200" smtClean="0">
                <a:solidFill>
                  <a:schemeClr val="tx1"/>
                </a:solidFill>
                <a:sym typeface="+mn-lt"/>
              </a:rPr>
              <a:t>)</a:t>
            </a:r>
            <a:endParaRPr lang="en-US" sz="1200">
              <a:solidFill>
                <a:schemeClr val="tx1"/>
              </a:solidFill>
              <a:sym typeface="+mn-lt"/>
            </a:endParaRPr>
          </a:p>
        </p:txBody>
      </p:sp>
      <p:sp>
        <p:nvSpPr>
          <p:cNvPr id="97" name="Rectangle 96"/>
          <p:cNvSpPr/>
          <p:nvPr>
            <p:custDataLst>
              <p:tags r:id="rId28"/>
            </p:custDataLst>
          </p:nvPr>
        </p:nvSpPr>
        <p:spPr bwMode="auto">
          <a:xfrm>
            <a:off x="5884863" y="4624388"/>
            <a:ext cx="7953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E069A8C-2917-4BBD-9F78-F72A75A50AF5}" type="datetime'''''''''nu''''''''''''''o ''''11'' ''i''''ki'''' 2''0'''''''">
              <a:rPr lang="en-US" sz="1200">
                <a:solidFill>
                  <a:schemeClr val="tx1"/>
                </a:solidFill>
                <a:sym typeface="+mn-lt"/>
              </a:rPr>
              <a:pPr/>
              <a:t>nuo 11 iki 20</a:t>
            </a:fld>
            <a:endParaRPr lang="en-US" sz="1200">
              <a:solidFill>
                <a:schemeClr val="tx1"/>
              </a:solidFill>
              <a:sym typeface="+mn-lt"/>
            </a:endParaRPr>
          </a:p>
        </p:txBody>
      </p:sp>
      <p:sp>
        <p:nvSpPr>
          <p:cNvPr id="95" name="Rectangle 94"/>
          <p:cNvSpPr/>
          <p:nvPr>
            <p:custDataLst>
              <p:tags r:id="rId29"/>
            </p:custDataLst>
          </p:nvPr>
        </p:nvSpPr>
        <p:spPr bwMode="auto">
          <a:xfrm>
            <a:off x="6602413" y="404812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72B5F28-5AEB-4AA5-8113-128D2D860973}" type="datetime'''''''''''9'''''''">
              <a:rPr lang="en-US" sz="1200">
                <a:solidFill>
                  <a:schemeClr val="tx1"/>
                </a:solidFill>
                <a:sym typeface="+mn-lt"/>
              </a:rPr>
              <a:pPr algn="r">
                <a:spcBef>
                  <a:spcPct val="0"/>
                </a:spcBef>
                <a:spcAft>
                  <a:spcPct val="0"/>
                </a:spcAft>
              </a:pPr>
              <a:t>9</a:t>
            </a:fld>
            <a:endParaRPr lang="en-US" sz="1200">
              <a:solidFill>
                <a:schemeClr val="tx1"/>
              </a:solidFill>
              <a:sym typeface="+mn-lt"/>
            </a:endParaRPr>
          </a:p>
        </p:txBody>
      </p:sp>
      <p:sp>
        <p:nvSpPr>
          <p:cNvPr id="99" name="Rectangle 98"/>
          <p:cNvSpPr/>
          <p:nvPr>
            <p:custDataLst>
              <p:tags r:id="rId30"/>
            </p:custDataLst>
          </p:nvPr>
        </p:nvSpPr>
        <p:spPr bwMode="auto">
          <a:xfrm>
            <a:off x="6273800" y="5200650"/>
            <a:ext cx="4064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5767FD-BCC6-488B-A46D-ECF18EAF07D3}" type="datetime'''''''''''''''''''''''''''''''''v''''ir''š'''''''''''' 3''0'''">
              <a:rPr lang="en-US" sz="1200">
                <a:solidFill>
                  <a:schemeClr val="tx1"/>
                </a:solidFill>
                <a:sym typeface="+mn-lt"/>
              </a:rPr>
              <a:pPr/>
              <a:t>virš 30</a:t>
            </a:fld>
            <a:endParaRPr lang="en-US" sz="1200">
              <a:solidFill>
                <a:schemeClr val="tx1"/>
              </a:solidFill>
              <a:sym typeface="+mn-lt"/>
            </a:endParaRPr>
          </a:p>
        </p:txBody>
      </p:sp>
      <p:sp>
        <p:nvSpPr>
          <p:cNvPr id="98" name="Rectangle 97"/>
          <p:cNvSpPr/>
          <p:nvPr>
            <p:custDataLst>
              <p:tags r:id="rId31"/>
            </p:custDataLst>
          </p:nvPr>
        </p:nvSpPr>
        <p:spPr bwMode="auto">
          <a:xfrm>
            <a:off x="5884863" y="4914900"/>
            <a:ext cx="7953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2564D1E-335A-466A-B32D-6857D63EC2E7}" type="datetime'nu''''o ''''''''21'' ''''i''''''''''''''''''''''k''''i'''' 30'">
              <a:rPr lang="en-US" sz="1200">
                <a:solidFill>
                  <a:schemeClr val="tx1"/>
                </a:solidFill>
                <a:sym typeface="+mn-lt"/>
              </a:rPr>
              <a:pPr/>
              <a:t>nuo 21 iki 30</a:t>
            </a:fld>
            <a:endParaRPr lang="en-US" sz="1200">
              <a:solidFill>
                <a:schemeClr val="tx1"/>
              </a:solidFill>
              <a:sym typeface="+mn-lt"/>
            </a:endParaRPr>
          </a:p>
        </p:txBody>
      </p:sp>
      <p:sp>
        <p:nvSpPr>
          <p:cNvPr id="96" name="Rectangle 95"/>
          <p:cNvSpPr/>
          <p:nvPr>
            <p:custDataLst>
              <p:tags r:id="rId32"/>
            </p:custDataLst>
          </p:nvPr>
        </p:nvSpPr>
        <p:spPr bwMode="auto">
          <a:xfrm>
            <a:off x="6524625" y="4333875"/>
            <a:ext cx="1555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CEF6E5-7B7A-47F9-97F6-DF40EB515DFE}" type="datetime'''''''''''''''''''''''''''''''1''0'''''''''''''''''''''''''''">
              <a:rPr lang="en-US" sz="1200">
                <a:solidFill>
                  <a:schemeClr val="tx1"/>
                </a:solidFill>
                <a:sym typeface="+mn-lt"/>
              </a:rPr>
              <a:pPr algn="r">
                <a:spcBef>
                  <a:spcPct val="0"/>
                </a:spcBef>
                <a:spcAft>
                  <a:spcPct val="0"/>
                </a:spcAft>
              </a:pPr>
              <a:t>10</a:t>
            </a:fld>
            <a:endParaRPr lang="en-US" sz="1200">
              <a:solidFill>
                <a:schemeClr val="tx1"/>
              </a:solidFill>
              <a:sym typeface="+mn-lt"/>
            </a:endParaRPr>
          </a:p>
        </p:txBody>
      </p:sp>
      <p:sp>
        <p:nvSpPr>
          <p:cNvPr id="94" name="Rectangle 93"/>
          <p:cNvSpPr/>
          <p:nvPr>
            <p:custDataLst>
              <p:tags r:id="rId33"/>
            </p:custDataLst>
          </p:nvPr>
        </p:nvSpPr>
        <p:spPr bwMode="auto">
          <a:xfrm>
            <a:off x="6602413" y="376237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F8E994A-2507-46BD-AA29-D302F5A196C7}" type="datetime'8'''''''''">
              <a:rPr lang="en-US" sz="1200">
                <a:solidFill>
                  <a:schemeClr val="tx1"/>
                </a:solidFill>
                <a:sym typeface="+mn-lt"/>
              </a:rPr>
              <a:pPr algn="r">
                <a:spcBef>
                  <a:spcPct val="0"/>
                </a:spcBef>
                <a:spcAft>
                  <a:spcPct val="0"/>
                </a:spcAft>
              </a:pPr>
              <a:t>8</a:t>
            </a:fld>
            <a:endParaRPr lang="en-US" sz="1200">
              <a:solidFill>
                <a:schemeClr val="tx1"/>
              </a:solidFill>
              <a:sym typeface="+mn-lt"/>
            </a:endParaRPr>
          </a:p>
        </p:txBody>
      </p:sp>
      <p:sp>
        <p:nvSpPr>
          <p:cNvPr id="91" name="Rectangle 90"/>
          <p:cNvSpPr/>
          <p:nvPr>
            <p:custDataLst>
              <p:tags r:id="rId34"/>
            </p:custDataLst>
          </p:nvPr>
        </p:nvSpPr>
        <p:spPr bwMode="auto">
          <a:xfrm>
            <a:off x="6602413" y="289560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855BD3F-184B-47B6-B177-5C2588F4FF06}" type="datetime'''''5'''''''''''''''''">
              <a:rPr lang="en-US" sz="1200">
                <a:solidFill>
                  <a:schemeClr val="tx1"/>
                </a:solidFill>
                <a:sym typeface="+mn-lt"/>
              </a:rPr>
              <a:pPr algn="r">
                <a:spcBef>
                  <a:spcPct val="0"/>
                </a:spcBef>
                <a:spcAft>
                  <a:spcPct val="0"/>
                </a:spcAft>
              </a:pPr>
              <a:t>5</a:t>
            </a:fld>
            <a:endParaRPr lang="en-US" sz="1200">
              <a:solidFill>
                <a:schemeClr val="tx1"/>
              </a:solidFill>
              <a:sym typeface="+mn-lt"/>
            </a:endParaRPr>
          </a:p>
        </p:txBody>
      </p:sp>
      <p:sp>
        <p:nvSpPr>
          <p:cNvPr id="146" name="Rectangle 145"/>
          <p:cNvSpPr/>
          <p:nvPr>
            <p:custDataLst>
              <p:tags r:id="rId35"/>
            </p:custDataLst>
          </p:nvPr>
        </p:nvSpPr>
        <p:spPr bwMode="gray">
          <a:xfrm>
            <a:off x="7083426" y="2319338"/>
            <a:ext cx="588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EAA124E6-D93E-4E09-A521-F0DBD81E9202}" type="datetime'10''''''''%'''''''''''''''''''''''''''''''''''''''''">
              <a:rPr lang="en-US" sz="1200">
                <a:solidFill>
                  <a:schemeClr val="tx1"/>
                </a:solidFill>
                <a:sym typeface="+mn-lt"/>
              </a:rPr>
              <a:pPr>
                <a:spcBef>
                  <a:spcPct val="0"/>
                </a:spcBef>
                <a:spcAft>
                  <a:spcPct val="0"/>
                </a:spcAft>
              </a:pPr>
              <a:t>10%</a:t>
            </a:fld>
            <a:r>
              <a:rPr lang="en-US" sz="1200" smtClean="0">
                <a:solidFill>
                  <a:schemeClr val="tx1"/>
                </a:solidFill>
                <a:sym typeface="+mn-lt"/>
              </a:rPr>
              <a:t> (</a:t>
            </a:r>
            <a:fld id="{DEE1F40C-4034-42DD-A609-172743031577}" type="datetime'''''''''''''''''''''''83'''''''''">
              <a:rPr lang="en-US" sz="1200" smtClean="0">
                <a:solidFill>
                  <a:schemeClr val="tx1"/>
                </a:solidFill>
                <a:sym typeface="+mn-lt"/>
              </a:rPr>
              <a:pPr>
                <a:spcBef>
                  <a:spcPct val="0"/>
                </a:spcBef>
                <a:spcAft>
                  <a:spcPct val="0"/>
                </a:spcAft>
              </a:pPr>
              <a:t>83</a:t>
            </a:fld>
            <a:r>
              <a:rPr lang="en-US" sz="1200" smtClean="0">
                <a:solidFill>
                  <a:schemeClr val="tx1"/>
                </a:solidFill>
                <a:sym typeface="+mn-lt"/>
              </a:rPr>
              <a:t>)</a:t>
            </a:r>
            <a:endParaRPr lang="en-US" sz="1200">
              <a:solidFill>
                <a:schemeClr val="tx1"/>
              </a:solidFill>
              <a:sym typeface="+mn-lt"/>
            </a:endParaRPr>
          </a:p>
        </p:txBody>
      </p:sp>
      <p:sp>
        <p:nvSpPr>
          <p:cNvPr id="93" name="Rectangle 92"/>
          <p:cNvSpPr/>
          <p:nvPr>
            <p:custDataLst>
              <p:tags r:id="rId36"/>
            </p:custDataLst>
          </p:nvPr>
        </p:nvSpPr>
        <p:spPr bwMode="auto">
          <a:xfrm>
            <a:off x="6602413" y="3471863"/>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36C9509-0E9D-4862-8EDA-3C1035344778}" type="datetime'''''''''''7'''''''''''''''''''''''''''''''''''''''''''''''''''">
              <a:rPr lang="en-US" sz="1200">
                <a:solidFill>
                  <a:schemeClr val="tx1"/>
                </a:solidFill>
                <a:sym typeface="+mn-lt"/>
              </a:rPr>
              <a:pPr algn="r">
                <a:spcBef>
                  <a:spcPct val="0"/>
                </a:spcBef>
                <a:spcAft>
                  <a:spcPct val="0"/>
                </a:spcAft>
              </a:pPr>
              <a:t>7</a:t>
            </a:fld>
            <a:endParaRPr lang="en-US" sz="1200">
              <a:solidFill>
                <a:schemeClr val="tx1"/>
              </a:solidFill>
              <a:sym typeface="+mn-lt"/>
            </a:endParaRPr>
          </a:p>
        </p:txBody>
      </p:sp>
      <p:sp>
        <p:nvSpPr>
          <p:cNvPr id="147" name="Rectangle 146"/>
          <p:cNvSpPr/>
          <p:nvPr>
            <p:custDataLst>
              <p:tags r:id="rId37"/>
            </p:custDataLst>
          </p:nvPr>
        </p:nvSpPr>
        <p:spPr bwMode="gray">
          <a:xfrm>
            <a:off x="6959601" y="260985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37F20FC1-2B14-4473-A477-4E58DCAAFD81}" type="datetime'5''''''''%'''''''''''''''''''''''''''''''''''''''''''">
              <a:rPr lang="en-US" sz="1200">
                <a:solidFill>
                  <a:schemeClr val="tx1"/>
                </a:solidFill>
                <a:sym typeface="+mn-lt"/>
              </a:rPr>
              <a:pPr>
                <a:spcBef>
                  <a:spcPct val="0"/>
                </a:spcBef>
                <a:spcAft>
                  <a:spcPct val="0"/>
                </a:spcAft>
              </a:pPr>
              <a:t>5%</a:t>
            </a:fld>
            <a:r>
              <a:rPr lang="en-US" sz="1200" smtClean="0">
                <a:solidFill>
                  <a:schemeClr val="tx1"/>
                </a:solidFill>
                <a:sym typeface="+mn-lt"/>
              </a:rPr>
              <a:t> (</a:t>
            </a:r>
            <a:fld id="{304AFBF9-66A8-43A9-B184-6D2CFD7B546D}" type="datetime'''''''''''''''''''''''''4''''''''3'''''''">
              <a:rPr lang="en-US" sz="1200" smtClean="0">
                <a:solidFill>
                  <a:schemeClr val="tx1"/>
                </a:solidFill>
                <a:sym typeface="+mn-lt"/>
              </a:rPr>
              <a:pPr>
                <a:spcBef>
                  <a:spcPct val="0"/>
                </a:spcBef>
                <a:spcAft>
                  <a:spcPct val="0"/>
                </a:spcAft>
              </a:pPr>
              <a:t>43</a:t>
            </a:fld>
            <a:r>
              <a:rPr lang="en-US" sz="1200" smtClean="0">
                <a:solidFill>
                  <a:schemeClr val="tx1"/>
                </a:solidFill>
                <a:sym typeface="+mn-lt"/>
              </a:rPr>
              <a:t>)</a:t>
            </a:r>
            <a:endParaRPr lang="en-US" sz="1200">
              <a:solidFill>
                <a:schemeClr val="tx1"/>
              </a:solidFill>
              <a:sym typeface="+mn-lt"/>
            </a:endParaRPr>
          </a:p>
        </p:txBody>
      </p:sp>
      <p:sp>
        <p:nvSpPr>
          <p:cNvPr id="148" name="Rectangle 147"/>
          <p:cNvSpPr/>
          <p:nvPr>
            <p:custDataLst>
              <p:tags r:id="rId38"/>
            </p:custDataLst>
          </p:nvPr>
        </p:nvSpPr>
        <p:spPr bwMode="gray">
          <a:xfrm>
            <a:off x="6940551" y="289560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8A1990AE-934A-48B1-AF44-AC3C5E171396}" type="datetime'''''''''''''''''4%'''''''''''''''''''''''''''''''''''">
              <a:rPr lang="en-US" sz="1200">
                <a:solidFill>
                  <a:schemeClr val="tx1"/>
                </a:solidFill>
                <a:sym typeface="+mn-lt"/>
              </a:rPr>
              <a:pPr>
                <a:spcBef>
                  <a:spcPct val="0"/>
                </a:spcBef>
                <a:spcAft>
                  <a:spcPct val="0"/>
                </a:spcAft>
              </a:pPr>
              <a:t>4%</a:t>
            </a:fld>
            <a:r>
              <a:rPr lang="en-US" sz="1200" smtClean="0">
                <a:solidFill>
                  <a:schemeClr val="tx1"/>
                </a:solidFill>
                <a:sym typeface="+mn-lt"/>
              </a:rPr>
              <a:t> (</a:t>
            </a:r>
            <a:fld id="{578CD696-C1D8-4848-92DF-DDE840790639}" type="datetime'''3''''''6'''''''''''''''''''''''''''''''''''''''">
              <a:rPr lang="en-US" sz="1200" smtClean="0">
                <a:solidFill>
                  <a:schemeClr val="tx1"/>
                </a:solidFill>
                <a:sym typeface="+mn-lt"/>
              </a:rPr>
              <a:pPr>
                <a:spcBef>
                  <a:spcPct val="0"/>
                </a:spcBef>
                <a:spcAft>
                  <a:spcPct val="0"/>
                </a:spcAft>
              </a:pPr>
              <a:t>36</a:t>
            </a:fld>
            <a:r>
              <a:rPr lang="en-US" sz="1200" smtClean="0">
                <a:solidFill>
                  <a:schemeClr val="tx1"/>
                </a:solidFill>
                <a:sym typeface="+mn-lt"/>
              </a:rPr>
              <a:t>)</a:t>
            </a:r>
            <a:endParaRPr lang="en-US" sz="1200">
              <a:solidFill>
                <a:schemeClr val="tx1"/>
              </a:solidFill>
              <a:sym typeface="+mn-lt"/>
            </a:endParaRPr>
          </a:p>
        </p:txBody>
      </p:sp>
      <p:sp>
        <p:nvSpPr>
          <p:cNvPr id="149" name="Rectangle 148"/>
          <p:cNvSpPr/>
          <p:nvPr>
            <p:custDataLst>
              <p:tags r:id="rId39"/>
            </p:custDataLst>
          </p:nvPr>
        </p:nvSpPr>
        <p:spPr bwMode="gray">
          <a:xfrm>
            <a:off x="6883401" y="318135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E922AFAE-D73C-4222-B677-CBB3A88B4F1D}"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55C379DA-4357-4132-A990-79AEEC7377F7}" type="datetime'''''''''1''''''''''9'''''''''''''''''''''''''''''">
              <a:rPr lang="en-US" sz="1200" smtClean="0">
                <a:solidFill>
                  <a:schemeClr val="tx1"/>
                </a:solidFill>
                <a:sym typeface="+mn-lt"/>
              </a:rPr>
              <a:pPr>
                <a:spcBef>
                  <a:spcPct val="0"/>
                </a:spcBef>
                <a:spcAft>
                  <a:spcPct val="0"/>
                </a:spcAft>
              </a:pPr>
              <a:t>19</a:t>
            </a:fld>
            <a:r>
              <a:rPr lang="en-US" sz="1200" smtClean="0">
                <a:solidFill>
                  <a:schemeClr val="tx1"/>
                </a:solidFill>
                <a:sym typeface="+mn-lt"/>
              </a:rPr>
              <a:t>)</a:t>
            </a:r>
            <a:endParaRPr lang="en-US" sz="1200">
              <a:solidFill>
                <a:schemeClr val="tx1"/>
              </a:solidFill>
              <a:sym typeface="+mn-lt"/>
            </a:endParaRPr>
          </a:p>
        </p:txBody>
      </p:sp>
      <p:sp>
        <p:nvSpPr>
          <p:cNvPr id="150" name="Rectangle 149"/>
          <p:cNvSpPr/>
          <p:nvPr>
            <p:custDataLst>
              <p:tags r:id="rId40"/>
            </p:custDataLst>
          </p:nvPr>
        </p:nvSpPr>
        <p:spPr bwMode="gray">
          <a:xfrm>
            <a:off x="6873876" y="3471863"/>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35BE76E1-186D-4F70-9B64-C99B1D7C3BC1}"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E1E038B7-BEB1-4428-8B72-BEA052E4D8AE}" type="datetime'''''''''''1''''''5'''''''''''''''''''''''''''''''''''''''''''">
              <a:rPr lang="en-US" sz="1200" smtClean="0">
                <a:solidFill>
                  <a:schemeClr val="tx1"/>
                </a:solidFill>
                <a:sym typeface="+mn-lt"/>
              </a:rPr>
              <a:pPr>
                <a:spcBef>
                  <a:spcPct val="0"/>
                </a:spcBef>
                <a:spcAft>
                  <a:spcPct val="0"/>
                </a:spcAft>
              </a:pPr>
              <a:t>15</a:t>
            </a:fld>
            <a:r>
              <a:rPr lang="en-US" sz="1200" smtClean="0">
                <a:solidFill>
                  <a:schemeClr val="tx1"/>
                </a:solidFill>
                <a:sym typeface="+mn-lt"/>
              </a:rPr>
              <a:t>)</a:t>
            </a:r>
            <a:endParaRPr lang="en-US" sz="1200">
              <a:solidFill>
                <a:schemeClr val="tx1"/>
              </a:solidFill>
              <a:sym typeface="+mn-lt"/>
            </a:endParaRPr>
          </a:p>
        </p:txBody>
      </p:sp>
      <p:sp>
        <p:nvSpPr>
          <p:cNvPr id="151" name="Rectangle 150"/>
          <p:cNvSpPr/>
          <p:nvPr>
            <p:custDataLst>
              <p:tags r:id="rId41"/>
            </p:custDataLst>
          </p:nvPr>
        </p:nvSpPr>
        <p:spPr bwMode="gray">
          <a:xfrm>
            <a:off x="6864351" y="3762375"/>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55F59051-F163-4C52-942C-3660CD232EF2}"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512FF32C-CAF9-488A-ACE4-1B9227DBA106}" type="datetime'1''''''''''''''''''''''''1'''''''''''''''''''''''''''''''''''">
              <a:rPr lang="en-US" sz="1200" smtClean="0">
                <a:solidFill>
                  <a:schemeClr val="tx1"/>
                </a:solidFill>
                <a:sym typeface="+mn-lt"/>
              </a:rPr>
              <a:pPr>
                <a:spcBef>
                  <a:spcPct val="0"/>
                </a:spcBef>
                <a:spcAft>
                  <a:spcPct val="0"/>
                </a:spcAft>
              </a:pPr>
              <a:t>11</a:t>
            </a:fld>
            <a:r>
              <a:rPr lang="en-US" sz="1200" smtClean="0">
                <a:solidFill>
                  <a:schemeClr val="tx1"/>
                </a:solidFill>
                <a:sym typeface="+mn-lt"/>
              </a:rPr>
              <a:t>)</a:t>
            </a:r>
            <a:endParaRPr lang="en-US" sz="1200">
              <a:solidFill>
                <a:schemeClr val="tx1"/>
              </a:solidFill>
              <a:sym typeface="+mn-lt"/>
            </a:endParaRPr>
          </a:p>
        </p:txBody>
      </p:sp>
      <p:sp>
        <p:nvSpPr>
          <p:cNvPr id="152" name="Rectangle 151"/>
          <p:cNvSpPr/>
          <p:nvPr>
            <p:custDataLst>
              <p:tags r:id="rId42"/>
            </p:custDataLst>
          </p:nvPr>
        </p:nvSpPr>
        <p:spPr bwMode="gray">
          <a:xfrm>
            <a:off x="6854826" y="4048125"/>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056AD3BA-6CEA-4906-9C87-F3352A9CFF1C}"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BA781F6C-2D75-43D5-944A-CA4FE70170BF}" type="datetime'''1''''''0'''''''''''''''''''''''''''''''''''''''''''''''''''">
              <a:rPr lang="en-US" sz="1200" smtClean="0">
                <a:solidFill>
                  <a:schemeClr val="tx1"/>
                </a:solidFill>
                <a:sym typeface="+mn-lt"/>
              </a:rPr>
              <a:pPr>
                <a:spcBef>
                  <a:spcPct val="0"/>
                </a:spcBef>
                <a:spcAft>
                  <a:spcPct val="0"/>
                </a:spcAft>
              </a:pPr>
              <a:t>10</a:t>
            </a:fld>
            <a:r>
              <a:rPr lang="en-US" sz="1200" smtClean="0">
                <a:solidFill>
                  <a:schemeClr val="tx1"/>
                </a:solidFill>
                <a:sym typeface="+mn-lt"/>
              </a:rPr>
              <a:t>)</a:t>
            </a:r>
            <a:endParaRPr lang="en-US" sz="1200">
              <a:solidFill>
                <a:schemeClr val="tx1"/>
              </a:solidFill>
              <a:sym typeface="+mn-lt"/>
            </a:endParaRPr>
          </a:p>
        </p:txBody>
      </p:sp>
      <p:sp>
        <p:nvSpPr>
          <p:cNvPr id="153" name="Rectangle 152"/>
          <p:cNvSpPr/>
          <p:nvPr>
            <p:custDataLst>
              <p:tags r:id="rId43"/>
            </p:custDataLst>
          </p:nvPr>
        </p:nvSpPr>
        <p:spPr bwMode="gray">
          <a:xfrm>
            <a:off x="6845300" y="4333875"/>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4588B574-4559-423C-9F81-18B6B73C2698}"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ADC70D5A-F692-4D59-933E-625687B5D231}" type="datetime'''''''''''''6'''''''''''''''''''''''''''''''''''''''''''''">
              <a:rPr lang="en-US" sz="1200" smtClean="0">
                <a:solidFill>
                  <a:schemeClr val="tx1"/>
                </a:solidFill>
                <a:sym typeface="+mn-lt"/>
              </a:rPr>
              <a:pPr>
                <a:spcBef>
                  <a:spcPct val="0"/>
                </a:spcBef>
                <a:spcAft>
                  <a:spcPct val="0"/>
                </a:spcAft>
              </a:pPr>
              <a:t>6</a:t>
            </a:fld>
            <a:r>
              <a:rPr lang="en-US" sz="1200" smtClean="0">
                <a:solidFill>
                  <a:schemeClr val="tx1"/>
                </a:solidFill>
                <a:sym typeface="+mn-lt"/>
              </a:rPr>
              <a:t>)</a:t>
            </a:r>
            <a:endParaRPr lang="en-US" sz="1200">
              <a:solidFill>
                <a:schemeClr val="tx1"/>
              </a:solidFill>
              <a:sym typeface="+mn-lt"/>
            </a:endParaRPr>
          </a:p>
        </p:txBody>
      </p:sp>
      <p:sp>
        <p:nvSpPr>
          <p:cNvPr id="154" name="Rectangle 153"/>
          <p:cNvSpPr/>
          <p:nvPr>
            <p:custDataLst>
              <p:tags r:id="rId44"/>
            </p:custDataLst>
          </p:nvPr>
        </p:nvSpPr>
        <p:spPr bwMode="gray">
          <a:xfrm>
            <a:off x="6864351" y="4624388"/>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9913DB12-F993-4C93-BE4F-D3B8C194FC64}"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02138BDF-10F1-44A8-8712-720256D10102}" type="datetime'''''''''''''''''''''''1''3'''''''">
              <a:rPr lang="en-US" sz="1200" smtClean="0">
                <a:solidFill>
                  <a:schemeClr val="tx1"/>
                </a:solidFill>
                <a:sym typeface="+mn-lt"/>
              </a:rPr>
              <a:pPr>
                <a:spcBef>
                  <a:spcPct val="0"/>
                </a:spcBef>
                <a:spcAft>
                  <a:spcPct val="0"/>
                </a:spcAft>
              </a:pPr>
              <a:t>13</a:t>
            </a:fld>
            <a:r>
              <a:rPr lang="en-US" sz="1200" smtClean="0">
                <a:solidFill>
                  <a:schemeClr val="tx1"/>
                </a:solidFill>
                <a:sym typeface="+mn-lt"/>
              </a:rPr>
              <a:t>)</a:t>
            </a:r>
            <a:endParaRPr lang="en-US" sz="1200">
              <a:solidFill>
                <a:schemeClr val="tx1"/>
              </a:solidFill>
              <a:sym typeface="+mn-lt"/>
            </a:endParaRPr>
          </a:p>
        </p:txBody>
      </p:sp>
      <p:sp>
        <p:nvSpPr>
          <p:cNvPr id="156" name="Rectangle 155"/>
          <p:cNvSpPr/>
          <p:nvPr>
            <p:custDataLst>
              <p:tags r:id="rId45"/>
            </p:custDataLst>
          </p:nvPr>
        </p:nvSpPr>
        <p:spPr bwMode="gray">
          <a:xfrm>
            <a:off x="6826250" y="5200650"/>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AA6A1AED-0F51-4BAD-A977-B20B8DE0E514}" type="datetime'''0''''''%'''''''''''''''''''''''''''''''''''''">
              <a:rPr lang="en-US" sz="1200">
                <a:solidFill>
                  <a:schemeClr val="tx1"/>
                </a:solidFill>
                <a:sym typeface="+mn-lt"/>
              </a:rPr>
              <a:pPr>
                <a:spcBef>
                  <a:spcPct val="0"/>
                </a:spcBef>
                <a:spcAft>
                  <a:spcPct val="0"/>
                </a:spcAft>
              </a:pPr>
              <a:t>0%</a:t>
            </a:fld>
            <a:r>
              <a:rPr lang="en-US" sz="1200" smtClean="0">
                <a:solidFill>
                  <a:schemeClr val="tx1"/>
                </a:solidFill>
                <a:sym typeface="+mn-lt"/>
              </a:rPr>
              <a:t> (</a:t>
            </a:r>
            <a:fld id="{CE0FB7B2-71E7-44BF-942C-4B8D76349EB2}" type="datetime'''''''''''1'''''''''''''''''''''''''''''''''''''''''''''''''''">
              <a:rPr lang="en-US" sz="1200" smtClean="0">
                <a:solidFill>
                  <a:schemeClr val="tx1"/>
                </a:solidFill>
                <a:sym typeface="+mn-lt"/>
              </a:rPr>
              <a:pPr>
                <a:spcBef>
                  <a:spcPct val="0"/>
                </a:spcBef>
                <a:spcAft>
                  <a:spcPct val="0"/>
                </a:spcAft>
              </a:pPr>
              <a:t>1</a:t>
            </a:fld>
            <a:r>
              <a:rPr lang="en-US" sz="1200" smtClean="0">
                <a:solidFill>
                  <a:schemeClr val="tx1"/>
                </a:solidFill>
                <a:sym typeface="+mn-lt"/>
              </a:rPr>
              <a:t>)</a:t>
            </a:r>
            <a:endParaRPr lang="en-US" sz="1200">
              <a:solidFill>
                <a:schemeClr val="tx1"/>
              </a:solidFill>
              <a:sym typeface="+mn-lt"/>
            </a:endParaRPr>
          </a:p>
        </p:txBody>
      </p:sp>
      <p:sp>
        <p:nvSpPr>
          <p:cNvPr id="155" name="Rectangle 154"/>
          <p:cNvSpPr/>
          <p:nvPr>
            <p:custDataLst>
              <p:tags r:id="rId46"/>
            </p:custDataLst>
          </p:nvPr>
        </p:nvSpPr>
        <p:spPr bwMode="gray">
          <a:xfrm>
            <a:off x="6835775" y="4914900"/>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1C698DEF-D57F-40F3-B561-986497CE3EC2}" type="datetime'''''''''''''''''''''''''''''''''0''''%'''''''''''''">
              <a:rPr lang="en-US" sz="1200">
                <a:solidFill>
                  <a:schemeClr val="tx1"/>
                </a:solidFill>
                <a:sym typeface="+mn-lt"/>
              </a:rPr>
              <a:pPr>
                <a:spcBef>
                  <a:spcPct val="0"/>
                </a:spcBef>
                <a:spcAft>
                  <a:spcPct val="0"/>
                </a:spcAft>
              </a:pPr>
              <a:t>0%</a:t>
            </a:fld>
            <a:r>
              <a:rPr lang="en-US" sz="1200" smtClean="0">
                <a:solidFill>
                  <a:schemeClr val="tx1"/>
                </a:solidFill>
                <a:sym typeface="+mn-lt"/>
              </a:rPr>
              <a:t> (</a:t>
            </a:r>
            <a:fld id="{E4799A28-7AAC-4560-A52D-7B37CEBE91C0}" type="datetime'3'''''">
              <a:rPr lang="en-US" sz="1200" smtClean="0">
                <a:solidFill>
                  <a:schemeClr val="tx1"/>
                </a:solidFill>
                <a:sym typeface="+mn-lt"/>
              </a:rPr>
              <a:pPr>
                <a:spcBef>
                  <a:spcPct val="0"/>
                </a:spcBef>
                <a:spcAft>
                  <a:spcPct val="0"/>
                </a:spcAft>
              </a:pPr>
              <a:t>3</a:t>
            </a:fld>
            <a:r>
              <a:rPr lang="en-US" sz="1200" smtClean="0">
                <a:solidFill>
                  <a:schemeClr val="tx1"/>
                </a:solidFill>
                <a:sym typeface="+mn-lt"/>
              </a:rPr>
              <a:t>)</a:t>
            </a:r>
            <a:endParaRPr lang="en-US" sz="1200">
              <a:solidFill>
                <a:schemeClr val="tx1"/>
              </a:solidFill>
              <a:sym typeface="+mn-lt"/>
            </a:endParaRPr>
          </a:p>
        </p:txBody>
      </p:sp>
      <p:sp>
        <p:nvSpPr>
          <p:cNvPr id="144" name="Rectangle 143"/>
          <p:cNvSpPr/>
          <p:nvPr/>
        </p:nvSpPr>
        <p:spPr>
          <a:xfrm>
            <a:off x="5612940" y="1016732"/>
            <a:ext cx="3368648" cy="504056"/>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įvykdytų projektų skaičių, proc.</a:t>
            </a:r>
            <a:endParaRPr lang="lt-LT" sz="1200" dirty="0">
              <a:solidFill>
                <a:schemeClr val="bg1"/>
              </a:solidFill>
              <a:cs typeface="Cambria"/>
            </a:endParaRPr>
          </a:p>
        </p:txBody>
      </p:sp>
      <p:sp>
        <p:nvSpPr>
          <p:cNvPr id="145" name="Rectangle 144"/>
          <p:cNvSpPr/>
          <p:nvPr/>
        </p:nvSpPr>
        <p:spPr>
          <a:xfrm>
            <a:off x="5616116" y="1520787"/>
            <a:ext cx="3368649" cy="46085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54" name="Rectangle 53"/>
          <p:cNvSpPr/>
          <p:nvPr/>
        </p:nvSpPr>
        <p:spPr>
          <a:xfrm>
            <a:off x="202817" y="2564606"/>
            <a:ext cx="5080765" cy="422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Vidutiniškai kiekvienais metais užsiregistravę vartotojai įvykdo apie 300 projektu;</a:t>
            </a:r>
          </a:p>
          <a:p>
            <a:pPr marL="96838" lvl="0" indent="-96838" algn="just">
              <a:spcAft>
                <a:spcPts val="600"/>
              </a:spcAft>
              <a:buFont typeface="Arial" panose="020B0604020202020204" pitchFamily="34" charset="0"/>
              <a:buChar char="•"/>
            </a:pPr>
            <a:r>
              <a:rPr lang="lt-LT" sz="1200" dirty="0" smtClean="0">
                <a:solidFill>
                  <a:prstClr val="black"/>
                </a:solidFill>
              </a:rPr>
              <a:t>Didžiausią skaičių projektų įvykdė 2010 m. užsiregistravę vartotojai.</a:t>
            </a:r>
            <a:endParaRPr lang="lt-LT" sz="1200" dirty="0">
              <a:solidFill>
                <a:prstClr val="black"/>
              </a:solidFill>
            </a:endParaRPr>
          </a:p>
        </p:txBody>
      </p:sp>
      <p:sp>
        <p:nvSpPr>
          <p:cNvPr id="55" name="Rectangle 54"/>
          <p:cNvSpPr/>
          <p:nvPr/>
        </p:nvSpPr>
        <p:spPr>
          <a:xfrm>
            <a:off x="262188" y="5097463"/>
            <a:ext cx="5285874" cy="1031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200</a:t>
            </a:r>
            <a:r>
              <a:rPr lang="en-US" sz="1200" dirty="0" smtClean="0">
                <a:solidFill>
                  <a:prstClr val="black"/>
                </a:solidFill>
              </a:rPr>
              <a:t>7 </a:t>
            </a:r>
            <a:r>
              <a:rPr lang="en-US" sz="1200" dirty="0" err="1" smtClean="0">
                <a:solidFill>
                  <a:prstClr val="black"/>
                </a:solidFill>
              </a:rPr>
              <a:t>ir</a:t>
            </a:r>
            <a:r>
              <a:rPr lang="en-US" sz="1200" dirty="0" smtClean="0">
                <a:solidFill>
                  <a:prstClr val="black"/>
                </a:solidFill>
              </a:rPr>
              <a:t> 2008 m. </a:t>
            </a:r>
            <a:r>
              <a:rPr lang="lt-LT" sz="1200" dirty="0" smtClean="0">
                <a:solidFill>
                  <a:prstClr val="black"/>
                </a:solidFill>
              </a:rPr>
              <a:t>užsiregistravę vartotojai vidutiniškai įvykdė po 4 projektus;</a:t>
            </a:r>
          </a:p>
          <a:p>
            <a:pPr marL="96838" lvl="0" indent="-96838" algn="just">
              <a:spcAft>
                <a:spcPts val="600"/>
              </a:spcAft>
              <a:buFont typeface="Arial" panose="020B0604020202020204" pitchFamily="34" charset="0"/>
              <a:buChar char="•"/>
            </a:pPr>
            <a:r>
              <a:rPr lang="lt-LT" sz="1200" dirty="0" smtClean="0">
                <a:solidFill>
                  <a:prstClr val="black"/>
                </a:solidFill>
              </a:rPr>
              <a:t>2009-2011 m. užsiregistravę vartotojai vidutiniškai įvykdė po 3 projektus</a:t>
            </a:r>
          </a:p>
          <a:p>
            <a:pPr marL="96838" lvl="0" indent="-96838" algn="just">
              <a:spcAft>
                <a:spcPts val="600"/>
              </a:spcAft>
              <a:buFont typeface="Arial" panose="020B0604020202020204" pitchFamily="34" charset="0"/>
              <a:buChar char="•"/>
            </a:pPr>
            <a:r>
              <a:rPr lang="lt-LT" sz="1200" dirty="0" smtClean="0">
                <a:solidFill>
                  <a:prstClr val="black"/>
                </a:solidFill>
              </a:rPr>
              <a:t>Vėliausiai užsiregistravę vartotojai (2012 ir 2013 m.) spėjo įvykdyti vidutiniškai po atitinkamai 2 ir 1 projektus.</a:t>
            </a:r>
            <a:endParaRPr lang="lt-LT" sz="1200" dirty="0">
              <a:solidFill>
                <a:prstClr val="black"/>
              </a:solidFill>
            </a:endParaRPr>
          </a:p>
        </p:txBody>
      </p:sp>
      <p:sp>
        <p:nvSpPr>
          <p:cNvPr id="56" name="Rectangle 55"/>
          <p:cNvSpPr/>
          <p:nvPr/>
        </p:nvSpPr>
        <p:spPr>
          <a:xfrm>
            <a:off x="5616116" y="5613381"/>
            <a:ext cx="3148765" cy="422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Didžioji dalis vartotojų (52 proc.) yra įvykdę po 1 projektą.</a:t>
            </a:r>
          </a:p>
        </p:txBody>
      </p:sp>
    </p:spTree>
    <p:extLst>
      <p:ext uri="{BB962C8B-B14F-4D97-AF65-F5344CB8AC3E}">
        <p14:creationId xmlns:p14="http://schemas.microsoft.com/office/powerpoint/2010/main" val="35925834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0</a:t>
            </a:fld>
            <a:endParaRPr lang="lt-LT" dirty="0"/>
          </a:p>
        </p:txBody>
      </p:sp>
      <p:sp>
        <p:nvSpPr>
          <p:cNvPr id="3" name="Title 2"/>
          <p:cNvSpPr>
            <a:spLocks noGrp="1"/>
          </p:cNvSpPr>
          <p:nvPr>
            <p:ph type="title"/>
          </p:nvPr>
        </p:nvSpPr>
        <p:spPr>
          <a:xfrm>
            <a:off x="107504" y="195317"/>
            <a:ext cx="9036496" cy="1100083"/>
          </a:xfrm>
        </p:spPr>
        <p:txBody>
          <a:bodyPr>
            <a:noAutofit/>
          </a:bodyPr>
          <a:lstStyle/>
          <a:p>
            <a:r>
              <a:rPr lang="lt-LT" sz="2000" b="1" dirty="0">
                <a:solidFill>
                  <a:schemeClr val="tx2">
                    <a:lumMod val="75000"/>
                  </a:schemeClr>
                </a:solidFill>
              </a:rPr>
              <a:t>„eTwinning“ projektų vykdymas naudingas organizacijoms kadangi padidina administracijos paramą mokytojų initiatyvoms ir paskatina mokytojus būti aktyvesniais, padidina integraciją tarp skirtingų dalykų ir padidina organizacijų žinomumą</a:t>
            </a:r>
          </a:p>
        </p:txBody>
      </p:sp>
      <p:graphicFrame>
        <p:nvGraphicFramePr>
          <p:cNvPr id="5" name="Table 4"/>
          <p:cNvGraphicFramePr>
            <a:graphicFrameLocks noGrp="1"/>
          </p:cNvGraphicFramePr>
          <p:nvPr>
            <p:extLst>
              <p:ext uri="{D42A27DB-BD31-4B8C-83A1-F6EECF244321}">
                <p14:modId xmlns:p14="http://schemas.microsoft.com/office/powerpoint/2010/main" val="4275029680"/>
              </p:ext>
            </p:extLst>
          </p:nvPr>
        </p:nvGraphicFramePr>
        <p:xfrm>
          <a:off x="215516" y="1412776"/>
          <a:ext cx="8676965" cy="4023360"/>
        </p:xfrm>
        <a:graphic>
          <a:graphicData uri="http://schemas.openxmlformats.org/drawingml/2006/table">
            <a:tbl>
              <a:tblPr firstRow="1">
                <a:tableStyleId>{5C22544A-7EE6-4342-B048-85BDC9FD1C3A}</a:tableStyleId>
              </a:tblPr>
              <a:tblGrid>
                <a:gridCol w="2230965"/>
                <a:gridCol w="2153790"/>
                <a:gridCol w="2146105"/>
                <a:gridCol w="2146105"/>
              </a:tblGrid>
              <a:tr h="328808">
                <a:tc>
                  <a:txBody>
                    <a:bodyPr/>
                    <a:lstStyle/>
                    <a:p>
                      <a:pPr algn="ctr">
                        <a:lnSpc>
                          <a:spcPct val="150000"/>
                        </a:lnSpc>
                        <a:spcAft>
                          <a:spcPts val="0"/>
                        </a:spcAft>
                      </a:pPr>
                      <a:r>
                        <a:rPr lang="lt-LT" sz="1100" b="1" dirty="0">
                          <a:solidFill>
                            <a:srgbClr val="FFFFFF"/>
                          </a:solidFill>
                          <a:effectLst/>
                          <a:latin typeface="Calibri"/>
                          <a:ea typeface="Calibri"/>
                          <a:cs typeface="Times New Roman"/>
                        </a:rPr>
                        <a:t>Padidėjo mokytojų aktyvuma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Didesnis administracijos palaikymas mokytojam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Didesnė integracija tarp skirtintų dalykų</a:t>
                      </a:r>
                      <a:endParaRPr lang="lt-LT" sz="110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Didesnis organizacijos žinomumas</a:t>
                      </a:r>
                      <a:endParaRPr lang="lt-LT" sz="110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Mokytojai tapo iniciatyvesni, aktyviau siūlo savo įdėjas projektams;</a:t>
                      </a:r>
                    </a:p>
                    <a:p>
                      <a:pPr marL="342900" lvl="0" indent="-342900" algn="l">
                        <a:lnSpc>
                          <a:spcPct val="150000"/>
                        </a:lnSpc>
                        <a:spcAft>
                          <a:spcPts val="0"/>
                        </a:spcAft>
                        <a:buFont typeface="Symbol"/>
                        <a:buChar char=""/>
                      </a:pPr>
                      <a:r>
                        <a:rPr lang="lt-LT" sz="1100" dirty="0">
                          <a:effectLst/>
                          <a:latin typeface="Calibri"/>
                          <a:ea typeface="Calibri"/>
                          <a:cs typeface="Arial"/>
                        </a:rPr>
                        <a:t>Daugiau mokytojų susidomėjo eTwinning ir Commenius programomis;</a:t>
                      </a:r>
                    </a:p>
                    <a:p>
                      <a:pPr marL="342900" lvl="0" indent="-342900" algn="l">
                        <a:lnSpc>
                          <a:spcPct val="150000"/>
                        </a:lnSpc>
                        <a:spcAft>
                          <a:spcPts val="0"/>
                        </a:spcAft>
                        <a:buFont typeface="Symbol"/>
                        <a:buChar char=""/>
                      </a:pPr>
                      <a:r>
                        <a:rPr lang="lt-LT" sz="1100" dirty="0">
                          <a:effectLst/>
                          <a:latin typeface="Calibri"/>
                          <a:ea typeface="Calibri"/>
                          <a:cs typeface="Arial"/>
                        </a:rPr>
                        <a:t>Mokytojai dažniau dalyvauja tarptautiniuose projektuose ir bendradarbiauja su užsienio </a:t>
                      </a:r>
                      <a:r>
                        <a:rPr lang="lt-LT" sz="1100" dirty="0" smtClean="0">
                          <a:effectLst/>
                          <a:latin typeface="Calibri"/>
                          <a:ea typeface="Calibri"/>
                          <a:cs typeface="Arial"/>
                        </a:rPr>
                        <a:t>mokyklomis</a:t>
                      </a:r>
                      <a:r>
                        <a:rPr lang="lt-LT" sz="1100" dirty="0">
                          <a:effectLst/>
                          <a:latin typeface="Calibri"/>
                          <a:ea typeface="Calibri"/>
                          <a:cs typeface="Arial"/>
                        </a:rPr>
                        <a:t>.</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idėjo bendradarbiavimas tarp adminstracijos ir mokytojų </a:t>
                      </a:r>
                    </a:p>
                    <a:p>
                      <a:pPr marL="342900" lvl="0" indent="-342900" algn="l">
                        <a:lnSpc>
                          <a:spcPct val="150000"/>
                        </a:lnSpc>
                        <a:spcAft>
                          <a:spcPts val="0"/>
                        </a:spcAft>
                        <a:buFont typeface="Symbol"/>
                        <a:buChar char=""/>
                      </a:pPr>
                      <a:r>
                        <a:rPr lang="lt-LT" sz="1100" dirty="0">
                          <a:effectLst/>
                          <a:latin typeface="Calibri"/>
                          <a:ea typeface="Calibri"/>
                          <a:cs typeface="Arial"/>
                        </a:rPr>
                        <a:t>padidėjo administracijos palaikymas mokytojų iniciatyvoms;</a:t>
                      </a:r>
                    </a:p>
                    <a:p>
                      <a:pPr marL="342900" lvl="0" indent="-342900" algn="l">
                        <a:lnSpc>
                          <a:spcPct val="150000"/>
                        </a:lnSpc>
                        <a:spcAft>
                          <a:spcPts val="0"/>
                        </a:spcAft>
                        <a:buFont typeface="Symbol"/>
                        <a:buChar char=""/>
                      </a:pPr>
                      <a:r>
                        <a:rPr lang="lt-LT" sz="1100" dirty="0">
                          <a:effectLst/>
                          <a:latin typeface="Calibri"/>
                          <a:ea typeface="Calibri"/>
                          <a:cs typeface="Arial"/>
                        </a:rPr>
                        <a:t>Administracija viešai įvertina dalyvavusius ir taip skatina daugiau mokytojų dalyvauti projektuose;</a:t>
                      </a:r>
                    </a:p>
                    <a:p>
                      <a:pPr marL="342900" lvl="0" indent="-342900" algn="l">
                        <a:lnSpc>
                          <a:spcPct val="150000"/>
                        </a:lnSpc>
                        <a:spcAft>
                          <a:spcPts val="0"/>
                        </a:spcAft>
                        <a:buFont typeface="Symbol"/>
                        <a:buChar char=""/>
                      </a:pPr>
                      <a:r>
                        <a:rPr lang="lt-LT" sz="1100" dirty="0">
                          <a:effectLst/>
                          <a:latin typeface="Calibri"/>
                          <a:ea typeface="Calibri"/>
                          <a:cs typeface="Arial"/>
                        </a:rPr>
                        <a:t>administracija skyrė būrelį projekto veikloms vykdyti;</a:t>
                      </a:r>
                    </a:p>
                    <a:p>
                      <a:pPr marL="342900" lvl="0" indent="-342900" algn="l">
                        <a:lnSpc>
                          <a:spcPct val="150000"/>
                        </a:lnSpc>
                        <a:spcAft>
                          <a:spcPts val="0"/>
                        </a:spcAft>
                        <a:buFont typeface="Symbol"/>
                        <a:buChar char=""/>
                      </a:pPr>
                      <a:r>
                        <a:rPr lang="lt-LT" sz="1100" dirty="0">
                          <a:effectLst/>
                          <a:latin typeface="Calibri"/>
                          <a:ea typeface="Calibri"/>
                          <a:cs typeface="Arial"/>
                        </a:rPr>
                        <a:t>administracija apmoka dalį projektų išlaidų.</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Padidėjo integracija tarp mokomųjų dalykų;</a:t>
                      </a:r>
                    </a:p>
                    <a:p>
                      <a:pPr marL="342900" lvl="0" indent="-342900" algn="l">
                        <a:lnSpc>
                          <a:spcPct val="150000"/>
                        </a:lnSpc>
                        <a:spcAft>
                          <a:spcPts val="0"/>
                        </a:spcAft>
                        <a:buFont typeface="Symbol"/>
                        <a:buChar char=""/>
                      </a:pPr>
                      <a:r>
                        <a:rPr lang="lt-LT" sz="1100">
                          <a:effectLst/>
                          <a:latin typeface="Calibri"/>
                          <a:ea typeface="Calibri"/>
                          <a:cs typeface="Arial"/>
                        </a:rPr>
                        <a:t>Mokytojai dažniau bendradarbiauja, tariasi;</a:t>
                      </a:r>
                    </a:p>
                    <a:p>
                      <a:pPr marL="342900" lvl="0" indent="-342900" algn="l">
                        <a:lnSpc>
                          <a:spcPct val="150000"/>
                        </a:lnSpc>
                        <a:spcAft>
                          <a:spcPts val="0"/>
                        </a:spcAft>
                        <a:buFont typeface="Symbol"/>
                        <a:buChar char=""/>
                      </a:pPr>
                      <a:r>
                        <a:rPr lang="lt-LT" sz="1100">
                          <a:effectLst/>
                          <a:latin typeface="Calibri"/>
                          <a:ea typeface="Calibri"/>
                          <a:cs typeface="Arial"/>
                        </a:rPr>
                        <a:t>Mokytojai dažniau stengiasi susisieti savo destomos pamokos turinį su kitomis pamokomis;</a:t>
                      </a:r>
                    </a:p>
                    <a:p>
                      <a:pPr marL="342900" lvl="0" indent="-342900" algn="l">
                        <a:lnSpc>
                          <a:spcPct val="150000"/>
                        </a:lnSpc>
                        <a:spcAft>
                          <a:spcPts val="0"/>
                        </a:spcAft>
                        <a:buFont typeface="Symbol"/>
                        <a:buChar char=""/>
                      </a:pPr>
                      <a:r>
                        <a:rPr lang="lt-LT" sz="1100">
                          <a:effectLst/>
                          <a:latin typeface="Calibri"/>
                          <a:ea typeface="Calibri"/>
                          <a:cs typeface="Arial"/>
                        </a:rPr>
                        <a:t>eTwinning projektai leido apjungti kelias skirtingas disciplinas (pamoka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idėjo organizacijos žinomumas (skelbiama informacija vietinėje spaudoje);</a:t>
                      </a:r>
                    </a:p>
                    <a:p>
                      <a:pPr marL="342900" lvl="0" indent="-342900" algn="l">
                        <a:lnSpc>
                          <a:spcPct val="150000"/>
                        </a:lnSpc>
                        <a:spcAft>
                          <a:spcPts val="0"/>
                        </a:spcAft>
                        <a:buFont typeface="Symbol"/>
                        <a:buChar char=""/>
                      </a:pPr>
                      <a:r>
                        <a:rPr lang="lt-LT" sz="1100" dirty="0">
                          <a:effectLst/>
                          <a:latin typeface="Calibri"/>
                          <a:ea typeface="Calibri"/>
                          <a:cs typeface="Arial"/>
                        </a:rPr>
                        <a:t>padidėjo tėvų pasitikėjimas mokykla;</a:t>
                      </a:r>
                    </a:p>
                    <a:p>
                      <a:pPr marL="342900" lvl="0" indent="-342900" algn="l">
                        <a:lnSpc>
                          <a:spcPct val="150000"/>
                        </a:lnSpc>
                        <a:spcAft>
                          <a:spcPts val="0"/>
                        </a:spcAft>
                        <a:buFont typeface="Symbol"/>
                        <a:buChar char=""/>
                      </a:pPr>
                      <a:r>
                        <a:rPr lang="lt-LT" sz="1100" dirty="0">
                          <a:effectLst/>
                          <a:latin typeface="Calibri"/>
                          <a:ea typeface="Calibri"/>
                          <a:cs typeface="Arial"/>
                        </a:rPr>
                        <a:t>padidėjo tėvų susidomėjimas;</a:t>
                      </a:r>
                    </a:p>
                    <a:p>
                      <a:pPr marL="342900" lvl="0" indent="-342900" algn="l">
                        <a:lnSpc>
                          <a:spcPct val="150000"/>
                        </a:lnSpc>
                        <a:spcAft>
                          <a:spcPts val="0"/>
                        </a:spcAft>
                        <a:buFont typeface="Symbol"/>
                        <a:buChar char=""/>
                      </a:pPr>
                      <a:r>
                        <a:rPr lang="lt-LT" sz="1100" dirty="0">
                          <a:effectLst/>
                          <a:latin typeface="Calibri"/>
                          <a:ea typeface="Calibri"/>
                          <a:cs typeface="Arial"/>
                        </a:rPr>
                        <a:t>pagerėjo </a:t>
                      </a:r>
                      <a:r>
                        <a:rPr lang="lt-LT" sz="1100" dirty="0" smtClean="0">
                          <a:effectLst/>
                          <a:latin typeface="Calibri"/>
                          <a:ea typeface="Calibri"/>
                          <a:cs typeface="Arial"/>
                        </a:rPr>
                        <a:t>mokyklos </a:t>
                      </a:r>
                      <a:r>
                        <a:rPr lang="lt-LT" sz="1100" dirty="0">
                          <a:effectLst/>
                          <a:latin typeface="Calibri"/>
                          <a:ea typeface="Calibri"/>
                          <a:cs typeface="Arial"/>
                        </a:rPr>
                        <a:t>įvaizdis;</a:t>
                      </a:r>
                    </a:p>
                    <a:p>
                      <a:pPr marL="342900" lvl="0" indent="-342900" algn="l">
                        <a:lnSpc>
                          <a:spcPct val="150000"/>
                        </a:lnSpc>
                        <a:spcAft>
                          <a:spcPts val="0"/>
                        </a:spcAft>
                        <a:buFont typeface="Symbol"/>
                        <a:buChar char=""/>
                      </a:pPr>
                      <a:r>
                        <a:rPr lang="lt-LT" sz="1100" dirty="0">
                          <a:effectLst/>
                          <a:latin typeface="Calibri"/>
                          <a:ea typeface="Calibri"/>
                          <a:cs typeface="Arial"/>
                        </a:rPr>
                        <a:t>padidėjo bendradarbiavimas su bendruomene (ji buvo įtraukta vykdant projektu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50352201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1</a:t>
            </a:fld>
            <a:endParaRPr lang="lt-LT" dirty="0"/>
          </a:p>
        </p:txBody>
      </p:sp>
      <p:sp>
        <p:nvSpPr>
          <p:cNvPr id="3" name="Title 2"/>
          <p:cNvSpPr>
            <a:spLocks noGrp="1"/>
          </p:cNvSpPr>
          <p:nvPr>
            <p:ph type="title"/>
          </p:nvPr>
        </p:nvSpPr>
        <p:spPr>
          <a:xfrm>
            <a:off x="71500" y="313346"/>
            <a:ext cx="8928992" cy="487362"/>
          </a:xfrm>
        </p:spPr>
        <p:txBody>
          <a:bodyPr>
            <a:noAutofit/>
          </a:bodyPr>
          <a:lstStyle/>
          <a:p>
            <a:r>
              <a:rPr lang="lt-LT" sz="2000" b="1" dirty="0">
                <a:solidFill>
                  <a:schemeClr val="tx2">
                    <a:lumMod val="75000"/>
                  </a:schemeClr>
                </a:solidFill>
              </a:rPr>
              <a:t>Didžioji dalis aktyvių respondentų daugumą platformos įrankių vertina kaip patogius arba labai patogius. </a:t>
            </a:r>
            <a:br>
              <a:rPr lang="lt-LT" sz="2000" b="1" dirty="0">
                <a:solidFill>
                  <a:schemeClr val="tx2">
                    <a:lumMod val="75000"/>
                  </a:schemeClr>
                </a:solidFill>
              </a:rPr>
            </a:br>
            <a:endParaRPr lang="lt-LT" sz="2000" b="1" dirty="0">
              <a:solidFill>
                <a:schemeClr val="tx2">
                  <a:lumMod val="75000"/>
                </a:schemeClr>
              </a:solidFill>
            </a:endParaRPr>
          </a:p>
        </p:txBody>
      </p:sp>
      <p:pic>
        <p:nvPicPr>
          <p:cNvPr id="5" name="Picture 4" descr="C:\Users\Karolina\AppData\Local\Microsoft\Windows\INetCache\Content.Word\Slide4.gif"/>
          <p:cNvPicPr/>
          <p:nvPr/>
        </p:nvPicPr>
        <p:blipFill>
          <a:blip r:embed="rId2">
            <a:extLst>
              <a:ext uri="{28A0092B-C50C-407E-A947-70E740481C1C}">
                <a14:useLocalDpi xmlns:a14="http://schemas.microsoft.com/office/drawing/2010/main" val="0"/>
              </a:ext>
            </a:extLst>
          </a:blip>
          <a:srcRect/>
          <a:stretch>
            <a:fillRect/>
          </a:stretch>
        </p:blipFill>
        <p:spPr bwMode="auto">
          <a:xfrm>
            <a:off x="1223628" y="1041986"/>
            <a:ext cx="6840760" cy="5167098"/>
          </a:xfrm>
          <a:prstGeom prst="rect">
            <a:avLst/>
          </a:prstGeom>
          <a:noFill/>
          <a:ln>
            <a:noFill/>
          </a:ln>
        </p:spPr>
      </p:pic>
    </p:spTree>
    <p:extLst>
      <p:ext uri="{BB962C8B-B14F-4D97-AF65-F5344CB8AC3E}">
        <p14:creationId xmlns:p14="http://schemas.microsoft.com/office/powerpoint/2010/main" val="33666593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19050"/>
            <a:ext cx="1360488"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txBox="1">
            <a:spLocks/>
          </p:cNvSpPr>
          <p:nvPr/>
        </p:nvSpPr>
        <p:spPr>
          <a:xfrm>
            <a:off x="152400" y="4953000"/>
            <a:ext cx="8904288" cy="914400"/>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lt-LT" sz="2400" b="1" cap="all" dirty="0" smtClean="0">
                <a:solidFill>
                  <a:schemeClr val="accent1">
                    <a:lumMod val="50000"/>
                  </a:schemeClr>
                </a:solidFill>
                <a:latin typeface="+mn-lt"/>
                <a:ea typeface="+mn-ea"/>
                <a:cs typeface="+mn-cs"/>
              </a:rPr>
              <a:t>Būkime su europa </a:t>
            </a:r>
            <a:endParaRPr lang="lt-LT" sz="2400" b="1" cap="all" dirty="0">
              <a:solidFill>
                <a:schemeClr val="accent1">
                  <a:lumMod val="50000"/>
                </a:schemeClr>
              </a:solidFill>
              <a:latin typeface="+mn-lt"/>
              <a:ea typeface="+mn-ea"/>
              <a:cs typeface="+mn-cs"/>
            </a:endParaRPr>
          </a:p>
          <a:p>
            <a:pPr algn="l"/>
            <a:r>
              <a:rPr lang="lt-LT" sz="2400" b="1" cap="all" dirty="0" smtClean="0">
                <a:solidFill>
                  <a:schemeClr val="accent1">
                    <a:lumMod val="50000"/>
                  </a:schemeClr>
                </a:solidFill>
                <a:latin typeface="+mn-lt"/>
                <a:ea typeface="+mn-ea"/>
                <a:cs typeface="+mn-cs"/>
              </a:rPr>
              <a:t>Prisijunkime. Bendraukime ir bendradarbiaukime</a:t>
            </a:r>
          </a:p>
        </p:txBody>
      </p:sp>
      <p:sp>
        <p:nvSpPr>
          <p:cNvPr id="5" name="Subtitle 2"/>
          <p:cNvSpPr>
            <a:spLocks noGrp="1"/>
          </p:cNvSpPr>
          <p:nvPr/>
        </p:nvSpPr>
        <p:spPr>
          <a:xfrm>
            <a:off x="152400" y="6324600"/>
            <a:ext cx="9056688" cy="533400"/>
          </a:xfrm>
          <a:prstGeom prst="rect">
            <a:avLst/>
          </a:prstGeom>
        </p:spPr>
        <p:txBody>
          <a:bodyPr vert="horz" lIns="91440" tIns="45720" rIns="91440" bIns="45720" rtlCol="0">
            <a:noAutofit/>
          </a:bodyPr>
          <a:lstStyle>
            <a:lvl1pPr marL="0" indent="0" algn="l" defTabSz="914400" rtl="0" eaLnBrk="1" latinLnBrk="0" hangingPunct="1">
              <a:spcBef>
                <a:spcPct val="20000"/>
              </a:spcBef>
              <a:buClr>
                <a:schemeClr val="accent1"/>
              </a:buClr>
              <a:buSzPct val="85000"/>
              <a:buFont typeface="Arial" pitchFamily="34" charset="0"/>
              <a:buNone/>
              <a:defRPr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9pPr>
          </a:lstStyle>
          <a:p>
            <a:r>
              <a:rPr lang="lt-LT" sz="1100" b="1" dirty="0">
                <a:solidFill>
                  <a:schemeClr val="accent1">
                    <a:lumMod val="50000"/>
                  </a:schemeClr>
                </a:solidFill>
              </a:rPr>
              <a:t>Gargždų „Minijos“ progimnazijos IT mokytoja metodininkė, </a:t>
            </a:r>
            <a:endParaRPr lang="lt-LT" sz="1100" b="1" dirty="0" smtClean="0">
              <a:solidFill>
                <a:schemeClr val="accent1">
                  <a:lumMod val="50000"/>
                </a:schemeClr>
              </a:solidFill>
            </a:endParaRPr>
          </a:p>
          <a:p>
            <a:r>
              <a:rPr lang="lt-LT" sz="1100" b="1" dirty="0" smtClean="0">
                <a:solidFill>
                  <a:schemeClr val="accent1">
                    <a:lumMod val="50000"/>
                  </a:schemeClr>
                </a:solidFill>
              </a:rPr>
              <a:t>programos </a:t>
            </a:r>
            <a:r>
              <a:rPr lang="lt-LT" sz="1100" b="1" dirty="0">
                <a:solidFill>
                  <a:schemeClr val="accent1">
                    <a:lumMod val="50000"/>
                  </a:schemeClr>
                </a:solidFill>
              </a:rPr>
              <a:t>eTwinning ambasadorė Kauno/Klaipėdos regionuose Raminta Birgėlienė</a:t>
            </a:r>
            <a:endParaRPr lang="en-US" sz="1100" b="1" dirty="0">
              <a:solidFill>
                <a:schemeClr val="accent1">
                  <a:lumMod val="50000"/>
                </a:schemeClr>
              </a:solidFill>
            </a:endParaRPr>
          </a:p>
        </p:txBody>
      </p:sp>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05199" y="196056"/>
            <a:ext cx="2509837" cy="7175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70108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2968027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2"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55" name="Rectangle 54"/>
          <p:cNvSpPr/>
          <p:nvPr/>
        </p:nvSpPr>
        <p:spPr>
          <a:xfrm>
            <a:off x="78385" y="1448780"/>
            <a:ext cx="8959972" cy="489451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pSp>
        <p:nvGrpSpPr>
          <p:cNvPr id="16" name="Group 15"/>
          <p:cNvGrpSpPr/>
          <p:nvPr/>
        </p:nvGrpSpPr>
        <p:grpSpPr>
          <a:xfrm>
            <a:off x="3978831" y="1543418"/>
            <a:ext cx="4954891" cy="3780139"/>
            <a:chOff x="1204509" y="1069816"/>
            <a:chExt cx="6762750"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89AAD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9AAD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18" name="TextBox 17"/>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20" name="TextBox 19"/>
            <p:cNvSpPr txBox="1"/>
            <p:nvPr/>
          </p:nvSpPr>
          <p:spPr>
            <a:xfrm>
              <a:off x="4250643" y="3757601"/>
              <a:ext cx="1206778" cy="630110"/>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4" y="4514802"/>
              <a:ext cx="1206778" cy="461665"/>
            </a:xfrm>
            <a:prstGeom prst="rect">
              <a:avLst/>
            </a:prstGeom>
            <a:noFill/>
            <a:ln w="6350">
              <a:noFill/>
            </a:ln>
          </p:spPr>
          <p:txBody>
            <a:bodyPr wrap="square" rtlCol="0">
              <a:spAutoFit/>
            </a:bodyPr>
            <a:lstStyle/>
            <a:p>
              <a:r>
                <a:rPr lang="lt-LT" sz="1200" b="1" dirty="0" smtClean="0"/>
                <a:t>Marijampolės regionas</a:t>
              </a:r>
            </a:p>
          </p:txBody>
        </p:sp>
        <p:sp>
          <p:nvSpPr>
            <p:cNvPr id="22" name="TextBox 21"/>
            <p:cNvSpPr txBox="1"/>
            <p:nvPr/>
          </p:nvSpPr>
          <p:spPr>
            <a:xfrm>
              <a:off x="1487088" y="2873874"/>
              <a:ext cx="1206778" cy="461665"/>
            </a:xfrm>
            <a:prstGeom prst="rect">
              <a:avLst/>
            </a:prstGeom>
            <a:noFill/>
            <a:ln w="6350">
              <a:noFill/>
            </a:ln>
          </p:spPr>
          <p:txBody>
            <a:bodyPr wrap="square" rtlCol="0">
              <a:spAutoFit/>
            </a:bodyPr>
            <a:lstStyle/>
            <a:p>
              <a:r>
                <a:rPr lang="lt-LT" sz="1200" b="1" dirty="0" smtClean="0"/>
                <a:t>Klaipėdos regionas</a:t>
              </a:r>
            </a:p>
          </p:txBody>
        </p:sp>
        <p:sp>
          <p:nvSpPr>
            <p:cNvPr id="23" name="TextBox 22"/>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24" name="TextBox 23"/>
            <p:cNvSpPr txBox="1"/>
            <p:nvPr/>
          </p:nvSpPr>
          <p:spPr>
            <a:xfrm>
              <a:off x="2425978" y="3323122"/>
              <a:ext cx="1483911" cy="276999"/>
            </a:xfrm>
            <a:prstGeom prst="rect">
              <a:avLst/>
            </a:prstGeom>
            <a:noFill/>
            <a:ln w="635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53" name="Title 1"/>
          <p:cNvSpPr>
            <a:spLocks noGrp="1"/>
          </p:cNvSpPr>
          <p:nvPr>
            <p:ph type="title"/>
          </p:nvPr>
        </p:nvSpPr>
        <p:spPr>
          <a:xfrm>
            <a:off x="215516" y="332656"/>
            <a:ext cx="8672844" cy="487362"/>
          </a:xfrm>
        </p:spPr>
        <p:txBody>
          <a:bodyPr>
            <a:normAutofit fontScale="90000"/>
          </a:bodyPr>
          <a:lstStyle/>
          <a:p>
            <a:r>
              <a:rPr lang="lt-LT" sz="2200" b="1" dirty="0">
                <a:solidFill>
                  <a:schemeClr val="tx2">
                    <a:lumMod val="75000"/>
                  </a:schemeClr>
                </a:solidFill>
              </a:rPr>
              <a:t>Didžiausiu užregistruotų mokyklų skaičiumi išsiskiria Kauno ir Vilniaus regionai</a:t>
            </a:r>
            <a:endParaRPr lang="en-US" sz="2200" b="1" dirty="0">
              <a:solidFill>
                <a:schemeClr val="tx2">
                  <a:lumMod val="75000"/>
                </a:schemeClr>
              </a:solidFill>
            </a:endParaRPr>
          </a:p>
        </p:txBody>
      </p:sp>
      <p:graphicFrame>
        <p:nvGraphicFramePr>
          <p:cNvPr id="97" name="Object 96"/>
          <p:cNvGraphicFramePr>
            <a:graphicFrameLocks/>
          </p:cNvGraphicFramePr>
          <p:nvPr>
            <p:custDataLst>
              <p:tags r:id="rId4"/>
            </p:custDataLst>
            <p:extLst>
              <p:ext uri="{D42A27DB-BD31-4B8C-83A1-F6EECF244321}">
                <p14:modId xmlns:p14="http://schemas.microsoft.com/office/powerpoint/2010/main" val="2357450779"/>
              </p:ext>
            </p:extLst>
          </p:nvPr>
        </p:nvGraphicFramePr>
        <p:xfrm>
          <a:off x="38100" y="4038600"/>
          <a:ext cx="8820048" cy="2086047"/>
        </p:xfrm>
        <a:graphic>
          <a:graphicData uri="http://schemas.openxmlformats.org/presentationml/2006/ole">
            <mc:AlternateContent xmlns:mc="http://schemas.openxmlformats.org/markup-compatibility/2006">
              <mc:Choice xmlns:v="urn:schemas-microsoft-com:vml" Requires="v">
                <p:oleObj spid="_x0000_s7193" name="Chart" r:id="rId30" imgW="8820011" imgH="2085838" progId="MSGraph.Chart.8">
                  <p:embed followColorScheme="full"/>
                </p:oleObj>
              </mc:Choice>
              <mc:Fallback>
                <p:oleObj name="Chart" r:id="rId30" imgW="8820011" imgH="2085838" progId="MSGraph.Chart.8">
                  <p:embed followColorScheme="full"/>
                  <p:pic>
                    <p:nvPicPr>
                      <p:cNvPr id="0" name=""/>
                      <p:cNvPicPr/>
                      <p:nvPr/>
                    </p:nvPicPr>
                    <p:blipFill>
                      <a:blip r:embed="rId31"/>
                      <a:stretch>
                        <a:fillRect/>
                      </a:stretch>
                    </p:blipFill>
                    <p:spPr>
                      <a:xfrm>
                        <a:off x="38100" y="4038600"/>
                        <a:ext cx="8820048" cy="2086047"/>
                      </a:xfrm>
                      <a:prstGeom prst="rect">
                        <a:avLst/>
                      </a:prstGeom>
                    </p:spPr>
                  </p:pic>
                </p:oleObj>
              </mc:Fallback>
            </mc:AlternateContent>
          </a:graphicData>
        </a:graphic>
      </p:graphicFrame>
      <p:sp>
        <p:nvSpPr>
          <p:cNvPr id="99" name="Rectangle 98"/>
          <p:cNvSpPr/>
          <p:nvPr>
            <p:custDataLst>
              <p:tags r:id="rId5"/>
            </p:custDataLst>
          </p:nvPr>
        </p:nvSpPr>
        <p:spPr bwMode="auto">
          <a:xfrm>
            <a:off x="8258175" y="6159500"/>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8A0800B-ABC3-4BB7-B089-C0B65CF2E5B8}" type="datetime'''''''''''''''''''''''''N''''''''''''''''''''N'''''''">
              <a:rPr lang="en-US" sz="1200">
                <a:solidFill>
                  <a:schemeClr val="tx1"/>
                </a:solidFill>
                <a:sym typeface="+mn-lt"/>
              </a:rPr>
              <a:pPr algn="ctr">
                <a:spcBef>
                  <a:spcPct val="0"/>
                </a:spcBef>
                <a:spcAft>
                  <a:spcPct val="0"/>
                </a:spcAft>
              </a:pPr>
              <a:t>NN</a:t>
            </a:fld>
            <a:endParaRPr lang="en-US" sz="1200">
              <a:solidFill>
                <a:schemeClr val="tx1"/>
              </a:solidFill>
              <a:sym typeface="+mn-lt"/>
            </a:endParaRPr>
          </a:p>
        </p:txBody>
      </p:sp>
      <p:sp>
        <p:nvSpPr>
          <p:cNvPr id="147" name="Rectangle 146"/>
          <p:cNvSpPr/>
          <p:nvPr>
            <p:custDataLst>
              <p:tags r:id="rId6"/>
            </p:custDataLst>
          </p:nvPr>
        </p:nvSpPr>
        <p:spPr bwMode="gray">
          <a:xfrm>
            <a:off x="8088313" y="5764213"/>
            <a:ext cx="549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E748257-DE90-4902-9043-483B71D55212}" type="datetime'''''''''''''''''''''''''''4'">
              <a:rPr lang="en-US" sz="1200">
                <a:solidFill>
                  <a:schemeClr val="tx1"/>
                </a:solidFill>
                <a:sym typeface="+mn-lt"/>
              </a:rPr>
              <a:pPr algn="ctr">
                <a:spcBef>
                  <a:spcPct val="0"/>
                </a:spcBef>
                <a:spcAft>
                  <a:spcPct val="0"/>
                </a:spcAft>
              </a:pPr>
              <a:t>4</a:t>
            </a:fld>
            <a:r>
              <a:rPr lang="en-US" sz="1200" smtClean="0">
                <a:solidFill>
                  <a:schemeClr val="tx1"/>
                </a:solidFill>
                <a:sym typeface="+mn-lt"/>
              </a:rPr>
              <a:t> (</a:t>
            </a:r>
            <a:fld id="{9C51A229-671A-43A2-9477-0F6F1E412A7B}" type="datetime'''''''''''''''0'''''''''''''''',''''''''''5''''''''%'''">
              <a:rPr lang="en-US" sz="1200">
                <a:solidFill>
                  <a:schemeClr val="tx1"/>
                </a:solidFill>
                <a:sym typeface="+mn-lt"/>
              </a:rPr>
              <a:pPr algn="ctr">
                <a:spcBef>
                  <a:spcPct val="0"/>
                </a:spcBef>
                <a:spcAft>
                  <a:spcPct val="0"/>
                </a:spcAft>
              </a:pPr>
              <a:t>0,5%</a:t>
            </a:fld>
            <a:r>
              <a:rPr lang="en-US" sz="1200" smtClean="0">
                <a:solidFill>
                  <a:schemeClr val="tx1"/>
                </a:solidFill>
                <a:sym typeface="+mn-lt"/>
              </a:rPr>
              <a:t>)</a:t>
            </a:r>
            <a:endParaRPr lang="en-US" sz="1200" dirty="0">
              <a:solidFill>
                <a:schemeClr val="tx1"/>
              </a:solidFill>
              <a:sym typeface="+mn-lt"/>
            </a:endParaRPr>
          </a:p>
        </p:txBody>
      </p:sp>
      <p:sp>
        <p:nvSpPr>
          <p:cNvPr id="100" name="Rectangle 99"/>
          <p:cNvSpPr/>
          <p:nvPr>
            <p:custDataLst>
              <p:tags r:id="rId7"/>
            </p:custDataLst>
          </p:nvPr>
        </p:nvSpPr>
        <p:spPr bwMode="auto">
          <a:xfrm>
            <a:off x="7348538" y="6159500"/>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8655441-2C62-4EDA-958A-31D34A8127AB}" type="datetime'''''''''''U''''''''''''''te''''n''''o''''''s'">
              <a:rPr lang="en-US" sz="1200">
                <a:solidFill>
                  <a:schemeClr val="tx1"/>
                </a:solidFill>
                <a:sym typeface="+mn-lt"/>
              </a:rPr>
              <a:pPr algn="ctr">
                <a:spcBef>
                  <a:spcPct val="0"/>
                </a:spcBef>
                <a:spcAft>
                  <a:spcPct val="0"/>
                </a:spcAft>
              </a:pPr>
              <a:t>Utenos</a:t>
            </a:fld>
            <a:endParaRPr lang="en-US" sz="1200">
              <a:solidFill>
                <a:schemeClr val="tx1"/>
              </a:solidFill>
              <a:sym typeface="+mn-lt"/>
            </a:endParaRPr>
          </a:p>
        </p:txBody>
      </p:sp>
      <p:sp>
        <p:nvSpPr>
          <p:cNvPr id="146" name="Rectangle 145"/>
          <p:cNvSpPr/>
          <p:nvPr>
            <p:custDataLst>
              <p:tags r:id="rId8"/>
            </p:custDataLst>
          </p:nvPr>
        </p:nvSpPr>
        <p:spPr bwMode="gray">
          <a:xfrm>
            <a:off x="7264400" y="551656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D4EB37C-94C8-43D9-ABA9-54B8AB27BBF8}" type="datetime'''2''''''''''''''6'''''''''''''''''">
              <a:rPr lang="en-US" sz="1200">
                <a:solidFill>
                  <a:schemeClr val="tx1"/>
                </a:solidFill>
                <a:sym typeface="+mn-lt"/>
              </a:rPr>
              <a:pPr algn="ctr">
                <a:spcBef>
                  <a:spcPct val="0"/>
                </a:spcBef>
                <a:spcAft>
                  <a:spcPct val="0"/>
                </a:spcAft>
              </a:pPr>
              <a:t>26</a:t>
            </a:fld>
            <a:r>
              <a:rPr lang="en-US" sz="1200" smtClean="0">
                <a:solidFill>
                  <a:schemeClr val="tx1"/>
                </a:solidFill>
                <a:sym typeface="+mn-lt"/>
              </a:rPr>
              <a:t> (</a:t>
            </a:r>
            <a:fld id="{D313A1A6-6F8B-46CB-A51D-1618B274A993}" type="datetime'''''''''''''3,''''''''''''3''%'''''''''''''''">
              <a:rPr lang="en-US" sz="1200">
                <a:solidFill>
                  <a:schemeClr val="tx1"/>
                </a:solidFill>
                <a:sym typeface="+mn-lt"/>
              </a:rPr>
              <a:pPr algn="ctr">
                <a:spcBef>
                  <a:spcPct val="0"/>
                </a:spcBef>
                <a:spcAft>
                  <a:spcPct val="0"/>
                </a:spcAft>
              </a:pPr>
              <a:t>3,3%</a:t>
            </a:fld>
            <a:r>
              <a:rPr lang="en-US" sz="1200" smtClean="0">
                <a:solidFill>
                  <a:schemeClr val="tx1"/>
                </a:solidFill>
                <a:sym typeface="+mn-lt"/>
              </a:rPr>
              <a:t>)</a:t>
            </a:r>
            <a:endParaRPr lang="en-US" sz="1200">
              <a:solidFill>
                <a:schemeClr val="tx1"/>
              </a:solidFill>
              <a:sym typeface="+mn-lt"/>
            </a:endParaRPr>
          </a:p>
        </p:txBody>
      </p:sp>
      <p:sp>
        <p:nvSpPr>
          <p:cNvPr id="116" name="Rectangle 115"/>
          <p:cNvSpPr/>
          <p:nvPr>
            <p:custDataLst>
              <p:tags r:id="rId9"/>
            </p:custDataLst>
          </p:nvPr>
        </p:nvSpPr>
        <p:spPr bwMode="auto">
          <a:xfrm>
            <a:off x="6505575" y="6159500"/>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91D22D3-E2E4-4B34-9DAB-B9831D653444}" type="datetime'''''Ta''''''''''''u''''r''a''''''g''''''''ė''''''''''''s'">
              <a:rPr lang="en-US" sz="1200">
                <a:solidFill>
                  <a:schemeClr val="tx1"/>
                </a:solidFill>
                <a:sym typeface="+mn-lt"/>
              </a:rPr>
              <a:pPr algn="ctr">
                <a:spcBef>
                  <a:spcPct val="0"/>
                </a:spcBef>
                <a:spcAft>
                  <a:spcPct val="0"/>
                </a:spcAft>
              </a:pPr>
              <a:t>Tauragės</a:t>
            </a:fld>
            <a:endParaRPr lang="en-US" sz="1200">
              <a:solidFill>
                <a:schemeClr val="tx1"/>
              </a:solidFill>
              <a:sym typeface="+mn-lt"/>
            </a:endParaRPr>
          </a:p>
        </p:txBody>
      </p:sp>
      <p:sp>
        <p:nvSpPr>
          <p:cNvPr id="145" name="Rectangle 144"/>
          <p:cNvSpPr/>
          <p:nvPr>
            <p:custDataLst>
              <p:tags r:id="rId10"/>
            </p:custDataLst>
          </p:nvPr>
        </p:nvSpPr>
        <p:spPr bwMode="gray">
          <a:xfrm>
            <a:off x="6478588" y="53832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C2E9BCD-7020-4DA8-9C4E-519805B3705A}" type="datetime'''''''''''''''''''''3''''''8'''''''''''''''''''''''''''''''">
              <a:rPr lang="en-US" sz="1200">
                <a:solidFill>
                  <a:schemeClr val="tx1"/>
                </a:solidFill>
                <a:sym typeface="+mn-lt"/>
              </a:rPr>
              <a:pPr algn="ctr">
                <a:spcBef>
                  <a:spcPct val="0"/>
                </a:spcBef>
                <a:spcAft>
                  <a:spcPct val="0"/>
                </a:spcAft>
              </a:pPr>
              <a:t>38</a:t>
            </a:fld>
            <a:r>
              <a:rPr lang="en-US" sz="1200" smtClean="0">
                <a:solidFill>
                  <a:schemeClr val="tx1"/>
                </a:solidFill>
                <a:sym typeface="+mn-lt"/>
              </a:rPr>
              <a:t> (</a:t>
            </a:r>
            <a:fld id="{4F640B52-B88B-402A-B501-48235F63CAF1}" type="datetime'''''''4'''''''''''''''''',''''''''''''''''''''''8''''''''%'''">
              <a:rPr lang="en-US" sz="1200" smtClean="0">
                <a:solidFill>
                  <a:schemeClr val="tx1"/>
                </a:solidFill>
                <a:sym typeface="+mn-lt"/>
              </a:rPr>
              <a:pPr algn="ctr">
                <a:spcBef>
                  <a:spcPct val="0"/>
                </a:spcBef>
                <a:spcAft>
                  <a:spcPct val="0"/>
                </a:spcAft>
              </a:pPr>
              <a:t>4,8%</a:t>
            </a:fld>
            <a:r>
              <a:rPr lang="en-US" sz="1200" smtClean="0">
                <a:solidFill>
                  <a:schemeClr val="tx1"/>
                </a:solidFill>
                <a:sym typeface="+mn-lt"/>
              </a:rPr>
              <a:t>)</a:t>
            </a:r>
            <a:endParaRPr lang="en-US" sz="1200">
              <a:solidFill>
                <a:schemeClr val="tx1"/>
              </a:solidFill>
              <a:sym typeface="+mn-lt"/>
            </a:endParaRPr>
          </a:p>
        </p:txBody>
      </p:sp>
      <p:sp>
        <p:nvSpPr>
          <p:cNvPr id="101" name="Rectangle 100"/>
          <p:cNvSpPr/>
          <p:nvPr>
            <p:custDataLst>
              <p:tags r:id="rId11"/>
            </p:custDataLst>
          </p:nvPr>
        </p:nvSpPr>
        <p:spPr bwMode="auto">
          <a:xfrm>
            <a:off x="5824538" y="6159500"/>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1B7D0D4-D782-45AD-8AC5-A776B1346515}" type="datetime'''''''''''''''T''''e''''lš''''''''''''i''''''''ų'''''">
              <a:rPr lang="en-US" sz="1200">
                <a:solidFill>
                  <a:schemeClr val="tx1"/>
                </a:solidFill>
                <a:sym typeface="+mn-lt"/>
              </a:rPr>
              <a:pPr algn="ctr">
                <a:spcBef>
                  <a:spcPct val="0"/>
                </a:spcBef>
                <a:spcAft>
                  <a:spcPct val="0"/>
                </a:spcAft>
              </a:pPr>
              <a:t>Telšių</a:t>
            </a:fld>
            <a:endParaRPr lang="en-US" sz="1200">
              <a:solidFill>
                <a:schemeClr val="tx1"/>
              </a:solidFill>
              <a:sym typeface="+mn-lt"/>
            </a:endParaRPr>
          </a:p>
        </p:txBody>
      </p:sp>
      <p:sp>
        <p:nvSpPr>
          <p:cNvPr id="144" name="Rectangle 143"/>
          <p:cNvSpPr/>
          <p:nvPr>
            <p:custDataLst>
              <p:tags r:id="rId12"/>
            </p:custDataLst>
          </p:nvPr>
        </p:nvSpPr>
        <p:spPr bwMode="gray">
          <a:xfrm>
            <a:off x="5697538" y="5354638"/>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7F35865-7CEF-4B46-881D-F0A41D36A1BF}" type="datetime'''''''''''''''''4''''''''''''''''''''''''''''''''0'''''''">
              <a:rPr lang="en-US" sz="1200">
                <a:solidFill>
                  <a:schemeClr val="tx1"/>
                </a:solidFill>
                <a:sym typeface="+mn-lt"/>
              </a:rPr>
              <a:pPr algn="ctr">
                <a:spcBef>
                  <a:spcPct val="0"/>
                </a:spcBef>
                <a:spcAft>
                  <a:spcPct val="0"/>
                </a:spcAft>
              </a:pPr>
              <a:t>40</a:t>
            </a:fld>
            <a:r>
              <a:rPr lang="en-US" sz="1200" smtClean="0">
                <a:solidFill>
                  <a:schemeClr val="tx1"/>
                </a:solidFill>
                <a:sym typeface="+mn-lt"/>
              </a:rPr>
              <a:t> (</a:t>
            </a:r>
            <a:fld id="{46525138-2565-4242-A92E-68E74F94B69B}" type="datetime'''''5'''''',''''''''''''''''''0''%'''''''''''">
              <a:rPr lang="en-US" sz="1200" smtClean="0">
                <a:solidFill>
                  <a:schemeClr val="tx1"/>
                </a:solidFill>
                <a:sym typeface="+mn-lt"/>
              </a:rPr>
              <a:pPr algn="ctr">
                <a:spcBef>
                  <a:spcPct val="0"/>
                </a:spcBef>
                <a:spcAft>
                  <a:spcPct val="0"/>
                </a:spcAft>
              </a:pPr>
              <a:t>5,0%</a:t>
            </a:fld>
            <a:r>
              <a:rPr lang="en-US" sz="1200" smtClean="0">
                <a:solidFill>
                  <a:schemeClr val="tx1"/>
                </a:solidFill>
                <a:sym typeface="+mn-lt"/>
              </a:rPr>
              <a:t>)</a:t>
            </a:r>
            <a:endParaRPr lang="en-US" sz="1200">
              <a:solidFill>
                <a:schemeClr val="tx1"/>
              </a:solidFill>
              <a:sym typeface="+mn-lt"/>
            </a:endParaRPr>
          </a:p>
        </p:txBody>
      </p:sp>
      <p:sp>
        <p:nvSpPr>
          <p:cNvPr id="103" name="Rectangle 102"/>
          <p:cNvSpPr/>
          <p:nvPr>
            <p:custDataLst>
              <p:tags r:id="rId13"/>
            </p:custDataLst>
          </p:nvPr>
        </p:nvSpPr>
        <p:spPr bwMode="auto">
          <a:xfrm>
            <a:off x="4995863" y="6159500"/>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7566F58-8126-4DB2-91E3-23F147DA914E}" type="datetime'''''''''''A''''''''''''''ly''''t''''''''''a''''''''us'">
              <a:rPr lang="en-US" sz="1200">
                <a:solidFill>
                  <a:schemeClr val="tx1"/>
                </a:solidFill>
                <a:sym typeface="+mn-lt"/>
              </a:rPr>
              <a:pPr algn="ctr">
                <a:spcBef>
                  <a:spcPct val="0"/>
                </a:spcBef>
                <a:spcAft>
                  <a:spcPct val="0"/>
                </a:spcAft>
              </a:pPr>
              <a:t>Alytaus</a:t>
            </a:fld>
            <a:endParaRPr lang="en-US" sz="1200">
              <a:solidFill>
                <a:schemeClr val="tx1"/>
              </a:solidFill>
              <a:sym typeface="+mn-lt"/>
            </a:endParaRPr>
          </a:p>
        </p:txBody>
      </p:sp>
      <p:sp>
        <p:nvSpPr>
          <p:cNvPr id="143" name="Rectangle 142"/>
          <p:cNvSpPr/>
          <p:nvPr>
            <p:custDataLst>
              <p:tags r:id="rId14"/>
            </p:custDataLst>
          </p:nvPr>
        </p:nvSpPr>
        <p:spPr bwMode="gray">
          <a:xfrm>
            <a:off x="4916488" y="52689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52E3077-6C82-4C91-B657-76861AF81804}" type="datetime'4''''''''''''''''''''''''8'''''''''''''''''''''''">
              <a:rPr lang="en-US" sz="1200">
                <a:solidFill>
                  <a:schemeClr val="tx1"/>
                </a:solidFill>
                <a:sym typeface="+mn-lt"/>
              </a:rPr>
              <a:pPr algn="ctr">
                <a:spcBef>
                  <a:spcPct val="0"/>
                </a:spcBef>
                <a:spcAft>
                  <a:spcPct val="0"/>
                </a:spcAft>
              </a:pPr>
              <a:t>48</a:t>
            </a:fld>
            <a:r>
              <a:rPr lang="en-US" sz="1200" smtClean="0">
                <a:solidFill>
                  <a:schemeClr val="tx1"/>
                </a:solidFill>
                <a:sym typeface="+mn-lt"/>
              </a:rPr>
              <a:t> (</a:t>
            </a:r>
            <a:fld id="{6C059090-C5E6-40C4-9F14-9B126B7B1DA4}" type="datetime'''''''''''''''''''''''6'''''''',''''0%'''''''''''''''''''''''">
              <a:rPr lang="en-US" sz="1200" smtClean="0">
                <a:solidFill>
                  <a:schemeClr val="tx1"/>
                </a:solidFill>
                <a:sym typeface="+mn-lt"/>
              </a:rPr>
              <a:pPr algn="ctr">
                <a:spcBef>
                  <a:spcPct val="0"/>
                </a:spcBef>
                <a:spcAft>
                  <a:spcPct val="0"/>
                </a:spcAft>
              </a:pPr>
              <a:t>6,0%</a:t>
            </a:fld>
            <a:r>
              <a:rPr lang="en-US" sz="1200" smtClean="0">
                <a:solidFill>
                  <a:schemeClr val="tx1"/>
                </a:solidFill>
                <a:sym typeface="+mn-lt"/>
              </a:rPr>
              <a:t>)</a:t>
            </a:r>
            <a:endParaRPr lang="en-US" sz="1200">
              <a:solidFill>
                <a:schemeClr val="tx1"/>
              </a:solidFill>
              <a:sym typeface="+mn-lt"/>
            </a:endParaRPr>
          </a:p>
        </p:txBody>
      </p:sp>
      <p:sp>
        <p:nvSpPr>
          <p:cNvPr id="105" name="Rectangle 104"/>
          <p:cNvSpPr/>
          <p:nvPr>
            <p:custDataLst>
              <p:tags r:id="rId15"/>
            </p:custDataLst>
          </p:nvPr>
        </p:nvSpPr>
        <p:spPr bwMode="auto">
          <a:xfrm>
            <a:off x="4010025" y="6159500"/>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8E493B0-25BA-4531-A5C7-54353CFCFD45}" type="datetime'''''M''''''''a''r''ija''''m''''p''''''ol''''ė''''''''''''''s'">
              <a:rPr lang="en-US" sz="1200">
                <a:solidFill>
                  <a:schemeClr val="tx1"/>
                </a:solidFill>
                <a:sym typeface="+mn-lt"/>
              </a:rPr>
              <a:pPr algn="ctr">
                <a:spcBef>
                  <a:spcPct val="0"/>
                </a:spcBef>
                <a:spcAft>
                  <a:spcPct val="0"/>
                </a:spcAft>
              </a:pPr>
              <a:t>Marijampolės</a:t>
            </a:fld>
            <a:endParaRPr lang="en-US" sz="1200" dirty="0">
              <a:solidFill>
                <a:schemeClr val="tx1"/>
              </a:solidFill>
              <a:sym typeface="+mn-lt"/>
            </a:endParaRPr>
          </a:p>
        </p:txBody>
      </p:sp>
      <p:sp>
        <p:nvSpPr>
          <p:cNvPr id="142" name="Rectangle 141"/>
          <p:cNvSpPr/>
          <p:nvPr>
            <p:custDataLst>
              <p:tags r:id="rId16"/>
            </p:custDataLst>
          </p:nvPr>
        </p:nvSpPr>
        <p:spPr bwMode="gray">
          <a:xfrm>
            <a:off x="4130675" y="521176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BB3C430-709B-4421-85E4-B68CF64661F5}" type="datetime'''''''''''''''''''5''''''''''''''''''''''''''''''3'">
              <a:rPr lang="en-US" sz="1200">
                <a:solidFill>
                  <a:schemeClr val="tx1"/>
                </a:solidFill>
                <a:sym typeface="+mn-lt"/>
              </a:rPr>
              <a:pPr algn="ctr">
                <a:spcBef>
                  <a:spcPct val="0"/>
                </a:spcBef>
                <a:spcAft>
                  <a:spcPct val="0"/>
                </a:spcAft>
              </a:pPr>
              <a:t>53</a:t>
            </a:fld>
            <a:r>
              <a:rPr lang="en-US" sz="1200" smtClean="0">
                <a:solidFill>
                  <a:schemeClr val="tx1"/>
                </a:solidFill>
                <a:sym typeface="+mn-lt"/>
              </a:rPr>
              <a:t> (</a:t>
            </a:r>
            <a:fld id="{4E9D23D0-EED9-452C-8C9B-F8956D1677E5}" type="datetime'''''''''''''''''6,''''''''7''''''''''''''''''''''''%'''''">
              <a:rPr lang="en-US" sz="1200" smtClean="0">
                <a:solidFill>
                  <a:schemeClr val="tx1"/>
                </a:solidFill>
                <a:sym typeface="+mn-lt"/>
              </a:rPr>
              <a:pPr algn="ctr">
                <a:spcBef>
                  <a:spcPct val="0"/>
                </a:spcBef>
                <a:spcAft>
                  <a:spcPct val="0"/>
                </a:spcAft>
              </a:pPr>
              <a:t>6,7%</a:t>
            </a:fld>
            <a:r>
              <a:rPr lang="en-US" sz="1200" smtClean="0">
                <a:solidFill>
                  <a:schemeClr val="tx1"/>
                </a:solidFill>
                <a:sym typeface="+mn-lt"/>
              </a:rPr>
              <a:t>)</a:t>
            </a:r>
            <a:endParaRPr lang="en-US" sz="1200">
              <a:solidFill>
                <a:schemeClr val="tx1"/>
              </a:solidFill>
              <a:sym typeface="+mn-lt"/>
            </a:endParaRPr>
          </a:p>
        </p:txBody>
      </p:sp>
      <p:sp>
        <p:nvSpPr>
          <p:cNvPr id="107" name="Rectangle 106"/>
          <p:cNvSpPr/>
          <p:nvPr>
            <p:custDataLst>
              <p:tags r:id="rId17"/>
            </p:custDataLst>
          </p:nvPr>
        </p:nvSpPr>
        <p:spPr bwMode="auto">
          <a:xfrm>
            <a:off x="3336925" y="6159500"/>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A1D6323-7853-49C5-9B46-E509E8400DE6}" type="datetime'''P''''''''''''''''''''''an''''''''''evėži''o'">
              <a:rPr lang="en-US" sz="1200">
                <a:solidFill>
                  <a:schemeClr val="tx1"/>
                </a:solidFill>
                <a:sym typeface="+mn-lt"/>
              </a:rPr>
              <a:pPr algn="ctr">
                <a:spcBef>
                  <a:spcPct val="0"/>
                </a:spcBef>
                <a:spcAft>
                  <a:spcPct val="0"/>
                </a:spcAft>
              </a:pPr>
              <a:t>Panevėžio</a:t>
            </a:fld>
            <a:endParaRPr lang="en-US" sz="1200">
              <a:solidFill>
                <a:schemeClr val="tx1"/>
              </a:solidFill>
              <a:sym typeface="+mn-lt"/>
            </a:endParaRPr>
          </a:p>
        </p:txBody>
      </p:sp>
      <p:sp>
        <p:nvSpPr>
          <p:cNvPr id="141" name="Rectangle 140"/>
          <p:cNvSpPr/>
          <p:nvPr>
            <p:custDataLst>
              <p:tags r:id="rId18"/>
            </p:custDataLst>
          </p:nvPr>
        </p:nvSpPr>
        <p:spPr bwMode="gray">
          <a:xfrm>
            <a:off x="3344863" y="51165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802D0B7-018F-47F3-87E0-2225B87B5B2E}" type="datetime'''6''''1'''''''''''''''''''''''''''''''''''''''''''''">
              <a:rPr lang="en-US" sz="1200">
                <a:solidFill>
                  <a:schemeClr val="tx1"/>
                </a:solidFill>
                <a:sym typeface="+mn-lt"/>
              </a:rPr>
              <a:pPr algn="ctr">
                <a:spcBef>
                  <a:spcPct val="0"/>
                </a:spcBef>
                <a:spcAft>
                  <a:spcPct val="0"/>
                </a:spcAft>
              </a:pPr>
              <a:t>61</a:t>
            </a:fld>
            <a:r>
              <a:rPr lang="en-US" sz="1200" smtClean="0">
                <a:solidFill>
                  <a:schemeClr val="tx1"/>
                </a:solidFill>
                <a:sym typeface="+mn-lt"/>
              </a:rPr>
              <a:t> (</a:t>
            </a:r>
            <a:fld id="{FDE58F49-ECDF-49D4-840C-F403AA1498B6}" type="datetime'''''''''''''''''''7'''''',''''''''''''7%'">
              <a:rPr lang="en-US" sz="1200" smtClean="0">
                <a:solidFill>
                  <a:schemeClr val="tx1"/>
                </a:solidFill>
                <a:sym typeface="+mn-lt"/>
              </a:rPr>
              <a:pPr algn="ctr">
                <a:spcBef>
                  <a:spcPct val="0"/>
                </a:spcBef>
                <a:spcAft>
                  <a:spcPct val="0"/>
                </a:spcAft>
              </a:pPr>
              <a:t>7,7%</a:t>
            </a:fld>
            <a:r>
              <a:rPr lang="en-US" sz="1200" smtClean="0">
                <a:solidFill>
                  <a:schemeClr val="tx1"/>
                </a:solidFill>
                <a:sym typeface="+mn-lt"/>
              </a:rPr>
              <a:t>)</a:t>
            </a:r>
            <a:endParaRPr lang="en-US" sz="1200">
              <a:solidFill>
                <a:schemeClr val="tx1"/>
              </a:solidFill>
              <a:sym typeface="+mn-lt"/>
            </a:endParaRPr>
          </a:p>
        </p:txBody>
      </p:sp>
      <p:sp>
        <p:nvSpPr>
          <p:cNvPr id="109" name="Rectangle 108"/>
          <p:cNvSpPr/>
          <p:nvPr>
            <p:custDataLst>
              <p:tags r:id="rId19"/>
            </p:custDataLst>
          </p:nvPr>
        </p:nvSpPr>
        <p:spPr bwMode="auto">
          <a:xfrm>
            <a:off x="2571750" y="6159500"/>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AAA0B5-F054-47A6-8281-8E24AE04466A}" type="datetime'''''Kla''''i''''''''''''pė''d''''o''s'''''''''''''''''">
              <a:rPr lang="en-US" sz="1200">
                <a:solidFill>
                  <a:schemeClr val="tx1"/>
                </a:solidFill>
                <a:sym typeface="+mn-lt"/>
              </a:rPr>
              <a:pPr algn="ctr">
                <a:spcBef>
                  <a:spcPct val="0"/>
                </a:spcBef>
                <a:spcAft>
                  <a:spcPct val="0"/>
                </a:spcAft>
              </a:pPr>
              <a:t>Klaipėdos</a:t>
            </a:fld>
            <a:endParaRPr lang="en-US" sz="1200">
              <a:solidFill>
                <a:schemeClr val="tx1"/>
              </a:solidFill>
              <a:sym typeface="+mn-lt"/>
            </a:endParaRPr>
          </a:p>
        </p:txBody>
      </p:sp>
      <p:sp>
        <p:nvSpPr>
          <p:cNvPr id="140" name="Rectangle 139"/>
          <p:cNvSpPr/>
          <p:nvPr>
            <p:custDataLst>
              <p:tags r:id="rId20"/>
            </p:custDataLst>
          </p:nvPr>
        </p:nvSpPr>
        <p:spPr bwMode="gray">
          <a:xfrm>
            <a:off x="2524125" y="4764088"/>
            <a:ext cx="704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8E68EF5-F162-42E4-AE35-15E9AA2CAAB4}" type="datetime'''''''''''''''''''''''9''''''2'''''''''''''''''">
              <a:rPr lang="en-US" sz="1200">
                <a:solidFill>
                  <a:schemeClr val="tx1"/>
                </a:solidFill>
                <a:sym typeface="+mn-lt"/>
              </a:rPr>
              <a:pPr algn="ctr">
                <a:spcBef>
                  <a:spcPct val="0"/>
                </a:spcBef>
                <a:spcAft>
                  <a:spcPct val="0"/>
                </a:spcAft>
              </a:pPr>
              <a:t>92</a:t>
            </a:fld>
            <a:r>
              <a:rPr lang="en-US" sz="1200" dirty="0" smtClean="0">
                <a:solidFill>
                  <a:schemeClr val="tx1"/>
                </a:solidFill>
                <a:sym typeface="+mn-lt"/>
              </a:rPr>
              <a:t> (</a:t>
            </a:r>
            <a:fld id="{582261BD-1A38-4DA1-B682-B2A8C97FB7C3}" type="datetime'''1''''''''''''''1'''',''''''''''6''''''''''%'''''''''''''''">
              <a:rPr lang="en-US" sz="1200" smtClean="0">
                <a:solidFill>
                  <a:schemeClr val="tx1"/>
                </a:solidFill>
                <a:sym typeface="+mn-lt"/>
              </a:rPr>
              <a:pPr algn="ctr">
                <a:spcBef>
                  <a:spcPct val="0"/>
                </a:spcBef>
                <a:spcAft>
                  <a:spcPct val="0"/>
                </a:spcAft>
              </a:pPr>
              <a:t>11,6%</a:t>
            </a:fld>
            <a:r>
              <a:rPr lang="en-US" sz="1200" dirty="0" smtClean="0">
                <a:solidFill>
                  <a:schemeClr val="tx1"/>
                </a:solidFill>
                <a:sym typeface="+mn-lt"/>
              </a:rPr>
              <a:t>)</a:t>
            </a:r>
            <a:endParaRPr lang="en-US" sz="1200" dirty="0">
              <a:solidFill>
                <a:schemeClr val="tx1"/>
              </a:solidFill>
              <a:sym typeface="+mn-lt"/>
            </a:endParaRPr>
          </a:p>
        </p:txBody>
      </p:sp>
      <p:sp>
        <p:nvSpPr>
          <p:cNvPr id="111" name="Rectangle 110"/>
          <p:cNvSpPr/>
          <p:nvPr>
            <p:custDataLst>
              <p:tags r:id="rId21"/>
            </p:custDataLst>
          </p:nvPr>
        </p:nvSpPr>
        <p:spPr bwMode="auto">
          <a:xfrm>
            <a:off x="1885950" y="6159500"/>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830D14-85EF-4351-9319-460F4A95F470}" type="datetime'''''''''''Š''''''''''''''''''i''aul''''''ių'''''''''">
              <a:rPr lang="en-US" sz="1200">
                <a:solidFill>
                  <a:schemeClr val="tx1"/>
                </a:solidFill>
                <a:sym typeface="+mn-lt"/>
              </a:rPr>
              <a:pPr algn="ctr">
                <a:spcBef>
                  <a:spcPct val="0"/>
                </a:spcBef>
                <a:spcAft>
                  <a:spcPct val="0"/>
                </a:spcAft>
              </a:pPr>
              <a:t>Šiaulių</a:t>
            </a:fld>
            <a:endParaRPr lang="en-US" sz="1200">
              <a:solidFill>
                <a:schemeClr val="tx1"/>
              </a:solidFill>
              <a:sym typeface="+mn-lt"/>
            </a:endParaRPr>
          </a:p>
        </p:txBody>
      </p:sp>
      <p:sp>
        <p:nvSpPr>
          <p:cNvPr id="112" name="Rectangle 111"/>
          <p:cNvSpPr/>
          <p:nvPr>
            <p:custDataLst>
              <p:tags r:id="rId22"/>
            </p:custDataLst>
          </p:nvPr>
        </p:nvSpPr>
        <p:spPr bwMode="gray">
          <a:xfrm>
            <a:off x="1704975" y="4449763"/>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39AF78A-E69E-447F-AEB1-CCCEF88A7E78}" type="datetime'1''''''''''''''''''''''''''2''''''''0'''">
              <a:rPr lang="en-US" sz="1200" smtClean="0">
                <a:solidFill>
                  <a:schemeClr val="tx1"/>
                </a:solidFill>
                <a:sym typeface="+mn-lt"/>
              </a:rPr>
              <a:pPr algn="ctr">
                <a:spcBef>
                  <a:spcPct val="0"/>
                </a:spcBef>
                <a:spcAft>
                  <a:spcPct val="0"/>
                </a:spcAft>
              </a:pPr>
              <a:t>120</a:t>
            </a:fld>
            <a:r>
              <a:rPr lang="en-US" sz="1200" smtClean="0">
                <a:solidFill>
                  <a:schemeClr val="tx1"/>
                </a:solidFill>
                <a:sym typeface="+mn-lt"/>
              </a:rPr>
              <a:t> (</a:t>
            </a:r>
            <a:fld id="{3FFA207B-1D5D-441D-B83F-DA157CB8D8B6}" type="datetime'''''''''''''1''''5'''''''''''''''',1''''%'''''''''''''">
              <a:rPr lang="en-US" sz="1200" smtClean="0">
                <a:solidFill>
                  <a:schemeClr val="tx1"/>
                </a:solidFill>
                <a:sym typeface="+mn-lt"/>
              </a:rPr>
              <a:pPr algn="ctr">
                <a:spcBef>
                  <a:spcPct val="0"/>
                </a:spcBef>
                <a:spcAft>
                  <a:spcPct val="0"/>
                </a:spcAft>
              </a:pPr>
              <a:t>15,1%</a:t>
            </a:fld>
            <a:r>
              <a:rPr lang="en-US" sz="1200" smtClean="0">
                <a:solidFill>
                  <a:schemeClr val="tx1"/>
                </a:solidFill>
                <a:sym typeface="+mn-lt"/>
              </a:rPr>
              <a:t>)</a:t>
            </a:r>
            <a:endParaRPr lang="en-US" sz="1200">
              <a:solidFill>
                <a:schemeClr val="tx1"/>
              </a:solidFill>
              <a:sym typeface="+mn-lt"/>
            </a:endParaRPr>
          </a:p>
        </p:txBody>
      </p:sp>
      <p:sp>
        <p:nvSpPr>
          <p:cNvPr id="113" name="Rectangle 112"/>
          <p:cNvSpPr/>
          <p:nvPr>
            <p:custDataLst>
              <p:tags r:id="rId23"/>
            </p:custDataLst>
          </p:nvPr>
        </p:nvSpPr>
        <p:spPr bwMode="auto">
          <a:xfrm>
            <a:off x="1062038" y="6159500"/>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2CECBDD-65C8-4790-AE32-041219CF5C9F}" type="datetime'''''V''''''''''''i''''''''''''''''''''''l''''''''nia''us'">
              <a:rPr lang="en-US" sz="1200">
                <a:solidFill>
                  <a:schemeClr val="tx1"/>
                </a:solidFill>
                <a:sym typeface="+mn-lt"/>
              </a:rPr>
              <a:pPr algn="ctr">
                <a:spcBef>
                  <a:spcPct val="0"/>
                </a:spcBef>
                <a:spcAft>
                  <a:spcPct val="0"/>
                </a:spcAft>
              </a:pPr>
              <a:t>Vilniaus</a:t>
            </a:fld>
            <a:endParaRPr lang="en-US" sz="1200" dirty="0">
              <a:solidFill>
                <a:schemeClr val="tx1"/>
              </a:solidFill>
              <a:sym typeface="+mn-lt"/>
            </a:endParaRPr>
          </a:p>
        </p:txBody>
      </p:sp>
      <p:sp>
        <p:nvSpPr>
          <p:cNvPr id="114" name="Rectangle 113"/>
          <p:cNvSpPr/>
          <p:nvPr>
            <p:custDataLst>
              <p:tags r:id="rId24"/>
            </p:custDataLst>
          </p:nvPr>
        </p:nvSpPr>
        <p:spPr bwMode="gray">
          <a:xfrm>
            <a:off x="919163" y="4116388"/>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7793E8B-3F36-4B32-819B-B22A7FC413C5}" type="datetime'''''''1''4''''''''''''''''9'''''''''''''''''''''''''''">
              <a:rPr lang="en-US" sz="1200" smtClean="0">
                <a:solidFill>
                  <a:schemeClr val="tx1"/>
                </a:solidFill>
                <a:sym typeface="+mn-lt"/>
              </a:rPr>
              <a:pPr algn="ctr">
                <a:spcBef>
                  <a:spcPct val="0"/>
                </a:spcBef>
                <a:spcAft>
                  <a:spcPct val="0"/>
                </a:spcAft>
              </a:pPr>
              <a:t>149</a:t>
            </a:fld>
            <a:r>
              <a:rPr lang="en-US" sz="1200" dirty="0" smtClean="0">
                <a:solidFill>
                  <a:schemeClr val="tx1"/>
                </a:solidFill>
                <a:sym typeface="+mn-lt"/>
              </a:rPr>
              <a:t> (</a:t>
            </a:r>
            <a:fld id="{6B08A75D-8591-4AC6-A01B-C718F65ECB1D}" type="datetime'''''''''1''''''''''''''8'',''''''''''''''''''''''7%'">
              <a:rPr lang="en-US" sz="1200" smtClean="0">
                <a:solidFill>
                  <a:schemeClr val="tx1"/>
                </a:solidFill>
                <a:sym typeface="+mn-lt"/>
              </a:rPr>
              <a:pPr algn="ctr">
                <a:spcBef>
                  <a:spcPct val="0"/>
                </a:spcBef>
                <a:spcAft>
                  <a:spcPct val="0"/>
                </a:spcAft>
              </a:pPr>
              <a:t>18,7%</a:t>
            </a:fld>
            <a:r>
              <a:rPr lang="en-US" sz="1200" dirty="0" smtClean="0">
                <a:solidFill>
                  <a:schemeClr val="tx1"/>
                </a:solidFill>
                <a:sym typeface="+mn-lt"/>
              </a:rPr>
              <a:t>)</a:t>
            </a:r>
            <a:endParaRPr lang="en-US" sz="1200" dirty="0">
              <a:solidFill>
                <a:schemeClr val="tx1"/>
              </a:solidFill>
              <a:sym typeface="+mn-lt"/>
            </a:endParaRPr>
          </a:p>
        </p:txBody>
      </p:sp>
      <p:sp>
        <p:nvSpPr>
          <p:cNvPr id="115" name="Rectangle 114"/>
          <p:cNvSpPr/>
          <p:nvPr>
            <p:custDataLst>
              <p:tags r:id="rId25"/>
            </p:custDataLst>
          </p:nvPr>
        </p:nvSpPr>
        <p:spPr bwMode="auto">
          <a:xfrm>
            <a:off x="322263" y="6159500"/>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CF16877-2B5D-4230-B0D9-89E35D21210C}" type="datetime'''K''''''''''a''''''''''''''''u''''n''''''''''''''''''''o'">
              <a:rPr lang="en-US" sz="1200">
                <a:solidFill>
                  <a:schemeClr val="tx1"/>
                </a:solidFill>
                <a:sym typeface="+mn-lt"/>
              </a:rPr>
              <a:pPr algn="ctr">
                <a:spcBef>
                  <a:spcPct val="0"/>
                </a:spcBef>
                <a:spcAft>
                  <a:spcPct val="0"/>
                </a:spcAft>
              </a:pPr>
              <a:t>Kauno</a:t>
            </a:fld>
            <a:endParaRPr lang="en-US" sz="1200" dirty="0">
              <a:solidFill>
                <a:schemeClr val="tx1"/>
              </a:solidFill>
              <a:sym typeface="+mn-lt"/>
            </a:endParaRPr>
          </a:p>
        </p:txBody>
      </p:sp>
      <p:sp>
        <p:nvSpPr>
          <p:cNvPr id="98" name="Rectangle 97"/>
          <p:cNvSpPr/>
          <p:nvPr>
            <p:custDataLst>
              <p:tags r:id="rId26"/>
            </p:custDataLst>
          </p:nvPr>
        </p:nvSpPr>
        <p:spPr bwMode="gray">
          <a:xfrm>
            <a:off x="133350" y="3944938"/>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F7FEDB2-7002-4287-8165-DF9FAB8D7C48}" type="datetime'''''''''''''''''''1''6''''''''4'''''''''''''''''''''">
              <a:rPr lang="en-US" sz="1200" smtClean="0">
                <a:solidFill>
                  <a:schemeClr val="tx1"/>
                </a:solidFill>
                <a:sym typeface="+mn-lt"/>
              </a:rPr>
              <a:pPr algn="ctr">
                <a:spcBef>
                  <a:spcPct val="0"/>
                </a:spcBef>
                <a:spcAft>
                  <a:spcPct val="0"/>
                </a:spcAft>
              </a:pPr>
              <a:t>164</a:t>
            </a:fld>
            <a:r>
              <a:rPr lang="en-US" sz="1200" smtClean="0">
                <a:solidFill>
                  <a:schemeClr val="tx1"/>
                </a:solidFill>
                <a:sym typeface="+mn-lt"/>
              </a:rPr>
              <a:t> (</a:t>
            </a:r>
            <a:fld id="{51658896-411E-45EC-894C-388A5FE93427}" type="datetime'2''''''''''''''''''0'''''',''''''''6''''%'''''''''''">
              <a:rPr lang="en-US" sz="1200" smtClean="0">
                <a:solidFill>
                  <a:schemeClr val="tx1"/>
                </a:solidFill>
                <a:sym typeface="+mn-lt"/>
              </a:rPr>
              <a:pPr algn="ctr">
                <a:spcBef>
                  <a:spcPct val="0"/>
                </a:spcBef>
                <a:spcAft>
                  <a:spcPct val="0"/>
                </a:spcAft>
              </a:pPr>
              <a:t>20,6%</a:t>
            </a:fld>
            <a:r>
              <a:rPr lang="en-US" sz="1200" smtClean="0">
                <a:solidFill>
                  <a:schemeClr val="tx1"/>
                </a:solidFill>
                <a:sym typeface="+mn-lt"/>
              </a:rPr>
              <a:t>)</a:t>
            </a:r>
            <a:endParaRPr lang="en-US" sz="1200" dirty="0">
              <a:solidFill>
                <a:schemeClr val="tx1"/>
              </a:solidFill>
              <a:sym typeface="+mn-lt"/>
            </a:endParaRPr>
          </a:p>
        </p:txBody>
      </p:sp>
      <p:sp>
        <p:nvSpPr>
          <p:cNvPr id="54" name="Rectangle 53"/>
          <p:cNvSpPr/>
          <p:nvPr/>
        </p:nvSpPr>
        <p:spPr>
          <a:xfrm>
            <a:off x="92491" y="1112583"/>
            <a:ext cx="8945865" cy="3361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Užregistruotų mokyklų regione skaičius ir dalis lyginant su visomis užregistruotomis mokyklomis </a:t>
            </a:r>
            <a:endParaRPr lang="lt-LT" sz="1200" dirty="0">
              <a:solidFill>
                <a:schemeClr val="bg1"/>
              </a:solidFill>
              <a:cs typeface="Cambria"/>
            </a:endParaRPr>
          </a:p>
        </p:txBody>
      </p:sp>
      <p:sp>
        <p:nvSpPr>
          <p:cNvPr id="56" name="Rectangle 55"/>
          <p:cNvSpPr/>
          <p:nvPr/>
        </p:nvSpPr>
        <p:spPr>
          <a:xfrm>
            <a:off x="6995505" y="6081684"/>
            <a:ext cx="2148495" cy="261610"/>
          </a:xfrm>
          <a:prstGeom prst="rect">
            <a:avLst/>
          </a:prstGeom>
        </p:spPr>
        <p:txBody>
          <a:bodyPr wrap="square">
            <a:spAutoFit/>
          </a:bodyPr>
          <a:lstStyle/>
          <a:p>
            <a:r>
              <a:rPr lang="lt-LT" sz="1100" dirty="0" smtClean="0">
                <a:solidFill>
                  <a:schemeClr val="bg1">
                    <a:lumMod val="50000"/>
                  </a:schemeClr>
                </a:solidFill>
                <a:cs typeface="Cambria"/>
              </a:rPr>
              <a:t>NN – nėra galimybės nustatyti</a:t>
            </a:r>
            <a:endParaRPr lang="en-US" sz="1100" dirty="0">
              <a:solidFill>
                <a:schemeClr val="bg1">
                  <a:lumMod val="50000"/>
                </a:schemeClr>
              </a:solidFill>
            </a:endParaRPr>
          </a:p>
        </p:txBody>
      </p:sp>
      <p:sp>
        <p:nvSpPr>
          <p:cNvPr id="57" name="Rectangle 56"/>
          <p:cNvSpPr/>
          <p:nvPr/>
        </p:nvSpPr>
        <p:spPr>
          <a:xfrm>
            <a:off x="215516" y="1562632"/>
            <a:ext cx="3352028"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užregistruotų mokyklų skaičius yra Kauno regione jis sudaro 21 proc. visų užregistruotų mokyklų vartotojų;</a:t>
            </a:r>
          </a:p>
          <a:p>
            <a:pPr marL="108000" lvl="0" algn="just"/>
            <a:endParaRPr lang="lt-LT" sz="6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Didesniu užregistruotų mokyklų	 skaičiumi taip pat išsiskiria Vilniaus regionas. Šiame regione užsiregistravę vartotojai sudaro 19 proc</a:t>
            </a:r>
            <a:r>
              <a:rPr lang="lt-LT" sz="1200" dirty="0">
                <a:solidFill>
                  <a:prstClr val="black"/>
                </a:solidFill>
              </a:rPr>
              <a:t>. visų užregistruotų mokyklų ;</a:t>
            </a:r>
            <a:endParaRPr lang="lt-LT" sz="1200" dirty="0" smtClean="0">
              <a:solidFill>
                <a:prstClr val="black"/>
              </a:solidFill>
            </a:endParaRPr>
          </a:p>
          <a:p>
            <a:pPr marL="108000" algn="just"/>
            <a:endParaRPr lang="lt-LT" sz="11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Mažiausias užregistruotų mokyklų skaičius yra Utenos, Tauragės ir Telšių regionuose.</a:t>
            </a:r>
            <a:endParaRPr lang="lt-LT" sz="1200" dirty="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32449809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1908336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graphicFrame>
        <p:nvGraphicFramePr>
          <p:cNvPr id="27" name="Object 26"/>
          <p:cNvGraphicFramePr>
            <a:graphicFrameLocks/>
          </p:cNvGraphicFramePr>
          <p:nvPr>
            <p:custDataLst>
              <p:tags r:id="rId4"/>
            </p:custDataLst>
            <p:extLst>
              <p:ext uri="{D42A27DB-BD31-4B8C-83A1-F6EECF244321}">
                <p14:modId xmlns:p14="http://schemas.microsoft.com/office/powerpoint/2010/main" val="452671673"/>
              </p:ext>
            </p:extLst>
          </p:nvPr>
        </p:nvGraphicFramePr>
        <p:xfrm>
          <a:off x="152399" y="3771900"/>
          <a:ext cx="7762960" cy="2257455"/>
        </p:xfrm>
        <a:graphic>
          <a:graphicData uri="http://schemas.openxmlformats.org/presentationml/2006/ole">
            <mc:AlternateContent xmlns:mc="http://schemas.openxmlformats.org/markup-compatibility/2006">
              <mc:Choice xmlns:v="urn:schemas-microsoft-com:vml" Requires="v">
                <p:oleObj spid="_x0000_s8217" name="Chart" r:id="rId30" imgW="7762747" imgH="2257523" progId="MSGraph.Chart.8">
                  <p:embed followColorScheme="full"/>
                </p:oleObj>
              </mc:Choice>
              <mc:Fallback>
                <p:oleObj name="Chart" r:id="rId30" imgW="7762747" imgH="2257523" progId="MSGraph.Chart.8">
                  <p:embed followColorScheme="full"/>
                  <p:pic>
                    <p:nvPicPr>
                      <p:cNvPr id="0" name=""/>
                      <p:cNvPicPr/>
                      <p:nvPr/>
                    </p:nvPicPr>
                    <p:blipFill>
                      <a:blip r:embed="rId31"/>
                      <a:stretch>
                        <a:fillRect/>
                      </a:stretch>
                    </p:blipFill>
                    <p:spPr>
                      <a:xfrm>
                        <a:off x="152399" y="3771900"/>
                        <a:ext cx="7762960" cy="2257455"/>
                      </a:xfrm>
                      <a:prstGeom prst="rect">
                        <a:avLst/>
                      </a:prstGeom>
                    </p:spPr>
                  </p:pic>
                </p:oleObj>
              </mc:Fallback>
            </mc:AlternateContent>
          </a:graphicData>
        </a:graphic>
      </p:graphicFrame>
      <p:sp>
        <p:nvSpPr>
          <p:cNvPr id="52" name="Rectangle 51"/>
          <p:cNvSpPr/>
          <p:nvPr>
            <p:custDataLst>
              <p:tags r:id="rId5"/>
            </p:custDataLst>
          </p:nvPr>
        </p:nvSpPr>
        <p:spPr bwMode="auto">
          <a:xfrm>
            <a:off x="7237413" y="6064250"/>
            <a:ext cx="4413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3F75D0-1CD0-46FE-8485-AFA390EB4840}" type="datetime'(''''bl''''''''''a''''''''''''n''''''''''k)'''''''''">
              <a:rPr lang="en-US" sz="1200">
                <a:solidFill>
                  <a:schemeClr val="tx1"/>
                </a:solidFill>
              </a:rPr>
              <a:pPr algn="ctr">
                <a:spcBef>
                  <a:spcPct val="0"/>
                </a:spcBef>
                <a:spcAft>
                  <a:spcPct val="0"/>
                </a:spcAft>
              </a:pPr>
              <a:t>(blank)</a:t>
            </a:fld>
            <a:endParaRPr lang="en-US" sz="1200">
              <a:solidFill>
                <a:schemeClr val="tx1"/>
              </a:solidFill>
              <a:latin typeface="Calibri"/>
              <a:sym typeface="Calibri"/>
            </a:endParaRPr>
          </a:p>
        </p:txBody>
      </p:sp>
      <p:sp>
        <p:nvSpPr>
          <p:cNvPr id="31" name="Rectangle 30"/>
          <p:cNvSpPr/>
          <p:nvPr>
            <p:custDataLst>
              <p:tags r:id="rId6"/>
            </p:custDataLst>
          </p:nvPr>
        </p:nvSpPr>
        <p:spPr bwMode="auto">
          <a:xfrm>
            <a:off x="6548438" y="6064250"/>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DCD285-716E-41F4-962B-2179874C8693}" type="datetime'''''''U''te''''''''''''''''''''''''n''''''o''''s'''''''">
              <a:rPr lang="en-US" sz="1200">
                <a:solidFill>
                  <a:schemeClr val="tx1"/>
                </a:solidFill>
              </a:rPr>
              <a:pPr algn="ctr">
                <a:spcBef>
                  <a:spcPct val="0"/>
                </a:spcBef>
                <a:spcAft>
                  <a:spcPct val="0"/>
                </a:spcAft>
              </a:pPr>
              <a:t>Utenos</a:t>
            </a:fld>
            <a:endParaRPr lang="en-US" sz="1200">
              <a:solidFill>
                <a:schemeClr val="tx1"/>
              </a:solidFill>
              <a:latin typeface="Calibri"/>
              <a:sym typeface="Calibri"/>
            </a:endParaRPr>
          </a:p>
        </p:txBody>
      </p:sp>
      <p:sp>
        <p:nvSpPr>
          <p:cNvPr id="41" name="Rectangle 40"/>
          <p:cNvSpPr/>
          <p:nvPr>
            <p:custDataLst>
              <p:tags r:id="rId7"/>
            </p:custDataLst>
          </p:nvPr>
        </p:nvSpPr>
        <p:spPr bwMode="gray">
          <a:xfrm>
            <a:off x="7277100" y="55657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6E83FA0-957A-4374-BFE7-9A4D550833B4}" type="datetime'''''''7'''''''''''''''''''''">
              <a:rPr lang="en-US" sz="1000">
                <a:solidFill>
                  <a:schemeClr val="tx1"/>
                </a:solidFill>
                <a:latin typeface="Calibri"/>
                <a:sym typeface="Calibri"/>
              </a:rPr>
              <a:pPr algn="ctr">
                <a:spcBef>
                  <a:spcPct val="0"/>
                </a:spcBef>
                <a:spcAft>
                  <a:spcPct val="0"/>
                </a:spcAft>
              </a:pPr>
              <a:t>7</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C98029B3-F891-48CE-842E-590551309EB1}" type="datetime'0'''''''''''''''''''''''''''''',3''''''''%'''''''''''''">
              <a:rPr lang="en-US" sz="1000" smtClean="0">
                <a:solidFill>
                  <a:schemeClr val="tx1"/>
                </a:solidFill>
              </a:rPr>
              <a:pPr/>
              <a:t>0,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0" name="Rectangle 39"/>
          <p:cNvSpPr/>
          <p:nvPr>
            <p:custDataLst>
              <p:tags r:id="rId8"/>
            </p:custDataLst>
          </p:nvPr>
        </p:nvSpPr>
        <p:spPr bwMode="gray">
          <a:xfrm>
            <a:off x="6596063" y="528002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1ADF0D5-1754-440E-8EE1-9A1A7A9B5DF5}" type="datetime'''''''''''''''''''''''''''''''''''''''8''''''''5'''''''">
              <a:rPr lang="en-US" sz="1000">
                <a:solidFill>
                  <a:schemeClr val="tx1"/>
                </a:solidFill>
                <a:latin typeface="Calibri"/>
                <a:sym typeface="Calibri"/>
              </a:rPr>
              <a:pPr algn="ctr">
                <a:spcBef>
                  <a:spcPct val="0"/>
                </a:spcBef>
                <a:spcAft>
                  <a:spcPct val="0"/>
                </a:spcAft>
              </a:pPr>
              <a:t>85</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C823D160-D55E-4311-BD97-0484FB1E5208}" type="datetime'''''''''''3'''''''''',4''''''''''''''''''''''''%'''''''''''">
              <a:rPr lang="en-US" sz="1000" smtClean="0">
                <a:solidFill>
                  <a:schemeClr val="tx1"/>
                </a:solidFill>
              </a:rPr>
              <a:pPr/>
              <a:t>3,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 name="Rectangle 1"/>
          <p:cNvSpPr/>
          <p:nvPr>
            <p:custDataLst>
              <p:tags r:id="rId9"/>
            </p:custDataLst>
          </p:nvPr>
        </p:nvSpPr>
        <p:spPr bwMode="auto">
          <a:xfrm>
            <a:off x="5810250" y="6064250"/>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82A7F46-61E8-4A59-AA11-4155E193F7CC}" type="datetime'T''''''''a''''''''''''u''r''''''''''''a''''''''''g''''ės'''">
              <a:rPr lang="en-US" sz="1200">
                <a:solidFill>
                  <a:schemeClr val="tx1"/>
                </a:solidFill>
                <a:latin typeface="Calibri"/>
                <a:sym typeface="Calibri"/>
              </a:rPr>
              <a:pPr algn="ctr">
                <a:spcBef>
                  <a:spcPct val="0"/>
                </a:spcBef>
                <a:spcAft>
                  <a:spcPct val="0"/>
                </a:spcAft>
              </a:pPr>
              <a:t>Tauragės</a:t>
            </a:fld>
            <a:endParaRPr lang="en-US" sz="1200">
              <a:solidFill>
                <a:schemeClr val="tx1"/>
              </a:solidFill>
              <a:latin typeface="Calibri"/>
              <a:sym typeface="Calibri"/>
            </a:endParaRPr>
          </a:p>
        </p:txBody>
      </p:sp>
      <p:sp>
        <p:nvSpPr>
          <p:cNvPr id="39" name="Rectangle 38"/>
          <p:cNvSpPr/>
          <p:nvPr>
            <p:custDataLst>
              <p:tags r:id="rId10"/>
            </p:custDataLst>
          </p:nvPr>
        </p:nvSpPr>
        <p:spPr bwMode="gray">
          <a:xfrm>
            <a:off x="5915025" y="5213350"/>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AB9A006-D4F8-4140-8017-1E11ADBF64CF}" type="datetime'''''''''''''''''''''1''''''0''''''''2'''''''''''''''''''''''">
              <a:rPr lang="en-US" sz="1000">
                <a:solidFill>
                  <a:schemeClr val="tx1"/>
                </a:solidFill>
                <a:latin typeface="Calibri"/>
                <a:sym typeface="Calibri"/>
              </a:rPr>
              <a:pPr algn="ctr">
                <a:spcBef>
                  <a:spcPct val="0"/>
                </a:spcBef>
                <a:spcAft>
                  <a:spcPct val="0"/>
                </a:spcAft>
              </a:pPr>
              <a:t>10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1C6254C-221B-4DFA-8C35-560F6E99EBAF}" type="datetime'''''''''4'''',''''''''0''''''''''''''''''''%'''''''">
              <a:rPr lang="en-US" sz="1000" smtClean="0">
                <a:solidFill>
                  <a:schemeClr val="tx1"/>
                </a:solidFill>
              </a:rPr>
              <a:pPr/>
              <a:t>4,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6" name="Rectangle 55"/>
          <p:cNvSpPr/>
          <p:nvPr>
            <p:custDataLst>
              <p:tags r:id="rId11"/>
            </p:custDataLst>
          </p:nvPr>
        </p:nvSpPr>
        <p:spPr bwMode="auto">
          <a:xfrm>
            <a:off x="5224463" y="6064250"/>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7E5B280-AD01-4061-B883-83DEA727A5FE}" type="datetime'''''''''T''''''''''''''''''el''''š''''''''''i''''''ų'''''">
              <a:rPr lang="en-US" sz="1200">
                <a:solidFill>
                  <a:schemeClr val="tx1"/>
                </a:solidFill>
                <a:latin typeface="Calibri"/>
                <a:sym typeface="Calibri"/>
              </a:rPr>
              <a:pPr algn="ctr">
                <a:spcBef>
                  <a:spcPct val="0"/>
                </a:spcBef>
                <a:spcAft>
                  <a:spcPct val="0"/>
                </a:spcAft>
              </a:pPr>
              <a:t>Telšių</a:t>
            </a:fld>
            <a:endParaRPr lang="en-US" sz="1200">
              <a:solidFill>
                <a:schemeClr val="tx1"/>
              </a:solidFill>
              <a:latin typeface="Calibri"/>
              <a:sym typeface="Calibri"/>
            </a:endParaRPr>
          </a:p>
        </p:txBody>
      </p:sp>
      <p:sp>
        <p:nvSpPr>
          <p:cNvPr id="38" name="Rectangle 37"/>
          <p:cNvSpPr/>
          <p:nvPr>
            <p:custDataLst>
              <p:tags r:id="rId12"/>
            </p:custDataLst>
          </p:nvPr>
        </p:nvSpPr>
        <p:spPr bwMode="gray">
          <a:xfrm>
            <a:off x="5229225" y="51466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B73E9D0-0F38-4C9A-9DD1-C48CFB0E5D15}" type="datetime'''''''''''''''''''''''''''''''''''''1''''''2''''0'''''''''''">
              <a:rPr lang="en-US" sz="1000">
                <a:solidFill>
                  <a:schemeClr val="tx1"/>
                </a:solidFill>
                <a:latin typeface="Calibri"/>
                <a:sym typeface="Calibri"/>
              </a:rPr>
              <a:pPr algn="ctr">
                <a:spcBef>
                  <a:spcPct val="0"/>
                </a:spcBef>
                <a:spcAft>
                  <a:spcPct val="0"/>
                </a:spcAft>
              </a:pPr>
              <a:t>120</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B5EC0E9C-B522-4126-94D2-ECE97E6E3761}" type="datetime'''4'''''''''''''''''''''''''''''''',''7''''''''''''''''''%'''">
              <a:rPr lang="en-US" sz="1000" smtClean="0">
                <a:solidFill>
                  <a:schemeClr val="tx1"/>
                </a:solidFill>
              </a:rPr>
              <a:pPr/>
              <a:t>4,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5" name="Rectangle 54"/>
          <p:cNvSpPr/>
          <p:nvPr>
            <p:custDataLst>
              <p:tags r:id="rId13"/>
            </p:custDataLst>
          </p:nvPr>
        </p:nvSpPr>
        <p:spPr bwMode="auto">
          <a:xfrm>
            <a:off x="4291013" y="6064250"/>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570532B-C5AD-47DC-8781-DC18594EAFF6}" type="datetime'''''''''''''Ma''''''r''i''''''''j''''''a''''m''''''po''lės'">
              <a:rPr lang="en-US" sz="1200">
                <a:solidFill>
                  <a:schemeClr val="tx1"/>
                </a:solidFill>
              </a:rPr>
              <a:pPr algn="ctr">
                <a:spcBef>
                  <a:spcPct val="0"/>
                </a:spcBef>
                <a:spcAft>
                  <a:spcPct val="0"/>
                </a:spcAft>
              </a:pPr>
              <a:t>Marijampolės</a:t>
            </a:fld>
            <a:endParaRPr lang="en-US" sz="1200">
              <a:solidFill>
                <a:schemeClr val="tx1"/>
              </a:solidFill>
              <a:latin typeface="Calibri"/>
              <a:sym typeface="Calibri"/>
            </a:endParaRPr>
          </a:p>
        </p:txBody>
      </p:sp>
      <p:sp>
        <p:nvSpPr>
          <p:cNvPr id="36" name="Rectangle 35"/>
          <p:cNvSpPr/>
          <p:nvPr>
            <p:custDataLst>
              <p:tags r:id="rId14"/>
            </p:custDataLst>
          </p:nvPr>
        </p:nvSpPr>
        <p:spPr bwMode="gray">
          <a:xfrm>
            <a:off x="4543425" y="48799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BBDAF6D-E7CE-4062-B9F6-5E7C176F9A6C}" type="datetime'''''''1''9''''0'''''''''''''''''''">
              <a:rPr lang="en-US" sz="1000">
                <a:solidFill>
                  <a:schemeClr val="tx1"/>
                </a:solidFill>
                <a:latin typeface="Calibri"/>
                <a:sym typeface="Calibri"/>
              </a:rPr>
              <a:pPr algn="ctr">
                <a:spcBef>
                  <a:spcPct val="0"/>
                </a:spcBef>
                <a:spcAft>
                  <a:spcPct val="0"/>
                </a:spcAft>
              </a:pPr>
              <a:t>190</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08C50772-279A-4732-A578-3609F105CF19}" type="datetime'''7'''''''''''''''''''''''''''''''',''''''5''%'''''''">
              <a:rPr lang="en-US" sz="1000" smtClean="0">
                <a:solidFill>
                  <a:schemeClr val="tx1"/>
                </a:solidFill>
              </a:rPr>
              <a:pPr/>
              <a:t>7,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4" name="Rectangle 43"/>
          <p:cNvSpPr/>
          <p:nvPr>
            <p:custDataLst>
              <p:tags r:id="rId15"/>
            </p:custDataLst>
          </p:nvPr>
        </p:nvSpPr>
        <p:spPr bwMode="auto">
          <a:xfrm>
            <a:off x="3810000" y="6064250"/>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1C3AF85-3081-47B6-9619-669DEB4F5646}" type="datetime'A''''''''ly''''''''ta''''''''''''u''''''''''''''s'''''''''">
              <a:rPr lang="en-US" sz="1200">
                <a:solidFill>
                  <a:schemeClr val="tx1"/>
                </a:solidFill>
              </a:rPr>
              <a:pPr algn="ctr">
                <a:spcBef>
                  <a:spcPct val="0"/>
                </a:spcBef>
                <a:spcAft>
                  <a:spcPct val="0"/>
                </a:spcAft>
              </a:pPr>
              <a:t>Alytaus</a:t>
            </a:fld>
            <a:endParaRPr lang="en-US" sz="1200" dirty="0">
              <a:solidFill>
                <a:schemeClr val="tx1"/>
              </a:solidFill>
              <a:latin typeface="Calibri"/>
              <a:sym typeface="Calibri"/>
            </a:endParaRPr>
          </a:p>
        </p:txBody>
      </p:sp>
      <p:sp>
        <p:nvSpPr>
          <p:cNvPr id="34" name="Rectangle 33"/>
          <p:cNvSpPr/>
          <p:nvPr>
            <p:custDataLst>
              <p:tags r:id="rId16"/>
            </p:custDataLst>
          </p:nvPr>
        </p:nvSpPr>
        <p:spPr bwMode="gray">
          <a:xfrm>
            <a:off x="3862388" y="47656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65A500D-6883-4008-AC2E-1E1D9E9EDD5E}" type="datetime'''''''''''''2''''''''''''''''''2''''''''''''''1'''''''">
              <a:rPr lang="en-US" sz="1000">
                <a:solidFill>
                  <a:schemeClr val="tx1"/>
                </a:solidFill>
                <a:latin typeface="Calibri"/>
                <a:sym typeface="Calibri"/>
              </a:rPr>
              <a:pPr algn="ctr">
                <a:spcBef>
                  <a:spcPct val="0"/>
                </a:spcBef>
                <a:spcAft>
                  <a:spcPct val="0"/>
                </a:spcAft>
              </a:pPr>
              <a:t>22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331B6CEB-8FB4-4ED9-9C2C-4E8B9F1A3C90}" type="datetime'''''''''''''''''8'''''''',''''''''''''''''''''''''''''7''''%'">
              <a:rPr lang="en-US" sz="1000" smtClean="0">
                <a:solidFill>
                  <a:schemeClr val="tx1"/>
                </a:solidFill>
              </a:rPr>
              <a:pPr/>
              <a:t>8,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6" name="Rectangle 45"/>
          <p:cNvSpPr/>
          <p:nvPr>
            <p:custDataLst>
              <p:tags r:id="rId17"/>
            </p:custDataLst>
          </p:nvPr>
        </p:nvSpPr>
        <p:spPr bwMode="auto">
          <a:xfrm>
            <a:off x="3041650" y="6064250"/>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338A58-93AE-4BAA-B8F9-42913D2AABF9}" type="datetime'''''''''''P''''a''''''''''''ne''''''v''ė''''''''''''ži''o'">
              <a:rPr lang="en-US" sz="1200">
                <a:solidFill>
                  <a:schemeClr val="tx1"/>
                </a:solidFill>
              </a:rPr>
              <a:pPr algn="ctr">
                <a:spcBef>
                  <a:spcPct val="0"/>
                </a:spcBef>
                <a:spcAft>
                  <a:spcPct val="0"/>
                </a:spcAft>
              </a:pPr>
              <a:t>Panevėžio</a:t>
            </a:fld>
            <a:endParaRPr lang="en-US" sz="1200">
              <a:solidFill>
                <a:schemeClr val="tx1"/>
              </a:solidFill>
              <a:latin typeface="Calibri"/>
              <a:sym typeface="Calibri"/>
            </a:endParaRPr>
          </a:p>
        </p:txBody>
      </p:sp>
      <p:sp>
        <p:nvSpPr>
          <p:cNvPr id="33" name="Rectangle 32"/>
          <p:cNvSpPr/>
          <p:nvPr>
            <p:custDataLst>
              <p:tags r:id="rId18"/>
            </p:custDataLst>
          </p:nvPr>
        </p:nvSpPr>
        <p:spPr bwMode="gray">
          <a:xfrm>
            <a:off x="3181350" y="4737100"/>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CA49B72-5C8A-4516-8E74-9019B5545FE9}" type="datetime'2''''''''''''''''''''''29'''''''''''''''''''">
              <a:rPr lang="en-US" sz="1000">
                <a:solidFill>
                  <a:schemeClr val="tx1"/>
                </a:solidFill>
                <a:latin typeface="Calibri"/>
                <a:sym typeface="Calibri"/>
              </a:rPr>
              <a:pPr algn="ctr">
                <a:spcBef>
                  <a:spcPct val="0"/>
                </a:spcBef>
                <a:spcAft>
                  <a:spcPct val="0"/>
                </a:spcAft>
              </a:pPr>
              <a:t>22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8A03607-8C09-45E8-AC56-D6BDB70806B9}" type="datetime'''''''''''''''9'''''''''''''',0''''''''''''''''''''%'''">
              <a:rPr lang="en-US" sz="1000" smtClean="0">
                <a:solidFill>
                  <a:schemeClr val="tx1"/>
                </a:solidFill>
              </a:rPr>
              <a:pPr/>
              <a:t>9,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8" name="Rectangle 47"/>
          <p:cNvSpPr/>
          <p:nvPr>
            <p:custDataLst>
              <p:tags r:id="rId19"/>
            </p:custDataLst>
          </p:nvPr>
        </p:nvSpPr>
        <p:spPr bwMode="auto">
          <a:xfrm>
            <a:off x="2371725" y="6064250"/>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A78047-A629-4C8A-AE5E-26BA1B399FE0}" type="datetime'''''''Kl''''''''''''a''''''''''ip''''ė''d''''o''''''''''''s'">
              <a:rPr lang="en-US" sz="1200">
                <a:solidFill>
                  <a:schemeClr val="tx1"/>
                </a:solidFill>
              </a:rPr>
              <a:pPr algn="ctr">
                <a:spcBef>
                  <a:spcPct val="0"/>
                </a:spcBef>
                <a:spcAft>
                  <a:spcPct val="0"/>
                </a:spcAft>
              </a:pPr>
              <a:t>Klaipėdos</a:t>
            </a:fld>
            <a:endParaRPr lang="en-US" sz="1200">
              <a:solidFill>
                <a:schemeClr val="tx1"/>
              </a:solidFill>
              <a:latin typeface="Calibri"/>
              <a:sym typeface="Calibri"/>
            </a:endParaRPr>
          </a:p>
        </p:txBody>
      </p:sp>
      <p:sp>
        <p:nvSpPr>
          <p:cNvPr id="32" name="Rectangle 31"/>
          <p:cNvSpPr/>
          <p:nvPr>
            <p:custDataLst>
              <p:tags r:id="rId20"/>
            </p:custDataLst>
          </p:nvPr>
        </p:nvSpPr>
        <p:spPr bwMode="gray">
          <a:xfrm>
            <a:off x="2462213" y="447992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1451CFD-2713-45C5-A3D7-B2F70A1562D5}" type="datetime'''''''''''''''''''''''''''''''''2''''''''''''9''''''''8'''''''">
              <a:rPr lang="en-US" sz="1000">
                <a:solidFill>
                  <a:schemeClr val="tx1"/>
                </a:solidFill>
                <a:latin typeface="Calibri"/>
                <a:sym typeface="Calibri"/>
              </a:rPr>
              <a:pPr algn="ctr">
                <a:spcBef>
                  <a:spcPct val="0"/>
                </a:spcBef>
                <a:spcAft>
                  <a:spcPct val="0"/>
                </a:spcAft>
              </a:pPr>
              <a:t>29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513EBD8-0812-4B1A-974B-3360EC9DF8A1}" type="datetime'''''1''''''''''''''''''''1'''''''''''',8''''''''%'''''''''''">
              <a:rPr lang="en-US" sz="1000" smtClean="0">
                <a:solidFill>
                  <a:schemeClr val="tx1"/>
                </a:solidFill>
              </a:rPr>
              <a:pPr/>
              <a:t>11,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0" name="Rectangle 49"/>
          <p:cNvSpPr/>
          <p:nvPr>
            <p:custDataLst>
              <p:tags r:id="rId21"/>
            </p:custDataLst>
          </p:nvPr>
        </p:nvSpPr>
        <p:spPr bwMode="auto">
          <a:xfrm>
            <a:off x="1743075" y="6064250"/>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21E2FDD-B590-481F-A7D9-B02F9A5C6428}" type="datetime'''''V''i''''''''''l''ni''a''''''''us'''''''">
              <a:rPr lang="en-US" sz="1200">
                <a:solidFill>
                  <a:schemeClr val="tx1"/>
                </a:solidFill>
              </a:rPr>
              <a:pPr algn="ctr">
                <a:spcBef>
                  <a:spcPct val="0"/>
                </a:spcBef>
                <a:spcAft>
                  <a:spcPct val="0"/>
                </a:spcAft>
              </a:pPr>
              <a:t>Vilniaus</a:t>
            </a:fld>
            <a:endParaRPr lang="en-US" sz="1200">
              <a:solidFill>
                <a:schemeClr val="tx1"/>
              </a:solidFill>
              <a:sym typeface="+mn-lt"/>
            </a:endParaRPr>
          </a:p>
        </p:txBody>
      </p:sp>
      <p:sp>
        <p:nvSpPr>
          <p:cNvPr id="30" name="Rectangle 29"/>
          <p:cNvSpPr/>
          <p:nvPr>
            <p:custDataLst>
              <p:tags r:id="rId22"/>
            </p:custDataLst>
          </p:nvPr>
        </p:nvSpPr>
        <p:spPr bwMode="gray">
          <a:xfrm>
            <a:off x="1776413" y="4451350"/>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C592F2E-5889-45CF-AC58-CCDD8053C424}" type="datetime'''''''''''''''''''''''3''''0''''6'''''">
              <a:rPr lang="en-US" sz="1000">
                <a:solidFill>
                  <a:schemeClr val="tx1"/>
                </a:solidFill>
                <a:latin typeface="Calibri"/>
                <a:sym typeface="Calibri"/>
              </a:rPr>
              <a:pPr algn="ctr">
                <a:spcBef>
                  <a:spcPct val="0"/>
                </a:spcBef>
                <a:spcAft>
                  <a:spcPct val="0"/>
                </a:spcAft>
              </a:pPr>
              <a:t>306</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C052094-AA27-4505-A3A9-762FC171D2FE}" type="datetime'''''''1''''2'''',1''''''''''''''''''''''%'''''''''''''''''">
              <a:rPr lang="en-US" sz="1000" smtClean="0">
                <a:solidFill>
                  <a:schemeClr val="tx1"/>
                </a:solidFill>
              </a:rPr>
              <a:pPr/>
              <a:t>12,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5" name="Rectangle 34"/>
          <p:cNvSpPr/>
          <p:nvPr>
            <p:custDataLst>
              <p:tags r:id="rId23"/>
            </p:custDataLst>
          </p:nvPr>
        </p:nvSpPr>
        <p:spPr bwMode="auto">
          <a:xfrm>
            <a:off x="1100138" y="6064250"/>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267670A-C574-478C-912C-EC0F6365A6DB}" type="datetime'''''''''''''''''Ši''''''''''''''a''''''ul''i''ų'''''''''''''">
              <a:rPr lang="en-US" sz="1200">
                <a:solidFill>
                  <a:schemeClr val="tx1"/>
                </a:solidFill>
              </a:rPr>
              <a:pPr algn="ctr">
                <a:spcBef>
                  <a:spcPct val="0"/>
                </a:spcBef>
                <a:spcAft>
                  <a:spcPct val="0"/>
                </a:spcAft>
              </a:pPr>
              <a:t>Šiaulių</a:t>
            </a:fld>
            <a:endParaRPr lang="en-US" sz="1200" dirty="0">
              <a:solidFill>
                <a:schemeClr val="tx1"/>
              </a:solidFill>
              <a:sym typeface="+mn-lt"/>
            </a:endParaRPr>
          </a:p>
        </p:txBody>
      </p:sp>
      <p:sp>
        <p:nvSpPr>
          <p:cNvPr id="29" name="Rectangle 28"/>
          <p:cNvSpPr/>
          <p:nvPr>
            <p:custDataLst>
              <p:tags r:id="rId24"/>
            </p:custDataLst>
          </p:nvPr>
        </p:nvSpPr>
        <p:spPr bwMode="gray">
          <a:xfrm>
            <a:off x="1095375" y="396557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722B7ED-B2A4-480D-8687-C7CE5B3F92AD}" type="datetime'''''''''4''''''''''''''''''''3''''''''''''''''4'''''">
              <a:rPr lang="en-US" sz="1000">
                <a:solidFill>
                  <a:schemeClr val="tx1"/>
                </a:solidFill>
                <a:latin typeface="Calibri"/>
                <a:sym typeface="Calibri"/>
              </a:rPr>
              <a:pPr algn="ctr">
                <a:spcBef>
                  <a:spcPct val="0"/>
                </a:spcBef>
                <a:spcAft>
                  <a:spcPct val="0"/>
                </a:spcAft>
              </a:pPr>
              <a:t>43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3B963D0A-AE82-4129-94AE-98B5485B2732}" type="datetime'''''''''''''''''''''1''''''''''7'''',''1''%'''''''''''''''''">
              <a:rPr lang="en-US" sz="1000" smtClean="0">
                <a:solidFill>
                  <a:schemeClr val="tx1"/>
                </a:solidFill>
              </a:rPr>
              <a:pPr/>
              <a:t>17,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7" name="Rectangle 36"/>
          <p:cNvSpPr/>
          <p:nvPr>
            <p:custDataLst>
              <p:tags r:id="rId25"/>
            </p:custDataLst>
          </p:nvPr>
        </p:nvSpPr>
        <p:spPr bwMode="auto">
          <a:xfrm>
            <a:off x="427038" y="6064250"/>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38A6EFF-9323-42AA-9227-649981EE6AEE}" type="datetime'''''''''''''''K''''au''''n''''''''''''''''o'''''''''''''''">
              <a:rPr lang="en-US" sz="1200">
                <a:solidFill>
                  <a:schemeClr val="tx1"/>
                </a:solidFill>
              </a:rPr>
              <a:pPr algn="ctr">
                <a:spcBef>
                  <a:spcPct val="0"/>
                </a:spcBef>
                <a:spcAft>
                  <a:spcPct val="0"/>
                </a:spcAft>
              </a:pPr>
              <a:t>Kauno</a:t>
            </a:fld>
            <a:endParaRPr lang="en-US" sz="1200" dirty="0">
              <a:solidFill>
                <a:schemeClr val="tx1"/>
              </a:solidFill>
              <a:sym typeface="+mn-lt"/>
            </a:endParaRPr>
          </a:p>
        </p:txBody>
      </p:sp>
      <p:sp>
        <p:nvSpPr>
          <p:cNvPr id="28" name="Rectangle 27"/>
          <p:cNvSpPr/>
          <p:nvPr>
            <p:custDataLst>
              <p:tags r:id="rId26"/>
            </p:custDataLst>
          </p:nvPr>
        </p:nvSpPr>
        <p:spPr bwMode="gray">
          <a:xfrm>
            <a:off x="414338" y="356552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2B7515A-3EE2-4A14-B837-F3498421E3F2}" type="datetime'''''''''''''''''''5''''4''''''''''''''''''''2'''''''''''''''">
              <a:rPr lang="en-US" sz="1000">
                <a:solidFill>
                  <a:schemeClr val="tx1"/>
                </a:solidFill>
                <a:latin typeface="Calibri"/>
                <a:sym typeface="Calibri"/>
              </a:rPr>
              <a:pPr algn="ctr">
                <a:spcBef>
                  <a:spcPct val="0"/>
                </a:spcBef>
                <a:spcAft>
                  <a:spcPct val="0"/>
                </a:spcAft>
              </a:pPr>
              <a:t>54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A0B49169-D612-4C09-A2C2-4E9EB8E3B47E}" type="datetime'''2''''1'''''''''''''''',''''''''''''''''4''''%'''">
              <a:rPr lang="en-US" sz="1000" smtClean="0">
                <a:solidFill>
                  <a:schemeClr val="tx1"/>
                </a:solidFill>
              </a:rPr>
              <a:pPr/>
              <a:t>21,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3" name="Title 1"/>
          <p:cNvSpPr>
            <a:spLocks noGrp="1"/>
          </p:cNvSpPr>
          <p:nvPr>
            <p:ph type="title"/>
          </p:nvPr>
        </p:nvSpPr>
        <p:spPr>
          <a:xfrm>
            <a:off x="152400" y="296652"/>
            <a:ext cx="8915400" cy="487362"/>
          </a:xfrm>
        </p:spPr>
        <p:txBody>
          <a:bodyPr>
            <a:normAutofit fontScale="90000"/>
          </a:bodyPr>
          <a:lstStyle/>
          <a:p>
            <a:r>
              <a:rPr lang="lt-LT" sz="2200" b="1" dirty="0">
                <a:solidFill>
                  <a:schemeClr val="tx2">
                    <a:lumMod val="75000"/>
                  </a:schemeClr>
                </a:solidFill>
              </a:rPr>
              <a:t>Didžiausiu užsiregistravusių vartotojų skaičiumi išsiskiria Kauno ir Šiaulių regionai</a:t>
            </a:r>
            <a:endParaRPr lang="en-US" sz="2200" b="1" dirty="0">
              <a:solidFill>
                <a:schemeClr val="tx2">
                  <a:lumMod val="75000"/>
                </a:schemeClr>
              </a:solidFill>
            </a:endParaRPr>
          </a:p>
        </p:txBody>
      </p:sp>
      <p:sp>
        <p:nvSpPr>
          <p:cNvPr id="57" name="Rectangle 56"/>
          <p:cNvSpPr/>
          <p:nvPr/>
        </p:nvSpPr>
        <p:spPr>
          <a:xfrm>
            <a:off x="314711" y="1454252"/>
            <a:ext cx="3352028"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užsiregistravusių vartotojų skaičius yra Kauno regione jis sudaro 21 proc. visų užsiregistravusių vartotojų;</a:t>
            </a:r>
          </a:p>
          <a:p>
            <a:pPr marL="108000" lvl="0" algn="just"/>
            <a:endParaRPr lang="lt-LT" sz="6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Didesniu </a:t>
            </a:r>
            <a:r>
              <a:rPr lang="lt-LT" sz="1200" dirty="0">
                <a:solidFill>
                  <a:prstClr val="black"/>
                </a:solidFill>
              </a:rPr>
              <a:t>užsiregistravusių </a:t>
            </a:r>
            <a:r>
              <a:rPr lang="lt-LT" sz="1200" dirty="0" smtClean="0">
                <a:solidFill>
                  <a:prstClr val="black"/>
                </a:solidFill>
              </a:rPr>
              <a:t>vartotojų skaičiumi taip pat išsiskiria Šiaulių regionas. Šiame regione užsiregistravę vartotojai sudaro 17 proc</a:t>
            </a:r>
            <a:r>
              <a:rPr lang="lt-LT" sz="1200" dirty="0">
                <a:solidFill>
                  <a:prstClr val="black"/>
                </a:solidFill>
              </a:rPr>
              <a:t>. visų užsiregistravusių </a:t>
            </a:r>
            <a:r>
              <a:rPr lang="lt-LT" sz="1200" dirty="0" smtClean="0">
                <a:solidFill>
                  <a:prstClr val="black"/>
                </a:solidFill>
              </a:rPr>
              <a:t>vartotojų;</a:t>
            </a:r>
          </a:p>
          <a:p>
            <a:pPr marL="108000" algn="just"/>
            <a:endParaRPr lang="lt-LT" sz="11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Mažiausias užsiregistravusių vartotojų skaičius yra Utenos, Tauragės ir Telšių regionuose.</a:t>
            </a:r>
            <a:endParaRPr lang="lt-LT" sz="1200" dirty="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p:txBody>
      </p:sp>
      <p:sp>
        <p:nvSpPr>
          <p:cNvPr id="58" name="Rectangle 57"/>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pSp>
        <p:nvGrpSpPr>
          <p:cNvPr id="16" name="Group 15"/>
          <p:cNvGrpSpPr/>
          <p:nvPr/>
        </p:nvGrpSpPr>
        <p:grpSpPr>
          <a:xfrm>
            <a:off x="3800247" y="1510690"/>
            <a:ext cx="5155561" cy="3819834"/>
            <a:chOff x="1003747" y="1069816"/>
            <a:chExt cx="6963512"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86A2E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6A2E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5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18" name="TextBox 17"/>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20" name="TextBox 19"/>
            <p:cNvSpPr txBox="1"/>
            <p:nvPr/>
          </p:nvSpPr>
          <p:spPr>
            <a:xfrm>
              <a:off x="4250643" y="3757603"/>
              <a:ext cx="1206778" cy="623562"/>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4" y="4263099"/>
              <a:ext cx="1206777" cy="461665"/>
            </a:xfrm>
            <a:prstGeom prst="rect">
              <a:avLst/>
            </a:prstGeom>
            <a:noFill/>
            <a:ln w="6350">
              <a:noFill/>
            </a:ln>
          </p:spPr>
          <p:txBody>
            <a:bodyPr wrap="square" rtlCol="0">
              <a:spAutoFit/>
            </a:bodyPr>
            <a:lstStyle/>
            <a:p>
              <a:r>
                <a:rPr lang="lt-LT" sz="1200" b="1" dirty="0" smtClean="0"/>
                <a:t>Marijampolės regionas</a:t>
              </a:r>
            </a:p>
          </p:txBody>
        </p:sp>
        <p:sp>
          <p:nvSpPr>
            <p:cNvPr id="22" name="TextBox 21"/>
            <p:cNvSpPr txBox="1"/>
            <p:nvPr/>
          </p:nvSpPr>
          <p:spPr>
            <a:xfrm>
              <a:off x="1003747" y="1934667"/>
              <a:ext cx="1705517" cy="735491"/>
            </a:xfrm>
            <a:prstGeom prst="rect">
              <a:avLst/>
            </a:prstGeom>
            <a:noFill/>
            <a:ln w="6350">
              <a:noFill/>
            </a:ln>
          </p:spPr>
          <p:txBody>
            <a:bodyPr wrap="square" rtlCol="0">
              <a:spAutoFit/>
            </a:bodyPr>
            <a:lstStyle/>
            <a:p>
              <a:r>
                <a:rPr lang="lt-LT" sz="1200" b="1" dirty="0" smtClean="0"/>
                <a:t>Klaipėdos regionas</a:t>
              </a:r>
            </a:p>
          </p:txBody>
        </p:sp>
        <p:sp>
          <p:nvSpPr>
            <p:cNvPr id="23" name="TextBox 22"/>
            <p:cNvSpPr txBox="1"/>
            <p:nvPr/>
          </p:nvSpPr>
          <p:spPr>
            <a:xfrm>
              <a:off x="2152495" y="1745680"/>
              <a:ext cx="1463910" cy="735491"/>
            </a:xfrm>
            <a:prstGeom prst="rect">
              <a:avLst/>
            </a:prstGeom>
            <a:noFill/>
            <a:ln w="6350">
              <a:noFill/>
            </a:ln>
          </p:spPr>
          <p:txBody>
            <a:bodyPr wrap="square" rtlCol="0">
              <a:spAutoFit/>
            </a:bodyPr>
            <a:lstStyle/>
            <a:p>
              <a:r>
                <a:rPr lang="lt-LT" sz="1200" b="1" dirty="0" smtClean="0"/>
                <a:t>Telšių regionas</a:t>
              </a:r>
            </a:p>
          </p:txBody>
        </p:sp>
        <p:sp>
          <p:nvSpPr>
            <p:cNvPr id="24" name="TextBox 23"/>
            <p:cNvSpPr txBox="1"/>
            <p:nvPr/>
          </p:nvSpPr>
          <p:spPr>
            <a:xfrm>
              <a:off x="2307964" y="3112424"/>
              <a:ext cx="1483911" cy="276999"/>
            </a:xfrm>
            <a:prstGeom prst="rect">
              <a:avLst/>
            </a:prstGeom>
            <a:noFill/>
            <a:ln w="635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54" name="Rectangle 53"/>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Užsiregistravusių vartotojų pasiskirstymas pagal regioną, vnt. </a:t>
            </a:r>
            <a:endParaRPr lang="lt-LT" sz="1200" dirty="0">
              <a:solidFill>
                <a:schemeClr val="bg1"/>
              </a:solidFill>
              <a:cs typeface="Cambria"/>
            </a:endParaRPr>
          </a:p>
        </p:txBody>
      </p:sp>
    </p:spTree>
    <p:extLst>
      <p:ext uri="{BB962C8B-B14F-4D97-AF65-F5344CB8AC3E}">
        <p14:creationId xmlns:p14="http://schemas.microsoft.com/office/powerpoint/2010/main" val="3474769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531720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53" name="Title 1"/>
          <p:cNvSpPr>
            <a:spLocks noGrp="1"/>
          </p:cNvSpPr>
          <p:nvPr>
            <p:ph type="title"/>
          </p:nvPr>
        </p:nvSpPr>
        <p:spPr>
          <a:xfrm>
            <a:off x="356335" y="224644"/>
            <a:ext cx="8631066" cy="487362"/>
          </a:xfrm>
        </p:spPr>
        <p:txBody>
          <a:bodyPr>
            <a:noAutofit/>
          </a:bodyPr>
          <a:lstStyle/>
          <a:p>
            <a:r>
              <a:rPr lang="lt-LT" sz="2000" b="1" dirty="0">
                <a:solidFill>
                  <a:schemeClr val="tx2">
                    <a:lumMod val="75000"/>
                  </a:schemeClr>
                </a:solidFill>
              </a:rPr>
              <a:t>Didžiausiu įvykdytų projektų skaičiumi išsiskiria Kauno ir Šiaulių regionai, kuriuose taip pat yra daugiausiai užregistruotų mokyklų ir aktyvių mokytojų</a:t>
            </a:r>
            <a:endParaRPr lang="en-US" sz="2000" b="1" dirty="0">
              <a:solidFill>
                <a:schemeClr val="tx2">
                  <a:lumMod val="75000"/>
                </a:schemeClr>
              </a:solidFill>
            </a:endParaRP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3418741522"/>
              </p:ext>
            </p:extLst>
          </p:nvPr>
        </p:nvGraphicFramePr>
        <p:xfrm>
          <a:off x="190500" y="3543300"/>
          <a:ext cx="8581960" cy="2581375"/>
        </p:xfrm>
        <a:graphic>
          <a:graphicData uri="http://schemas.openxmlformats.org/presentationml/2006/ole">
            <mc:AlternateContent xmlns:mc="http://schemas.openxmlformats.org/markup-compatibility/2006">
              <mc:Choice xmlns:v="urn:schemas-microsoft-com:vml" Requires="v">
                <p:oleObj spid="_x0000_s11289" name="Chart" r:id="rId30" imgW="8582021" imgH="2581229" progId="MSGraph.Chart.8">
                  <p:embed followColorScheme="full"/>
                </p:oleObj>
              </mc:Choice>
              <mc:Fallback>
                <p:oleObj name="Chart" r:id="rId30" imgW="8582021" imgH="2581229" progId="MSGraph.Chart.8">
                  <p:embed followColorScheme="full"/>
                  <p:pic>
                    <p:nvPicPr>
                      <p:cNvPr id="0" name=""/>
                      <p:cNvPicPr/>
                      <p:nvPr/>
                    </p:nvPicPr>
                    <p:blipFill>
                      <a:blip r:embed="rId31"/>
                      <a:stretch>
                        <a:fillRect/>
                      </a:stretch>
                    </p:blipFill>
                    <p:spPr>
                      <a:xfrm>
                        <a:off x="190500" y="3543300"/>
                        <a:ext cx="8581960" cy="2581375"/>
                      </a:xfrm>
                      <a:prstGeom prst="rect">
                        <a:avLst/>
                      </a:prstGeom>
                    </p:spPr>
                  </p:pic>
                </p:oleObj>
              </mc:Fallback>
            </mc:AlternateContent>
          </a:graphicData>
        </a:graphic>
      </p:graphicFrame>
      <p:sp>
        <p:nvSpPr>
          <p:cNvPr id="75" name="Rectangle 74"/>
          <p:cNvSpPr/>
          <p:nvPr>
            <p:custDataLst>
              <p:tags r:id="rId5"/>
            </p:custDataLst>
          </p:nvPr>
        </p:nvSpPr>
        <p:spPr bwMode="gray">
          <a:xfrm>
            <a:off x="5745163" y="5461000"/>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2C59E7F-877C-4DBD-AB2D-6B52F25F6F42}" type="datetime'''''''''''8''''''''''''''''''''''''''''''''''''''''''''3'">
              <a:rPr lang="en-US" sz="1000" smtClean="0">
                <a:solidFill>
                  <a:schemeClr val="tx1"/>
                </a:solidFill>
                <a:latin typeface="Calibri"/>
                <a:sym typeface="Calibri"/>
              </a:rPr>
              <a:pPr algn="ctr">
                <a:spcBef>
                  <a:spcPct val="0"/>
                </a:spcBef>
                <a:spcAft>
                  <a:spcPct val="0"/>
                </a:spcAft>
              </a:pPr>
              <a:t>83</a:t>
            </a:fld>
            <a:r>
              <a:rPr lang="en-US" sz="1000" dirty="0" smtClean="0">
                <a:solidFill>
                  <a:schemeClr val="tx1"/>
                </a:solidFill>
                <a:latin typeface="Calibri"/>
                <a:sym typeface="Calibri"/>
              </a:rPr>
              <a:t> (</a:t>
            </a:r>
            <a:fld id="{F47863BF-D4B1-4214-B2FB-8E8FDC466B31}" type="datetime'''''''''''''''3,''''8''''''''''''''''''%'''''''''''''''''">
              <a:rPr lang="en-US" sz="1000" smtClean="0">
                <a:solidFill>
                  <a:schemeClr val="tx1"/>
                </a:solidFill>
                <a:latin typeface="Calibri"/>
                <a:sym typeface="Calibri"/>
              </a:rPr>
              <a:pPr algn="ctr">
                <a:spcBef>
                  <a:spcPct val="0"/>
                </a:spcBef>
                <a:spcAft>
                  <a:spcPct val="0"/>
                </a:spcAft>
              </a:pPr>
              <a:t>3,8%</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4" name="Rectangle 63"/>
          <p:cNvSpPr/>
          <p:nvPr>
            <p:custDataLst>
              <p:tags r:id="rId6"/>
            </p:custDataLst>
          </p:nvPr>
        </p:nvSpPr>
        <p:spPr bwMode="auto">
          <a:xfrm>
            <a:off x="5819775" y="6149975"/>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9EC686-6CD9-484C-96BF-7799A353F0EC}" type="datetime'''''''''Te''''l''''''''''''š''''''''''ių'''''''">
              <a:rPr lang="en-US" sz="1200" smtClean="0">
                <a:solidFill>
                  <a:schemeClr val="tx1"/>
                </a:solidFill>
                <a:latin typeface="Calibri"/>
                <a:sym typeface="Calibri"/>
              </a:rPr>
              <a:pPr algn="ctr">
                <a:spcBef>
                  <a:spcPct val="0"/>
                </a:spcBef>
                <a:spcAft>
                  <a:spcPct val="0"/>
                </a:spcAft>
              </a:pPr>
              <a:t>Telšių</a:t>
            </a:fld>
            <a:endParaRPr lang="en-US" sz="1200" dirty="0">
              <a:solidFill>
                <a:schemeClr val="tx1"/>
              </a:solidFill>
              <a:latin typeface="Calibri"/>
              <a:sym typeface="Calibri"/>
            </a:endParaRPr>
          </a:p>
        </p:txBody>
      </p:sp>
      <p:sp>
        <p:nvSpPr>
          <p:cNvPr id="63" name="Rectangle 62"/>
          <p:cNvSpPr/>
          <p:nvPr>
            <p:custDataLst>
              <p:tags r:id="rId7"/>
            </p:custDataLst>
          </p:nvPr>
        </p:nvSpPr>
        <p:spPr bwMode="auto">
          <a:xfrm>
            <a:off x="5014913" y="6149975"/>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FA12A24-30FA-4D11-9988-2EF425367265}" type="datetime'''A''''''l''''''''''''y''''t''''''''a''''''''us'">
              <a:rPr lang="en-US" sz="1200" smtClean="0">
                <a:solidFill>
                  <a:schemeClr val="tx1"/>
                </a:solidFill>
                <a:latin typeface="Calibri"/>
                <a:sym typeface="Calibri"/>
              </a:rPr>
              <a:pPr algn="ctr">
                <a:spcBef>
                  <a:spcPct val="0"/>
                </a:spcBef>
                <a:spcAft>
                  <a:spcPct val="0"/>
                </a:spcAft>
              </a:pPr>
              <a:t>Alytaus</a:t>
            </a:fld>
            <a:endParaRPr lang="en-US" sz="1200" dirty="0">
              <a:solidFill>
                <a:schemeClr val="tx1"/>
              </a:solidFill>
              <a:latin typeface="Calibri"/>
              <a:sym typeface="Calibri"/>
            </a:endParaRPr>
          </a:p>
        </p:txBody>
      </p:sp>
      <p:sp>
        <p:nvSpPr>
          <p:cNvPr id="74" name="Rectangle 73"/>
          <p:cNvSpPr/>
          <p:nvPr>
            <p:custDataLst>
              <p:tags r:id="rId8"/>
            </p:custDataLst>
          </p:nvPr>
        </p:nvSpPr>
        <p:spPr bwMode="gray">
          <a:xfrm>
            <a:off x="4954588" y="5365750"/>
            <a:ext cx="587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65C59EA-8030-475D-9AB1-82DA0A568887}" type="datetime'''''''''''''1''0''''''4'''''''''''''''''''''''''''''''''''''''">
              <a:rPr lang="en-US" sz="1000" smtClean="0">
                <a:solidFill>
                  <a:schemeClr val="tx1"/>
                </a:solidFill>
                <a:latin typeface="Calibri"/>
                <a:sym typeface="Calibri"/>
              </a:rPr>
              <a:pPr algn="ctr">
                <a:spcBef>
                  <a:spcPct val="0"/>
                </a:spcBef>
                <a:spcAft>
                  <a:spcPct val="0"/>
                </a:spcAft>
              </a:pPr>
              <a:t>104</a:t>
            </a:fld>
            <a:r>
              <a:rPr lang="en-US" sz="1000" dirty="0" smtClean="0">
                <a:solidFill>
                  <a:schemeClr val="tx1"/>
                </a:solidFill>
                <a:latin typeface="Calibri"/>
                <a:sym typeface="Calibri"/>
              </a:rPr>
              <a:t> (</a:t>
            </a:r>
            <a:fld id="{1CB053E8-7018-4059-BC8F-657F28C005D5}" type="datetime'''''4'''''''''''''''''',''''''8''''''''''''''''''%'''''">
              <a:rPr lang="en-US" sz="1000" smtClean="0">
                <a:solidFill>
                  <a:schemeClr val="tx1"/>
                </a:solidFill>
                <a:latin typeface="Calibri"/>
                <a:sym typeface="Calibri"/>
              </a:rPr>
              <a:pPr algn="ctr">
                <a:spcBef>
                  <a:spcPct val="0"/>
                </a:spcBef>
                <a:spcAft>
                  <a:spcPct val="0"/>
                </a:spcAft>
              </a:pPr>
              <a:t>4,8%</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2" name="Rectangle 61"/>
          <p:cNvSpPr/>
          <p:nvPr>
            <p:custDataLst>
              <p:tags r:id="rId9"/>
            </p:custDataLst>
          </p:nvPr>
        </p:nvSpPr>
        <p:spPr bwMode="auto">
          <a:xfrm>
            <a:off x="4170363" y="6149975"/>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8E74D16-DBF9-417A-A521-10483C259AA0}" type="datetime'P''''''''a''''''''''''ne''''''''''''''v''ėži''''''o'''''''''">
              <a:rPr lang="en-US" sz="1200" smtClean="0">
                <a:solidFill>
                  <a:schemeClr val="tx1"/>
                </a:solidFill>
                <a:latin typeface="Calibri"/>
                <a:sym typeface="Calibri"/>
              </a:rPr>
              <a:pPr algn="ctr">
                <a:spcBef>
                  <a:spcPct val="0"/>
                </a:spcBef>
                <a:spcAft>
                  <a:spcPct val="0"/>
                </a:spcAft>
              </a:pPr>
              <a:t>Panevėžio</a:t>
            </a:fld>
            <a:endParaRPr lang="en-US" sz="1200" dirty="0">
              <a:solidFill>
                <a:schemeClr val="tx1"/>
              </a:solidFill>
              <a:latin typeface="Calibri"/>
              <a:sym typeface="Calibri"/>
            </a:endParaRPr>
          </a:p>
        </p:txBody>
      </p:sp>
      <p:sp>
        <p:nvSpPr>
          <p:cNvPr id="73" name="Rectangle 72"/>
          <p:cNvSpPr/>
          <p:nvPr>
            <p:custDataLst>
              <p:tags r:id="rId10"/>
            </p:custDataLst>
          </p:nvPr>
        </p:nvSpPr>
        <p:spPr bwMode="gray">
          <a:xfrm>
            <a:off x="4197350" y="5051425"/>
            <a:ext cx="587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21D9066-31E3-4D02-B930-21AD00A5B94B}" type="datetime'''''1''''''''7''''''''5'''''">
              <a:rPr lang="en-US" sz="1000" smtClean="0">
                <a:solidFill>
                  <a:schemeClr val="tx1"/>
                </a:solidFill>
                <a:latin typeface="Calibri"/>
                <a:sym typeface="Calibri"/>
              </a:rPr>
              <a:pPr algn="ctr">
                <a:spcBef>
                  <a:spcPct val="0"/>
                </a:spcBef>
                <a:spcAft>
                  <a:spcPct val="0"/>
                </a:spcAft>
              </a:pPr>
              <a:t>175</a:t>
            </a:fld>
            <a:r>
              <a:rPr lang="en-US" sz="1000" dirty="0" smtClean="0">
                <a:solidFill>
                  <a:schemeClr val="tx1"/>
                </a:solidFill>
                <a:latin typeface="Calibri"/>
                <a:sym typeface="Calibri"/>
              </a:rPr>
              <a:t> (</a:t>
            </a:r>
            <a:fld id="{41DCBCFF-3693-4F4A-99FC-7B6A50ABA430}" type="datetime'''8'',''''''''''''''''''''''''''0''%'">
              <a:rPr lang="en-US" sz="1000" smtClean="0">
                <a:solidFill>
                  <a:schemeClr val="tx1"/>
                </a:solidFill>
                <a:latin typeface="Calibri"/>
                <a:sym typeface="Calibri"/>
              </a:rPr>
              <a:pPr algn="ctr">
                <a:spcBef>
                  <a:spcPct val="0"/>
                </a:spcBef>
                <a:spcAft>
                  <a:spcPct val="0"/>
                </a:spcAft>
              </a:pPr>
              <a:t>8,0%</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1" name="Rectangle 60"/>
          <p:cNvSpPr/>
          <p:nvPr>
            <p:custDataLst>
              <p:tags r:id="rId11"/>
            </p:custDataLst>
          </p:nvPr>
        </p:nvSpPr>
        <p:spPr bwMode="auto">
          <a:xfrm>
            <a:off x="3486150" y="6149975"/>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8932CB5-663E-4274-BDDD-A4EC02FC1960}" type="datetime'V''''''''''''''il''''''''''n''ia''u''''''''s'''">
              <a:rPr lang="en-US" sz="1200" smtClean="0">
                <a:solidFill>
                  <a:schemeClr val="tx1"/>
                </a:solidFill>
                <a:latin typeface="Calibri"/>
                <a:sym typeface="Calibri"/>
              </a:rPr>
              <a:pPr algn="ctr">
                <a:spcBef>
                  <a:spcPct val="0"/>
                </a:spcBef>
                <a:spcAft>
                  <a:spcPct val="0"/>
                </a:spcAft>
              </a:pPr>
              <a:t>Vilniaus</a:t>
            </a:fld>
            <a:endParaRPr lang="en-US" sz="1200" dirty="0">
              <a:solidFill>
                <a:schemeClr val="tx1"/>
              </a:solidFill>
              <a:latin typeface="Calibri"/>
              <a:sym typeface="Calibri"/>
            </a:endParaRPr>
          </a:p>
        </p:txBody>
      </p:sp>
      <p:sp>
        <p:nvSpPr>
          <p:cNvPr id="72" name="Rectangle 71"/>
          <p:cNvSpPr/>
          <p:nvPr>
            <p:custDataLst>
              <p:tags r:id="rId12"/>
            </p:custDataLst>
          </p:nvPr>
        </p:nvSpPr>
        <p:spPr bwMode="gray">
          <a:xfrm>
            <a:off x="3408363" y="4651375"/>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6760E46-A06D-4DA6-84D8-07B41A0C8D83}" type="datetime'''''''''''''''''2''''''''''6''''''3'''''''''''''">
              <a:rPr lang="en-US" sz="1000" smtClean="0">
                <a:solidFill>
                  <a:schemeClr val="tx1"/>
                </a:solidFill>
                <a:latin typeface="Calibri"/>
                <a:sym typeface="Calibri"/>
              </a:rPr>
              <a:pPr algn="ctr">
                <a:spcBef>
                  <a:spcPct val="0"/>
                </a:spcBef>
                <a:spcAft>
                  <a:spcPct val="0"/>
                </a:spcAft>
              </a:pPr>
              <a:t>263</a:t>
            </a:fld>
            <a:r>
              <a:rPr lang="en-US" sz="1000" dirty="0" smtClean="0">
                <a:solidFill>
                  <a:schemeClr val="tx1"/>
                </a:solidFill>
                <a:latin typeface="Calibri"/>
                <a:sym typeface="Calibri"/>
              </a:rPr>
              <a:t> (</a:t>
            </a:r>
            <a:fld id="{3C4D5012-26C6-40AB-93E0-D3D27124D920}" type="datetime'''''1''''2'''''''''',''''''''1''%'''''''''''''''''''''''''''">
              <a:rPr lang="en-US" sz="1000" smtClean="0">
                <a:solidFill>
                  <a:schemeClr val="tx1"/>
                </a:solidFill>
                <a:latin typeface="Calibri"/>
                <a:sym typeface="Calibri"/>
              </a:rPr>
              <a:pPr algn="ctr">
                <a:spcBef>
                  <a:spcPct val="0"/>
                </a:spcBef>
                <a:spcAft>
                  <a:spcPct val="0"/>
                </a:spcAft>
              </a:pPr>
              <a:t>12,1%</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9" name="Rectangle 58"/>
          <p:cNvSpPr/>
          <p:nvPr>
            <p:custDataLst>
              <p:tags r:id="rId13"/>
            </p:custDataLst>
          </p:nvPr>
        </p:nvSpPr>
        <p:spPr bwMode="auto">
          <a:xfrm>
            <a:off x="2671763" y="6149975"/>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3688EDA-6618-438B-868E-3021374CA1D2}" type="datetime'''''''''K''''''la''''''''i''p''''ėdo''''''''''s'''''''">
              <a:rPr lang="en-US" sz="1200" smtClean="0">
                <a:solidFill>
                  <a:schemeClr val="tx1"/>
                </a:solidFill>
                <a:latin typeface="Calibri"/>
                <a:sym typeface="Calibri"/>
              </a:rPr>
              <a:pPr algn="ctr">
                <a:spcBef>
                  <a:spcPct val="0"/>
                </a:spcBef>
                <a:spcAft>
                  <a:spcPct val="0"/>
                </a:spcAft>
              </a:pPr>
              <a:t>Klaipėdos</a:t>
            </a:fld>
            <a:endParaRPr lang="en-US" sz="1200" dirty="0">
              <a:solidFill>
                <a:schemeClr val="tx1"/>
              </a:solidFill>
              <a:latin typeface="Calibri"/>
              <a:sym typeface="Calibri"/>
            </a:endParaRPr>
          </a:p>
        </p:txBody>
      </p:sp>
      <p:sp>
        <p:nvSpPr>
          <p:cNvPr id="71" name="Rectangle 70"/>
          <p:cNvSpPr/>
          <p:nvPr>
            <p:custDataLst>
              <p:tags r:id="rId14"/>
            </p:custDataLst>
          </p:nvPr>
        </p:nvSpPr>
        <p:spPr bwMode="gray">
          <a:xfrm>
            <a:off x="2651125" y="4632325"/>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609887-EC96-4555-BBBB-FEAFA067D028}" type="datetime'''''''''2''''''''''''6''8'''''''''''''''''''''''''''''''">
              <a:rPr lang="en-US" sz="1000" smtClean="0">
                <a:solidFill>
                  <a:schemeClr val="tx1"/>
                </a:solidFill>
                <a:latin typeface="Calibri"/>
                <a:sym typeface="Calibri"/>
              </a:rPr>
              <a:pPr algn="ctr">
                <a:spcBef>
                  <a:spcPct val="0"/>
                </a:spcBef>
                <a:spcAft>
                  <a:spcPct val="0"/>
                </a:spcAft>
              </a:pPr>
              <a:t>268</a:t>
            </a:fld>
            <a:r>
              <a:rPr lang="en-US" sz="1000" dirty="0" smtClean="0">
                <a:solidFill>
                  <a:schemeClr val="tx1"/>
                </a:solidFill>
                <a:latin typeface="Calibri"/>
                <a:sym typeface="Calibri"/>
              </a:rPr>
              <a:t> (</a:t>
            </a:r>
            <a:fld id="{1A7EA5CC-7DBE-458B-8AC9-CAFDD810BA1C}" type="datetime'1''''''''2,''''''''''''3''''''''''''''''''''''''''''''%'''''">
              <a:rPr lang="en-US" sz="1000" smtClean="0">
                <a:solidFill>
                  <a:schemeClr val="tx1"/>
                </a:solidFill>
                <a:latin typeface="Calibri"/>
                <a:sym typeface="Calibri"/>
              </a:rPr>
              <a:pPr algn="ctr">
                <a:spcBef>
                  <a:spcPct val="0"/>
                </a:spcBef>
                <a:spcAft>
                  <a:spcPct val="0"/>
                </a:spcAft>
              </a:pPr>
              <a:t>12,3%</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0" name="Rectangle 59"/>
          <p:cNvSpPr/>
          <p:nvPr>
            <p:custDataLst>
              <p:tags r:id="rId15"/>
            </p:custDataLst>
          </p:nvPr>
        </p:nvSpPr>
        <p:spPr bwMode="auto">
          <a:xfrm>
            <a:off x="1781175" y="6149975"/>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23A8929-F46C-4E2A-9E8D-2B4AF17B5C06}" type="datetime'Mari''ja''''''''m''''''''''''p''''''ol''''''''''''ė''s'''">
              <a:rPr lang="en-US" sz="1200" smtClean="0">
                <a:solidFill>
                  <a:schemeClr val="tx1"/>
                </a:solidFill>
                <a:latin typeface="Calibri"/>
                <a:sym typeface="Calibri"/>
              </a:rPr>
              <a:pPr algn="ctr">
                <a:spcBef>
                  <a:spcPct val="0"/>
                </a:spcBef>
                <a:spcAft>
                  <a:spcPct val="0"/>
                </a:spcAft>
              </a:pPr>
              <a:t>Marijampolės</a:t>
            </a:fld>
            <a:endParaRPr lang="en-US" sz="1200" dirty="0">
              <a:solidFill>
                <a:schemeClr val="tx1"/>
              </a:solidFill>
              <a:latin typeface="Calibri"/>
              <a:sym typeface="Calibri"/>
            </a:endParaRPr>
          </a:p>
        </p:txBody>
      </p:sp>
      <p:sp>
        <p:nvSpPr>
          <p:cNvPr id="70" name="Rectangle 69"/>
          <p:cNvSpPr/>
          <p:nvPr>
            <p:custDataLst>
              <p:tags r:id="rId16"/>
            </p:custDataLst>
          </p:nvPr>
        </p:nvSpPr>
        <p:spPr bwMode="gray">
          <a:xfrm>
            <a:off x="1889125" y="454660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6C422C2-C2EF-41F3-AB3A-1A4A195A33AD}" type="datetime'''''2''''''8''''''''7'''''''''''''''''''''''''''''''''">
              <a:rPr lang="en-US" sz="1000" smtClean="0">
                <a:solidFill>
                  <a:schemeClr val="tx1"/>
                </a:solidFill>
                <a:latin typeface="Calibri"/>
                <a:sym typeface="Calibri"/>
              </a:rPr>
              <a:pPr algn="ctr">
                <a:spcBef>
                  <a:spcPct val="0"/>
                </a:spcBef>
                <a:spcAft>
                  <a:spcPct val="0"/>
                </a:spcAft>
              </a:pPr>
              <a:t>287</a:t>
            </a:fld>
            <a:r>
              <a:rPr lang="en-US" sz="1000" dirty="0" smtClean="0">
                <a:solidFill>
                  <a:schemeClr val="tx1"/>
                </a:solidFill>
                <a:latin typeface="Calibri"/>
                <a:sym typeface="Calibri"/>
              </a:rPr>
              <a:t> (</a:t>
            </a:r>
            <a:fld id="{16EAC38C-6A49-4B17-AB3C-5DBF6B1CD7D7}" type="datetime'''''''1''''''''3,''''''''''''2''''%'''''''''">
              <a:rPr lang="en-US" sz="1000" smtClean="0">
                <a:solidFill>
                  <a:schemeClr val="tx1"/>
                </a:solidFill>
                <a:latin typeface="Calibri"/>
                <a:sym typeface="Calibri"/>
              </a:rPr>
              <a:pPr algn="ctr">
                <a:spcBef>
                  <a:spcPct val="0"/>
                </a:spcBef>
                <a:spcAft>
                  <a:spcPct val="0"/>
                </a:spcAft>
              </a:pPr>
              <a:t>13,2%</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8" name="Rectangle 57"/>
          <p:cNvSpPr/>
          <p:nvPr>
            <p:custDataLst>
              <p:tags r:id="rId17"/>
            </p:custDataLst>
          </p:nvPr>
        </p:nvSpPr>
        <p:spPr bwMode="auto">
          <a:xfrm>
            <a:off x="1247775" y="6149975"/>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06B896B-9CD1-49D3-AA04-74B21EE35ADD}" type="datetime'''''''''''''''''''Ši''''''''''''''''''''a''u''''l''''''''ių'">
              <a:rPr lang="en-US" sz="1200" smtClean="0">
                <a:solidFill>
                  <a:schemeClr val="tx1"/>
                </a:solidFill>
                <a:latin typeface="Calibri"/>
                <a:sym typeface="Calibri"/>
              </a:rPr>
              <a:pPr algn="ctr">
                <a:spcBef>
                  <a:spcPct val="0"/>
                </a:spcBef>
                <a:spcAft>
                  <a:spcPct val="0"/>
                </a:spcAft>
              </a:pPr>
              <a:t>Šiaulių</a:t>
            </a:fld>
            <a:endParaRPr lang="en-US" sz="1200" dirty="0">
              <a:solidFill>
                <a:schemeClr val="tx1"/>
              </a:solidFill>
              <a:latin typeface="Calibri"/>
              <a:sym typeface="Calibri"/>
            </a:endParaRPr>
          </a:p>
        </p:txBody>
      </p:sp>
      <p:sp>
        <p:nvSpPr>
          <p:cNvPr id="69" name="Rectangle 68"/>
          <p:cNvSpPr/>
          <p:nvPr>
            <p:custDataLst>
              <p:tags r:id="rId18"/>
            </p:custDataLst>
          </p:nvPr>
        </p:nvSpPr>
        <p:spPr bwMode="gray">
          <a:xfrm>
            <a:off x="1131888" y="427990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040F1CC-A7FD-4F32-9D6A-730507C72A6B}" type="datetime'''''''''''3''''''''''''''''''''''''''''''''46'''''">
              <a:rPr lang="en-US" sz="1000" smtClean="0">
                <a:solidFill>
                  <a:schemeClr val="tx1"/>
                </a:solidFill>
                <a:latin typeface="Calibri"/>
                <a:sym typeface="Calibri"/>
              </a:rPr>
              <a:pPr algn="ctr">
                <a:spcBef>
                  <a:spcPct val="0"/>
                </a:spcBef>
                <a:spcAft>
                  <a:spcPct val="0"/>
                </a:spcAft>
              </a:pPr>
              <a:t>346</a:t>
            </a:fld>
            <a:r>
              <a:rPr lang="en-US" sz="1000" dirty="0" smtClean="0">
                <a:solidFill>
                  <a:schemeClr val="tx1"/>
                </a:solidFill>
                <a:latin typeface="Calibri"/>
                <a:sym typeface="Calibri"/>
              </a:rPr>
              <a:t> (</a:t>
            </a:r>
            <a:fld id="{B3875AF3-7822-4828-9B32-A2D53CF6ABC0}" type="datetime'''''''''''''''1''''''''''''5,''''''''''''''''''9''''%'''''''">
              <a:rPr lang="en-US" sz="1000" smtClean="0">
                <a:solidFill>
                  <a:schemeClr val="tx1"/>
                </a:solidFill>
                <a:latin typeface="Calibri"/>
                <a:sym typeface="Calibri"/>
              </a:rPr>
              <a:pPr algn="ctr">
                <a:spcBef>
                  <a:spcPct val="0"/>
                </a:spcBef>
                <a:spcAft>
                  <a:spcPct val="0"/>
                </a:spcAft>
              </a:pPr>
              <a:t>15,9%</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7" name="Rectangle 56"/>
          <p:cNvSpPr/>
          <p:nvPr>
            <p:custDataLst>
              <p:tags r:id="rId19"/>
            </p:custDataLst>
          </p:nvPr>
        </p:nvSpPr>
        <p:spPr bwMode="auto">
          <a:xfrm>
            <a:off x="498475" y="6149975"/>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72F0D91-87DF-4205-8760-5857BE8BE7B1}" type="datetime'''''''''''''''''''K''''''''''a''''''''''''u''''''''no'''''''">
              <a:rPr lang="en-US" sz="1200" smtClean="0">
                <a:solidFill>
                  <a:schemeClr val="tx1"/>
                </a:solidFill>
                <a:latin typeface="Calibri"/>
                <a:sym typeface="Calibri"/>
              </a:rPr>
              <a:pPr algn="ctr">
                <a:spcBef>
                  <a:spcPct val="0"/>
                </a:spcBef>
                <a:spcAft>
                  <a:spcPct val="0"/>
                </a:spcAft>
              </a:pPr>
              <a:t>Kauno</a:t>
            </a:fld>
            <a:endParaRPr lang="en-US" sz="1200" dirty="0">
              <a:solidFill>
                <a:schemeClr val="tx1"/>
              </a:solidFill>
              <a:latin typeface="Calibri"/>
              <a:sym typeface="Calibri"/>
            </a:endParaRPr>
          </a:p>
        </p:txBody>
      </p:sp>
      <p:sp>
        <p:nvSpPr>
          <p:cNvPr id="68" name="Rectangle 67"/>
          <p:cNvSpPr/>
          <p:nvPr>
            <p:custDataLst>
              <p:tags r:id="rId20"/>
            </p:custDataLst>
          </p:nvPr>
        </p:nvSpPr>
        <p:spPr bwMode="gray">
          <a:xfrm>
            <a:off x="374650" y="349885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E09A246-C72D-45BF-9612-03BFE6F8FE9C}" type="datetime'''''''''''5''''''''''''''''''''''''''2''''''''''''1'">
              <a:rPr lang="en-US" sz="1000" smtClean="0">
                <a:solidFill>
                  <a:schemeClr val="tx1"/>
                </a:solidFill>
                <a:latin typeface="Calibri"/>
                <a:sym typeface="Calibri"/>
              </a:rPr>
              <a:pPr algn="ctr">
                <a:spcBef>
                  <a:spcPct val="0"/>
                </a:spcBef>
                <a:spcAft>
                  <a:spcPct val="0"/>
                </a:spcAft>
              </a:pPr>
              <a:t>521</a:t>
            </a:fld>
            <a:r>
              <a:rPr lang="en-US" sz="1000" dirty="0" smtClean="0">
                <a:solidFill>
                  <a:schemeClr val="tx1"/>
                </a:solidFill>
                <a:latin typeface="Calibri"/>
                <a:sym typeface="Calibri"/>
              </a:rPr>
              <a:t> (</a:t>
            </a:r>
            <a:fld id="{7A8037BB-BB42-45D5-BDBA-459FA11D89EB}" type="datetime'''''''''''''''23,9''''''%'''''''''''''''''''''''''''">
              <a:rPr lang="en-US" sz="1000" smtClean="0">
                <a:solidFill>
                  <a:schemeClr val="tx1"/>
                </a:solidFill>
                <a:latin typeface="Calibri"/>
                <a:sym typeface="Calibri"/>
              </a:rPr>
              <a:pPr algn="ctr">
                <a:spcBef>
                  <a:spcPct val="0"/>
                </a:spcBef>
                <a:spcAft>
                  <a:spcPct val="0"/>
                </a:spcAft>
              </a:pPr>
              <a:t>23,9%</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7" name="Rectangle 66"/>
          <p:cNvSpPr/>
          <p:nvPr>
            <p:custDataLst>
              <p:tags r:id="rId21"/>
            </p:custDataLst>
          </p:nvPr>
        </p:nvSpPr>
        <p:spPr bwMode="auto">
          <a:xfrm>
            <a:off x="8177213" y="6149975"/>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lt-LT" sz="1200" dirty="0" smtClean="0">
                <a:solidFill>
                  <a:schemeClr val="tx1"/>
                </a:solidFill>
                <a:latin typeface="Calibri"/>
                <a:sym typeface="Calibri"/>
              </a:rPr>
              <a:t>NN</a:t>
            </a:r>
            <a:endParaRPr lang="en-US" sz="1200" dirty="0">
              <a:solidFill>
                <a:schemeClr val="tx1"/>
              </a:solidFill>
              <a:latin typeface="Calibri"/>
              <a:sym typeface="Calibri"/>
            </a:endParaRPr>
          </a:p>
        </p:txBody>
      </p:sp>
      <p:sp>
        <p:nvSpPr>
          <p:cNvPr id="78" name="Rectangle 77"/>
          <p:cNvSpPr/>
          <p:nvPr>
            <p:custDataLst>
              <p:tags r:id="rId22"/>
            </p:custDataLst>
          </p:nvPr>
        </p:nvSpPr>
        <p:spPr bwMode="gray">
          <a:xfrm>
            <a:off x="8053388" y="5813425"/>
            <a:ext cx="457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E54D434-FF27-47A0-A5E4-3772A6175830}" type="datetime'''''''''''''''''''''''5'''''''''''''''''''''''">
              <a:rPr lang="en-US" sz="1000" smtClean="0">
                <a:solidFill>
                  <a:schemeClr val="tx1"/>
                </a:solidFill>
                <a:latin typeface="Calibri"/>
                <a:sym typeface="Calibri"/>
              </a:rPr>
              <a:pPr algn="ctr">
                <a:spcBef>
                  <a:spcPct val="0"/>
                </a:spcBef>
                <a:spcAft>
                  <a:spcPct val="0"/>
                </a:spcAft>
              </a:pPr>
              <a:t>5</a:t>
            </a:fld>
            <a:r>
              <a:rPr lang="en-US" sz="1000" dirty="0" smtClean="0">
                <a:solidFill>
                  <a:schemeClr val="tx1"/>
                </a:solidFill>
                <a:latin typeface="Calibri"/>
                <a:sym typeface="Calibri"/>
              </a:rPr>
              <a:t> (</a:t>
            </a:r>
            <a:fld id="{66BBF72F-8452-4E4A-A745-F7F09853E6C9}" type="datetime'''''''''''''0'''',''''''''''''''''''2''%'''''">
              <a:rPr lang="en-US" sz="1000" smtClean="0">
                <a:solidFill>
                  <a:schemeClr val="tx1"/>
                </a:solidFill>
                <a:latin typeface="Calibri"/>
                <a:sym typeface="Calibri"/>
              </a:rPr>
              <a:pPr algn="ctr">
                <a:spcBef>
                  <a:spcPct val="0"/>
                </a:spcBef>
                <a:spcAft>
                  <a:spcPct val="0"/>
                </a:spcAft>
              </a:pPr>
              <a:t>0,2%</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6" name="Rectangle 65"/>
          <p:cNvSpPr/>
          <p:nvPr>
            <p:custDataLst>
              <p:tags r:id="rId23"/>
            </p:custDataLst>
          </p:nvPr>
        </p:nvSpPr>
        <p:spPr bwMode="auto">
          <a:xfrm>
            <a:off x="7296150" y="6149975"/>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67F3A4-274F-49ED-8C6B-A7A6DD87960D}" type="datetime'''''''''''U''''t''''''''''''''''e''n''''''''''o''s'''''">
              <a:rPr lang="en-US" sz="1200" smtClean="0">
                <a:solidFill>
                  <a:schemeClr val="tx1"/>
                </a:solidFill>
                <a:latin typeface="Calibri"/>
                <a:sym typeface="Calibri"/>
              </a:rPr>
              <a:pPr algn="ctr">
                <a:spcBef>
                  <a:spcPct val="0"/>
                </a:spcBef>
                <a:spcAft>
                  <a:spcPct val="0"/>
                </a:spcAft>
              </a:pPr>
              <a:t>Utenos</a:t>
            </a:fld>
            <a:endParaRPr lang="en-US" sz="1200" dirty="0">
              <a:solidFill>
                <a:schemeClr val="tx1"/>
              </a:solidFill>
              <a:latin typeface="Calibri"/>
              <a:sym typeface="Calibri"/>
            </a:endParaRPr>
          </a:p>
        </p:txBody>
      </p:sp>
      <p:sp>
        <p:nvSpPr>
          <p:cNvPr id="77" name="Rectangle 76"/>
          <p:cNvSpPr/>
          <p:nvPr>
            <p:custDataLst>
              <p:tags r:id="rId24"/>
            </p:custDataLst>
          </p:nvPr>
        </p:nvSpPr>
        <p:spPr bwMode="gray">
          <a:xfrm>
            <a:off x="7264400" y="5603875"/>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FF98382-5E84-4B08-9EA1-F2266CEA6061}" type="datetime'''''''''''''''''''''''''''''5''''''''1'''''''''''">
              <a:rPr lang="en-US" sz="1000" smtClean="0">
                <a:solidFill>
                  <a:schemeClr val="tx1"/>
                </a:solidFill>
                <a:latin typeface="Calibri"/>
                <a:sym typeface="Calibri"/>
              </a:rPr>
              <a:pPr algn="ctr">
                <a:spcBef>
                  <a:spcPct val="0"/>
                </a:spcBef>
                <a:spcAft>
                  <a:spcPct val="0"/>
                </a:spcAft>
              </a:pPr>
              <a:t>51</a:t>
            </a:fld>
            <a:r>
              <a:rPr lang="en-US" sz="1000" dirty="0" smtClean="0">
                <a:solidFill>
                  <a:schemeClr val="tx1"/>
                </a:solidFill>
                <a:latin typeface="Calibri"/>
                <a:sym typeface="Calibri"/>
              </a:rPr>
              <a:t> (</a:t>
            </a:r>
            <a:fld id="{BB1AF19D-D830-4E7A-A5CC-61D58E328DBA}" type="datetime'''''''''2'''''''''''''''''',''''3''''''''''''''''''''''%'''''">
              <a:rPr lang="en-US" sz="1000" smtClean="0">
                <a:solidFill>
                  <a:schemeClr val="tx1"/>
                </a:solidFill>
                <a:latin typeface="Calibri"/>
                <a:sym typeface="Calibri"/>
              </a:rPr>
              <a:pPr algn="ctr">
                <a:spcBef>
                  <a:spcPct val="0"/>
                </a:spcBef>
                <a:spcAft>
                  <a:spcPct val="0"/>
                </a:spcAft>
              </a:pPr>
              <a:t>2,3%</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5" name="Rectangle 64"/>
          <p:cNvSpPr/>
          <p:nvPr>
            <p:custDataLst>
              <p:tags r:id="rId25"/>
            </p:custDataLst>
          </p:nvPr>
        </p:nvSpPr>
        <p:spPr bwMode="auto">
          <a:xfrm>
            <a:off x="6481763" y="6149975"/>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A152A73-C68A-46C2-BB5F-392CE8779E08}" type="datetime'''T''''''''''a''''u''''''r''a''g''''ė''''s'''''">
              <a:rPr lang="en-US" sz="1200" smtClean="0">
                <a:solidFill>
                  <a:schemeClr val="tx1"/>
                </a:solidFill>
                <a:latin typeface="Calibri"/>
                <a:sym typeface="Calibri"/>
              </a:rPr>
              <a:pPr algn="ctr">
                <a:spcBef>
                  <a:spcPct val="0"/>
                </a:spcBef>
                <a:spcAft>
                  <a:spcPct val="0"/>
                </a:spcAft>
              </a:pPr>
              <a:t>Tauragės</a:t>
            </a:fld>
            <a:endParaRPr lang="en-US" sz="1200" dirty="0">
              <a:solidFill>
                <a:schemeClr val="tx1"/>
              </a:solidFill>
              <a:latin typeface="Calibri"/>
              <a:sym typeface="Calibri"/>
            </a:endParaRPr>
          </a:p>
        </p:txBody>
      </p:sp>
      <p:sp>
        <p:nvSpPr>
          <p:cNvPr id="76" name="Rectangle 75"/>
          <p:cNvSpPr/>
          <p:nvPr>
            <p:custDataLst>
              <p:tags r:id="rId26"/>
            </p:custDataLst>
          </p:nvPr>
        </p:nvSpPr>
        <p:spPr bwMode="gray">
          <a:xfrm>
            <a:off x="6507163" y="5480050"/>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40E1B75-E641-4A63-8146-59A17FC84278}" type="datetime'''''''''''''''7''''''''''''''''''''''''''9'''''''''">
              <a:rPr lang="en-US" sz="1000" smtClean="0">
                <a:solidFill>
                  <a:schemeClr val="tx1"/>
                </a:solidFill>
                <a:latin typeface="Calibri"/>
                <a:sym typeface="Calibri"/>
              </a:rPr>
              <a:pPr algn="ctr">
                <a:spcBef>
                  <a:spcPct val="0"/>
                </a:spcBef>
                <a:spcAft>
                  <a:spcPct val="0"/>
                </a:spcAft>
              </a:pPr>
              <a:t>79</a:t>
            </a:fld>
            <a:r>
              <a:rPr lang="en-US" sz="1000" dirty="0" smtClean="0">
                <a:solidFill>
                  <a:schemeClr val="tx1"/>
                </a:solidFill>
                <a:latin typeface="Calibri"/>
                <a:sym typeface="Calibri"/>
              </a:rPr>
              <a:t> (</a:t>
            </a:r>
            <a:fld id="{69C615FB-0FAF-4FF8-8E88-1A9ABF7A013F}" type="datetime'''''3'''',''''''''''6''''''''''''''''%'''''''">
              <a:rPr lang="en-US" sz="1000" smtClean="0">
                <a:solidFill>
                  <a:schemeClr val="tx1"/>
                </a:solidFill>
                <a:latin typeface="Calibri"/>
                <a:sym typeface="Calibri"/>
              </a:rPr>
              <a:pPr algn="ctr">
                <a:spcBef>
                  <a:spcPct val="0"/>
                </a:spcBef>
                <a:spcAft>
                  <a:spcPct val="0"/>
                </a:spcAft>
              </a:pPr>
              <a:t>3,6%</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83" name="Rectangle 82"/>
          <p:cNvSpPr/>
          <p:nvPr/>
        </p:nvSpPr>
        <p:spPr>
          <a:xfrm>
            <a:off x="6995505" y="6081684"/>
            <a:ext cx="2148495" cy="261610"/>
          </a:xfrm>
          <a:prstGeom prst="rect">
            <a:avLst/>
          </a:prstGeom>
        </p:spPr>
        <p:txBody>
          <a:bodyPr wrap="square">
            <a:spAutoFit/>
          </a:bodyPr>
          <a:lstStyle/>
          <a:p>
            <a:r>
              <a:rPr lang="lt-LT" sz="1100" dirty="0" smtClean="0">
                <a:solidFill>
                  <a:schemeClr val="bg1">
                    <a:lumMod val="50000"/>
                  </a:schemeClr>
                </a:solidFill>
                <a:cs typeface="Cambria"/>
              </a:rPr>
              <a:t>NN – nėra galimybės nustatyti</a:t>
            </a:r>
            <a:endParaRPr lang="en-US" sz="1100" dirty="0">
              <a:solidFill>
                <a:schemeClr val="bg1">
                  <a:lumMod val="50000"/>
                </a:schemeClr>
              </a:solidFill>
            </a:endParaRPr>
          </a:p>
        </p:txBody>
      </p:sp>
      <p:grpSp>
        <p:nvGrpSpPr>
          <p:cNvPr id="84" name="Group 83"/>
          <p:cNvGrpSpPr/>
          <p:nvPr/>
        </p:nvGrpSpPr>
        <p:grpSpPr>
          <a:xfrm>
            <a:off x="195263" y="944724"/>
            <a:ext cx="8803052" cy="5400599"/>
            <a:chOff x="264724" y="1016732"/>
            <a:chExt cx="8699764" cy="5230080"/>
          </a:xfrm>
        </p:grpSpPr>
        <p:sp>
          <p:nvSpPr>
            <p:cNvPr id="85" name="Rectangle 84"/>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6" name="Rectangle 85"/>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Įvykdytų projektų skaičius pagal regioną, vnt. </a:t>
              </a:r>
              <a:endParaRPr lang="lt-LT" sz="1200" dirty="0">
                <a:solidFill>
                  <a:schemeClr val="bg1"/>
                </a:solidFill>
                <a:cs typeface="Cambria"/>
              </a:endParaRPr>
            </a:p>
          </p:txBody>
        </p:sp>
      </p:grpSp>
      <p:grpSp>
        <p:nvGrpSpPr>
          <p:cNvPr id="16" name="Group 15"/>
          <p:cNvGrpSpPr/>
          <p:nvPr/>
        </p:nvGrpSpPr>
        <p:grpSpPr>
          <a:xfrm>
            <a:off x="3831318" y="1044333"/>
            <a:ext cx="5166997" cy="4114899"/>
            <a:chOff x="1204509" y="1069816"/>
            <a:chExt cx="6762750"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89AAD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9AAD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1270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12700">
              <a:noFill/>
            </a:ln>
          </p:spPr>
          <p:txBody>
            <a:bodyPr wrap="square" rtlCol="0">
              <a:spAutoFit/>
            </a:bodyPr>
            <a:lstStyle/>
            <a:p>
              <a:r>
                <a:rPr lang="lt-LT" sz="1200" b="1" dirty="0" smtClean="0"/>
                <a:t>Panevėžio regionas</a:t>
              </a:r>
            </a:p>
          </p:txBody>
        </p:sp>
        <p:sp>
          <p:nvSpPr>
            <p:cNvPr id="18" name="TextBox 17"/>
            <p:cNvSpPr txBox="1"/>
            <p:nvPr/>
          </p:nvSpPr>
          <p:spPr>
            <a:xfrm>
              <a:off x="5523466" y="4446879"/>
              <a:ext cx="1206778" cy="461665"/>
            </a:xfrm>
            <a:prstGeom prst="rect">
              <a:avLst/>
            </a:prstGeom>
            <a:noFill/>
            <a:ln w="1270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12700">
              <a:noFill/>
            </a:ln>
          </p:spPr>
          <p:txBody>
            <a:bodyPr wrap="square" rtlCol="0">
              <a:spAutoFit/>
            </a:bodyPr>
            <a:lstStyle/>
            <a:p>
              <a:r>
                <a:rPr lang="lt-LT" sz="1200" b="1" dirty="0" smtClean="0"/>
                <a:t>Alytaus regionas</a:t>
              </a:r>
            </a:p>
          </p:txBody>
        </p:sp>
        <p:sp>
          <p:nvSpPr>
            <p:cNvPr id="20" name="TextBox 19"/>
            <p:cNvSpPr txBox="1"/>
            <p:nvPr/>
          </p:nvSpPr>
          <p:spPr>
            <a:xfrm>
              <a:off x="4250643" y="3757602"/>
              <a:ext cx="1206778" cy="578848"/>
            </a:xfrm>
            <a:prstGeom prst="rect">
              <a:avLst/>
            </a:prstGeom>
            <a:noFill/>
            <a:ln w="1270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5" y="4514802"/>
              <a:ext cx="1375979" cy="525932"/>
            </a:xfrm>
            <a:prstGeom prst="rect">
              <a:avLst/>
            </a:prstGeom>
            <a:noFill/>
            <a:ln w="12700">
              <a:noFill/>
            </a:ln>
          </p:spPr>
          <p:txBody>
            <a:bodyPr wrap="square" rtlCol="0">
              <a:spAutoFit/>
            </a:bodyPr>
            <a:lstStyle/>
            <a:p>
              <a:r>
                <a:rPr lang="lt-LT" sz="1200" b="1" dirty="0" smtClean="0"/>
                <a:t>Marijampolės regionas</a:t>
              </a:r>
            </a:p>
          </p:txBody>
        </p:sp>
        <p:sp>
          <p:nvSpPr>
            <p:cNvPr id="22" name="TextBox 21"/>
            <p:cNvSpPr txBox="1"/>
            <p:nvPr/>
          </p:nvSpPr>
          <p:spPr>
            <a:xfrm>
              <a:off x="1488254" y="2744679"/>
              <a:ext cx="1206778" cy="461665"/>
            </a:xfrm>
            <a:prstGeom prst="rect">
              <a:avLst/>
            </a:prstGeom>
            <a:noFill/>
            <a:ln w="12700">
              <a:noFill/>
            </a:ln>
          </p:spPr>
          <p:txBody>
            <a:bodyPr wrap="square" rtlCol="0">
              <a:spAutoFit/>
            </a:bodyPr>
            <a:lstStyle/>
            <a:p>
              <a:r>
                <a:rPr lang="lt-LT" sz="1200" b="1" dirty="0" smtClean="0"/>
                <a:t>Klaipėdos regionas</a:t>
              </a:r>
            </a:p>
          </p:txBody>
        </p:sp>
        <p:sp>
          <p:nvSpPr>
            <p:cNvPr id="23" name="TextBox 22"/>
            <p:cNvSpPr txBox="1"/>
            <p:nvPr/>
          </p:nvSpPr>
          <p:spPr>
            <a:xfrm>
              <a:off x="2042264" y="1855649"/>
              <a:ext cx="1128014" cy="276999"/>
            </a:xfrm>
            <a:prstGeom prst="rect">
              <a:avLst/>
            </a:prstGeom>
            <a:noFill/>
            <a:ln w="12700">
              <a:noFill/>
            </a:ln>
          </p:spPr>
          <p:txBody>
            <a:bodyPr wrap="square" rtlCol="0">
              <a:spAutoFit/>
            </a:bodyPr>
            <a:lstStyle/>
            <a:p>
              <a:r>
                <a:rPr lang="lt-LT" sz="1200" b="1" dirty="0" smtClean="0"/>
                <a:t>Telšių regionas</a:t>
              </a:r>
            </a:p>
          </p:txBody>
        </p:sp>
        <p:sp>
          <p:nvSpPr>
            <p:cNvPr id="24" name="TextBox 23"/>
            <p:cNvSpPr txBox="1"/>
            <p:nvPr/>
          </p:nvSpPr>
          <p:spPr>
            <a:xfrm>
              <a:off x="2376164" y="3207817"/>
              <a:ext cx="1483911" cy="276999"/>
            </a:xfrm>
            <a:prstGeom prst="rect">
              <a:avLst/>
            </a:prstGeom>
            <a:noFill/>
            <a:ln w="1270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12700">
              <a:noFill/>
            </a:ln>
          </p:spPr>
          <p:txBody>
            <a:bodyPr wrap="square" rtlCol="0">
              <a:spAutoFit/>
            </a:bodyPr>
            <a:lstStyle/>
            <a:p>
              <a:r>
                <a:rPr lang="lt-LT" sz="1200" b="1" dirty="0" smtClean="0"/>
                <a:t>Utenos regionas</a:t>
              </a:r>
            </a:p>
          </p:txBody>
        </p:sp>
      </p:grpSp>
      <p:sp>
        <p:nvSpPr>
          <p:cNvPr id="55" name="Rectangle 54"/>
          <p:cNvSpPr/>
          <p:nvPr/>
        </p:nvSpPr>
        <p:spPr>
          <a:xfrm>
            <a:off x="314711" y="1454252"/>
            <a:ext cx="3559944"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įvykdytų projektų skaičius yra Kauno regione jis sudaro 24 proc. visų įvykdytų projektų;</a:t>
            </a:r>
          </a:p>
          <a:p>
            <a:pPr marL="279450" indent="-171450" algn="just">
              <a:buFont typeface="Arial" panose="020B0604020202020204" pitchFamily="34" charset="0"/>
              <a:buChar char="•"/>
            </a:pPr>
            <a:r>
              <a:rPr lang="lt-LT" sz="1200" dirty="0">
                <a:solidFill>
                  <a:prstClr val="black"/>
                </a:solidFill>
              </a:rPr>
              <a:t>Didesniu įvykdytų projektų skaičiumi </a:t>
            </a:r>
            <a:r>
              <a:rPr lang="lt-LT" sz="1200" dirty="0" smtClean="0">
                <a:solidFill>
                  <a:prstClr val="black"/>
                </a:solidFill>
              </a:rPr>
              <a:t>taip pat išsiskiria Šiaulių regionas. Šiame regione </a:t>
            </a:r>
            <a:r>
              <a:rPr lang="lt-LT" sz="1200" dirty="0">
                <a:solidFill>
                  <a:prstClr val="black"/>
                </a:solidFill>
              </a:rPr>
              <a:t>įvykdytų projektų </a:t>
            </a:r>
            <a:r>
              <a:rPr lang="lt-LT" sz="1200" dirty="0" smtClean="0">
                <a:solidFill>
                  <a:prstClr val="black"/>
                </a:solidFill>
              </a:rPr>
              <a:t>dalis sudaro 16 proc</a:t>
            </a:r>
            <a:r>
              <a:rPr lang="lt-LT" sz="1200" dirty="0">
                <a:solidFill>
                  <a:prstClr val="black"/>
                </a:solidFill>
              </a:rPr>
              <a:t>. visų įvykdytų </a:t>
            </a:r>
            <a:r>
              <a:rPr lang="lt-LT" sz="1200" dirty="0" smtClean="0">
                <a:solidFill>
                  <a:prstClr val="black"/>
                </a:solidFill>
              </a:rPr>
              <a:t>projektų;</a:t>
            </a:r>
          </a:p>
          <a:p>
            <a:pPr marL="279450" indent="-171450" algn="just">
              <a:buFont typeface="Arial" panose="020B0604020202020204" pitchFamily="34" charset="0"/>
              <a:buChar char="•"/>
            </a:pPr>
            <a:r>
              <a:rPr lang="lt-LT" sz="1200" dirty="0">
                <a:solidFill>
                  <a:prstClr val="black"/>
                </a:solidFill>
              </a:rPr>
              <a:t>Mažiausias įvykdytų projektų skaičius </a:t>
            </a:r>
            <a:r>
              <a:rPr lang="lt-LT" sz="1200" dirty="0" smtClean="0">
                <a:solidFill>
                  <a:prstClr val="black"/>
                </a:solidFill>
              </a:rPr>
              <a:t>yra Utenos, Tauragės ir Telšių regionuose, kuriuose taip pat yra mažiausiai užregistruotų mokyklų ir užsiregistravusių aktyvių mokytojų.</a:t>
            </a:r>
          </a:p>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6167709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00346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7" name="think-cell Slide" r:id="rId91" imgW="270" imgH="270" progId="TCLayout.ActiveDocument.1">
                  <p:embed/>
                </p:oleObj>
              </mc:Choice>
              <mc:Fallback>
                <p:oleObj name="think-cell Slide" r:id="rId91" imgW="270" imgH="270" progId="TCLayout.ActiveDocument.1">
                  <p:embed/>
                  <p:pic>
                    <p:nvPicPr>
                      <p:cNvPr id="0" name=""/>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358466" y="414681"/>
            <a:ext cx="8528942" cy="487362"/>
          </a:xfrm>
        </p:spPr>
        <p:txBody>
          <a:bodyPr>
            <a:noAutofit/>
          </a:bodyPr>
          <a:lstStyle/>
          <a:p>
            <a:pPr lvl="0"/>
            <a:r>
              <a:rPr lang="lt-LT" sz="2000" b="1" dirty="0" smtClean="0">
                <a:solidFill>
                  <a:schemeClr val="tx2">
                    <a:lumMod val="75000"/>
                  </a:schemeClr>
                </a:solidFill>
              </a:rPr>
              <a:t>Didžiąją dalį užregistruotų įstaigų visuose regionuose sudaro bendrojo ugdymo mokyklos (78 proc.)</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2728717281"/>
              </p:ext>
            </p:extLst>
          </p:nvPr>
        </p:nvGraphicFramePr>
        <p:xfrm>
          <a:off x="800100" y="1371601"/>
          <a:ext cx="4019420" cy="5067193"/>
        </p:xfrm>
        <a:graphic>
          <a:graphicData uri="http://schemas.openxmlformats.org/presentationml/2006/ole">
            <mc:AlternateContent xmlns:mc="http://schemas.openxmlformats.org/markup-compatibility/2006">
              <mc:Choice xmlns:v="urn:schemas-microsoft-com:vml" Requires="v">
                <p:oleObj spid="_x0000_s13348" name="Chart" r:id="rId93" imgW="4019499" imgH="5067313" progId="MSGraph.Chart.8">
                  <p:embed followColorScheme="full"/>
                </p:oleObj>
              </mc:Choice>
              <mc:Fallback>
                <p:oleObj name="Chart" r:id="rId93" imgW="4019499" imgH="5067313" progId="MSGraph.Chart.8">
                  <p:embed followColorScheme="full"/>
                  <p:pic>
                    <p:nvPicPr>
                      <p:cNvPr id="0" name=""/>
                      <p:cNvPicPr/>
                      <p:nvPr/>
                    </p:nvPicPr>
                    <p:blipFill>
                      <a:blip r:embed="rId94"/>
                      <a:stretch>
                        <a:fillRect/>
                      </a:stretch>
                    </p:blipFill>
                    <p:spPr>
                      <a:xfrm>
                        <a:off x="800100" y="1371601"/>
                        <a:ext cx="4019420" cy="5067193"/>
                      </a:xfrm>
                      <a:prstGeom prst="rect">
                        <a:avLst/>
                      </a:prstGeom>
                    </p:spPr>
                  </p:pic>
                </p:oleObj>
              </mc:Fallback>
            </mc:AlternateContent>
          </a:graphicData>
        </a:graphic>
      </p:graphicFrame>
      <p:cxnSp>
        <p:nvCxnSpPr>
          <p:cNvPr id="703" name="Straight Connector 702"/>
          <p:cNvCxnSpPr/>
          <p:nvPr>
            <p:custDataLst>
              <p:tags r:id="rId5"/>
            </p:custDataLst>
          </p:nvPr>
        </p:nvCxnSpPr>
        <p:spPr bwMode="auto">
          <a:xfrm flipV="1">
            <a:off x="1928813" y="473710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7" name="Straight Connector 686"/>
          <p:cNvCxnSpPr/>
          <p:nvPr>
            <p:custDataLst>
              <p:tags r:id="rId6"/>
            </p:custDataLst>
          </p:nvPr>
        </p:nvCxnSpPr>
        <p:spPr bwMode="auto">
          <a:xfrm flipV="1">
            <a:off x="1781175" y="570865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7"/>
            </p:custDataLst>
          </p:nvPr>
        </p:nvCxnSpPr>
        <p:spPr bwMode="auto">
          <a:xfrm flipH="1" flipV="1">
            <a:off x="1843088" y="570865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8" name="Straight Connector 677"/>
          <p:cNvCxnSpPr/>
          <p:nvPr>
            <p:custDataLst>
              <p:tags r:id="rId8"/>
            </p:custDataLst>
          </p:nvPr>
        </p:nvCxnSpPr>
        <p:spPr bwMode="auto">
          <a:xfrm flipH="1" flipV="1">
            <a:off x="2033588" y="4737100"/>
            <a:ext cx="39688"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0" name="Straight Connector 679"/>
          <p:cNvCxnSpPr/>
          <p:nvPr>
            <p:custDataLst>
              <p:tags r:id="rId9"/>
            </p:custDataLst>
          </p:nvPr>
        </p:nvCxnSpPr>
        <p:spPr bwMode="auto">
          <a:xfrm flipV="1">
            <a:off x="1495425" y="619442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9" name="Straight Connector 678"/>
          <p:cNvCxnSpPr/>
          <p:nvPr>
            <p:custDataLst>
              <p:tags r:id="rId10"/>
            </p:custDataLst>
          </p:nvPr>
        </p:nvCxnSpPr>
        <p:spPr bwMode="auto">
          <a:xfrm flipV="1">
            <a:off x="1785938" y="522287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6" name="Straight Connector 675"/>
          <p:cNvCxnSpPr/>
          <p:nvPr>
            <p:custDataLst>
              <p:tags r:id="rId11"/>
            </p:custDataLst>
          </p:nvPr>
        </p:nvCxnSpPr>
        <p:spPr bwMode="auto">
          <a:xfrm flipH="1" flipV="1">
            <a:off x="4348163" y="1831975"/>
            <a:ext cx="4921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8" name="Straight Connector 697"/>
          <p:cNvCxnSpPr/>
          <p:nvPr>
            <p:custDataLst>
              <p:tags r:id="rId12"/>
            </p:custDataLst>
          </p:nvPr>
        </p:nvCxnSpPr>
        <p:spPr bwMode="auto">
          <a:xfrm flipV="1">
            <a:off x="2800350" y="3289300"/>
            <a:ext cx="2857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0" name="Straight Connector 699"/>
          <p:cNvCxnSpPr/>
          <p:nvPr>
            <p:custDataLst>
              <p:tags r:id="rId13"/>
            </p:custDataLst>
          </p:nvPr>
        </p:nvCxnSpPr>
        <p:spPr bwMode="auto">
          <a:xfrm flipH="1" flipV="1">
            <a:off x="2933700" y="3289300"/>
            <a:ext cx="1111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2" name="Straight Connector 701"/>
          <p:cNvCxnSpPr/>
          <p:nvPr>
            <p:custDataLst>
              <p:tags r:id="rId14"/>
            </p:custDataLst>
          </p:nvPr>
        </p:nvCxnSpPr>
        <p:spPr bwMode="auto">
          <a:xfrm flipV="1">
            <a:off x="2290763" y="377507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custDataLst>
              <p:tags r:id="rId15"/>
            </p:custDataLst>
          </p:nvPr>
        </p:nvCxnSpPr>
        <p:spPr bwMode="auto">
          <a:xfrm flipV="1">
            <a:off x="2058988" y="4252913"/>
            <a:ext cx="60325"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p:nvPr>
            <p:custDataLst>
              <p:tags r:id="rId16"/>
            </p:custDataLst>
          </p:nvPr>
        </p:nvCxnSpPr>
        <p:spPr bwMode="auto">
          <a:xfrm flipV="1">
            <a:off x="3603625" y="2803525"/>
            <a:ext cx="20638"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2" name="Straight Connector 681"/>
          <p:cNvCxnSpPr/>
          <p:nvPr>
            <p:custDataLst>
              <p:tags r:id="rId17"/>
            </p:custDataLst>
          </p:nvPr>
        </p:nvCxnSpPr>
        <p:spPr bwMode="auto">
          <a:xfrm flipH="1" flipV="1">
            <a:off x="2143125" y="4252913"/>
            <a:ext cx="60325"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7" name="Straight Connector 676"/>
          <p:cNvCxnSpPr/>
          <p:nvPr>
            <p:custDataLst>
              <p:tags r:id="rId18"/>
            </p:custDataLst>
          </p:nvPr>
        </p:nvCxnSpPr>
        <p:spPr bwMode="auto">
          <a:xfrm flipH="1" flipV="1">
            <a:off x="3681413" y="2803525"/>
            <a:ext cx="2222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6" name="Straight Connector 685"/>
          <p:cNvCxnSpPr/>
          <p:nvPr>
            <p:custDataLst>
              <p:tags r:id="rId19"/>
            </p:custDataLst>
          </p:nvPr>
        </p:nvCxnSpPr>
        <p:spPr bwMode="auto">
          <a:xfrm flipH="1" flipV="1">
            <a:off x="3014663" y="3289300"/>
            <a:ext cx="3016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p:nvPr>
            <p:custDataLst>
              <p:tags r:id="rId20"/>
            </p:custDataLst>
          </p:nvPr>
        </p:nvCxnSpPr>
        <p:spPr bwMode="auto">
          <a:xfrm flipH="1" flipV="1">
            <a:off x="4291013" y="1831975"/>
            <a:ext cx="635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4" name="Straight Connector 693"/>
          <p:cNvCxnSpPr/>
          <p:nvPr>
            <p:custDataLst>
              <p:tags r:id="rId21"/>
            </p:custDataLst>
          </p:nvPr>
        </p:nvCxnSpPr>
        <p:spPr bwMode="auto">
          <a:xfrm flipV="1">
            <a:off x="4152900" y="1831975"/>
            <a:ext cx="4762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3" name="Rectangle 692"/>
          <p:cNvSpPr/>
          <p:nvPr>
            <p:custDataLst>
              <p:tags r:id="rId22"/>
            </p:custDataLst>
          </p:nvPr>
        </p:nvSpPr>
        <p:spPr bwMode="gray">
          <a:xfrm>
            <a:off x="1400175" y="62452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A0C4A994-E259-432C-8E05-0720A0E6E2EE}" type="datetime'''''''''''''''''''''''''''''''''4''''''''%'''">
              <a:rPr lang="en-US" sz="1000">
                <a:solidFill>
                  <a:schemeClr val="tx1"/>
                </a:solidFill>
              </a:rPr>
              <a:pPr/>
              <a:t>4%</a:t>
            </a:fld>
            <a:endParaRPr lang="en-US" sz="1000">
              <a:solidFill>
                <a:schemeClr val="tx1"/>
              </a:solidFill>
              <a:latin typeface="Calibri"/>
              <a:sym typeface="Calibri"/>
            </a:endParaRPr>
          </a:p>
        </p:txBody>
      </p:sp>
      <p:sp>
        <p:nvSpPr>
          <p:cNvPr id="32" name="Rectangle 31"/>
          <p:cNvSpPr/>
          <p:nvPr>
            <p:custDataLst>
              <p:tags r:id="rId23"/>
            </p:custDataLst>
          </p:nvPr>
        </p:nvSpPr>
        <p:spPr bwMode="auto">
          <a:xfrm>
            <a:off x="461963" y="6015038"/>
            <a:ext cx="3698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9068AE7-A63A-4B8D-985F-E93DE40BF27D}" type="datetime'''''''''''U''''''''''''''''''''''t''e''''''''n''o''s'">
              <a:rPr lang="en-US" sz="1000">
                <a:solidFill>
                  <a:schemeClr val="tx1"/>
                </a:solidFill>
                <a:sym typeface="+mn-lt"/>
              </a:rPr>
              <a:pPr/>
              <a:t>Utenos</a:t>
            </a:fld>
            <a:endParaRPr lang="en-US" sz="1000">
              <a:solidFill>
                <a:schemeClr val="tx1"/>
              </a:solidFill>
              <a:sym typeface="+mn-lt"/>
            </a:endParaRPr>
          </a:p>
        </p:txBody>
      </p:sp>
      <p:sp>
        <p:nvSpPr>
          <p:cNvPr id="782" name="Rectangle 781"/>
          <p:cNvSpPr/>
          <p:nvPr>
            <p:custDataLst>
              <p:tags r:id="rId24"/>
            </p:custDataLst>
          </p:nvPr>
        </p:nvSpPr>
        <p:spPr bwMode="gray">
          <a:xfrm>
            <a:off x="1082675" y="60150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0FE55EC9-ADB3-467D-9CEA-97CBC4C91580}" type="datetime'''''''''''''''''9''''''''''2%'''">
              <a:rPr lang="en-US" sz="1000">
                <a:solidFill>
                  <a:schemeClr val="bg1"/>
                </a:solidFill>
              </a:rPr>
              <a:pPr/>
              <a:t>92%</a:t>
            </a:fld>
            <a:endParaRPr lang="en-US" sz="1000">
              <a:solidFill>
                <a:schemeClr val="bg1"/>
              </a:solidFill>
              <a:sym typeface="+mn-lt"/>
            </a:endParaRPr>
          </a:p>
        </p:txBody>
      </p:sp>
      <p:sp>
        <p:nvSpPr>
          <p:cNvPr id="462" name="Rectangle 461"/>
          <p:cNvSpPr/>
          <p:nvPr>
            <p:custDataLst>
              <p:tags r:id="rId25"/>
            </p:custDataLst>
          </p:nvPr>
        </p:nvSpPr>
        <p:spPr bwMode="gray">
          <a:xfrm>
            <a:off x="1633538" y="601503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A133751-08C3-4F34-9E23-023D56AF9718}" type="datetime'''''''''''''''''2''''''''''''6'''''''''''''''''''''''''">
              <a:rPr lang="en-US" sz="1000">
                <a:solidFill>
                  <a:schemeClr val="tx1"/>
                </a:solidFill>
                <a:sym typeface="+mn-lt"/>
              </a:rPr>
              <a:pPr/>
              <a:t>26</a:t>
            </a:fld>
            <a:endParaRPr lang="en-US" sz="1000">
              <a:solidFill>
                <a:schemeClr val="tx1"/>
              </a:solidFill>
              <a:sym typeface="+mn-lt"/>
            </a:endParaRPr>
          </a:p>
        </p:txBody>
      </p:sp>
      <p:sp>
        <p:nvSpPr>
          <p:cNvPr id="675" name="Rectangle 674"/>
          <p:cNvSpPr/>
          <p:nvPr>
            <p:custDataLst>
              <p:tags r:id="rId26"/>
            </p:custDataLst>
          </p:nvPr>
        </p:nvSpPr>
        <p:spPr bwMode="gray">
          <a:xfrm>
            <a:off x="1423988" y="6015038"/>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E845957-5664-438B-8FA2-1210239FC85A}" type="datetime'''''''''4''''''''''''''''''''%'''''''''''">
              <a:rPr lang="en-US" sz="1000">
                <a:solidFill>
                  <a:schemeClr val="tx1"/>
                </a:solidFill>
              </a:rPr>
              <a:pPr/>
              <a:t>4%</a:t>
            </a:fld>
            <a:endParaRPr lang="en-US" sz="1000">
              <a:solidFill>
                <a:schemeClr val="tx1"/>
              </a:solidFill>
              <a:latin typeface="Calibri"/>
              <a:sym typeface="Calibri"/>
            </a:endParaRPr>
          </a:p>
        </p:txBody>
      </p:sp>
      <p:sp>
        <p:nvSpPr>
          <p:cNvPr id="31" name="Rectangle 30"/>
          <p:cNvSpPr/>
          <p:nvPr>
            <p:custDataLst>
              <p:tags r:id="rId27"/>
            </p:custDataLst>
          </p:nvPr>
        </p:nvSpPr>
        <p:spPr bwMode="auto">
          <a:xfrm>
            <a:off x="533400" y="5529263"/>
            <a:ext cx="298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B4A4BD1-139D-4296-B5DC-76F064F64C92}" type="datetime'''''T''''''''el''''''''''''''ši''''''''''ų'''''''''">
              <a:rPr lang="en-US" sz="1000">
                <a:solidFill>
                  <a:schemeClr val="tx1"/>
                </a:solidFill>
                <a:sym typeface="+mn-lt"/>
              </a:rPr>
              <a:pPr/>
              <a:t>Telšių</a:t>
            </a:fld>
            <a:endParaRPr lang="en-US" sz="1000">
              <a:solidFill>
                <a:schemeClr val="tx1"/>
              </a:solidFill>
              <a:sym typeface="+mn-lt"/>
            </a:endParaRPr>
          </a:p>
        </p:txBody>
      </p:sp>
      <p:sp>
        <p:nvSpPr>
          <p:cNvPr id="461" name="Rectangle 460"/>
          <p:cNvSpPr/>
          <p:nvPr>
            <p:custDataLst>
              <p:tags r:id="rId28"/>
            </p:custDataLst>
          </p:nvPr>
        </p:nvSpPr>
        <p:spPr bwMode="gray">
          <a:xfrm>
            <a:off x="1882775" y="552926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98EA062-FA72-4DA4-8EFE-274227A1E5AD}" type="datetime'''''''''''4''0'''''''''''''''">
              <a:rPr lang="en-US" sz="1000">
                <a:solidFill>
                  <a:schemeClr val="tx1"/>
                </a:solidFill>
                <a:sym typeface="+mn-lt"/>
              </a:rPr>
              <a:pPr/>
              <a:t>40</a:t>
            </a:fld>
            <a:endParaRPr lang="en-US" sz="1000">
              <a:solidFill>
                <a:schemeClr val="tx1"/>
              </a:solidFill>
              <a:sym typeface="+mn-lt"/>
            </a:endParaRPr>
          </a:p>
        </p:txBody>
      </p:sp>
      <p:sp>
        <p:nvSpPr>
          <p:cNvPr id="781" name="Rectangle 780"/>
          <p:cNvSpPr/>
          <p:nvPr>
            <p:custDataLst>
              <p:tags r:id="rId29"/>
            </p:custDataLst>
          </p:nvPr>
        </p:nvSpPr>
        <p:spPr bwMode="gray">
          <a:xfrm>
            <a:off x="1149350" y="55292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D07B1DC3-4078-4611-A9E9-E530464BE4A2}" type="datetime'''''''7''''''''''5''''''''''''''''''''''''''''''''%'''''''''''">
              <a:rPr lang="en-US" sz="1000">
                <a:solidFill>
                  <a:schemeClr val="bg1"/>
                </a:solidFill>
              </a:rPr>
              <a:pPr/>
              <a:t>75%</a:t>
            </a:fld>
            <a:endParaRPr lang="en-US" sz="1000">
              <a:solidFill>
                <a:schemeClr val="bg1"/>
              </a:solidFill>
              <a:sym typeface="+mn-lt"/>
            </a:endParaRPr>
          </a:p>
        </p:txBody>
      </p:sp>
      <p:sp>
        <p:nvSpPr>
          <p:cNvPr id="463" name="Rectangle 462"/>
          <p:cNvSpPr/>
          <p:nvPr>
            <p:custDataLst>
              <p:tags r:id="rId30"/>
            </p:custDataLst>
          </p:nvPr>
        </p:nvSpPr>
        <p:spPr bwMode="gray">
          <a:xfrm>
            <a:off x="1587500" y="5529263"/>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A82653F-C8E4-4B6F-9FFE-1E3E5ACDA4AF}" type="datetime'''''''''2''''0''''''''''''''''''%'''''''''">
              <a:rPr lang="en-US" sz="1000">
                <a:solidFill>
                  <a:schemeClr val="bg1"/>
                </a:solidFill>
              </a:rPr>
              <a:pPr/>
              <a:t>20%</a:t>
            </a:fld>
            <a:endParaRPr lang="en-US" sz="1000">
              <a:solidFill>
                <a:schemeClr val="bg1"/>
              </a:solidFill>
              <a:sym typeface="+mn-lt"/>
            </a:endParaRPr>
          </a:p>
        </p:txBody>
      </p:sp>
      <p:sp>
        <p:nvSpPr>
          <p:cNvPr id="30" name="Rectangle 29"/>
          <p:cNvSpPr/>
          <p:nvPr>
            <p:custDataLst>
              <p:tags r:id="rId31"/>
            </p:custDataLst>
          </p:nvPr>
        </p:nvSpPr>
        <p:spPr bwMode="auto">
          <a:xfrm>
            <a:off x="365125" y="5043488"/>
            <a:ext cx="466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050A698-129E-474D-A0EF-B2A8DB1E0E97}" type="datetime'''T''''''''''aur''''''a''''''g''''ė''s'''''''''''''''''">
              <a:rPr lang="en-US" sz="1000">
                <a:solidFill>
                  <a:schemeClr val="tx1"/>
                </a:solidFill>
                <a:sym typeface="+mn-lt"/>
              </a:rPr>
              <a:pPr/>
              <a:t>Tauragės</a:t>
            </a:fld>
            <a:endParaRPr lang="en-US" sz="1000">
              <a:solidFill>
                <a:schemeClr val="tx1"/>
              </a:solidFill>
              <a:sym typeface="+mn-lt"/>
            </a:endParaRPr>
          </a:p>
        </p:txBody>
      </p:sp>
      <p:sp>
        <p:nvSpPr>
          <p:cNvPr id="460" name="Rectangle 459"/>
          <p:cNvSpPr/>
          <p:nvPr>
            <p:custDataLst>
              <p:tags r:id="rId32"/>
            </p:custDataLst>
          </p:nvPr>
        </p:nvSpPr>
        <p:spPr bwMode="gray">
          <a:xfrm>
            <a:off x="1843088" y="504348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E15B8F8-2E2D-4563-8275-0A480024E5D1}" type="datetime'''''''''''''''3''''''''''''''''8'''''''''">
              <a:rPr lang="en-US" sz="1000">
                <a:solidFill>
                  <a:schemeClr val="tx1"/>
                </a:solidFill>
                <a:sym typeface="+mn-lt"/>
              </a:rPr>
              <a:pPr/>
              <a:t>38</a:t>
            </a:fld>
            <a:endParaRPr lang="en-US" sz="1000">
              <a:solidFill>
                <a:schemeClr val="tx1"/>
              </a:solidFill>
              <a:sym typeface="+mn-lt"/>
            </a:endParaRPr>
          </a:p>
        </p:txBody>
      </p:sp>
      <p:sp>
        <p:nvSpPr>
          <p:cNvPr id="780" name="Rectangle 779"/>
          <p:cNvSpPr/>
          <p:nvPr>
            <p:custDataLst>
              <p:tags r:id="rId33"/>
            </p:custDataLst>
          </p:nvPr>
        </p:nvSpPr>
        <p:spPr bwMode="gray">
          <a:xfrm>
            <a:off x="1187450" y="50434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964093F2-807D-436C-BC8F-E17EDF263E8D}" type="datetime'''''''8''''''''''''7''''''''''%'''''''''''''''''''">
              <a:rPr lang="en-US" sz="1000">
                <a:solidFill>
                  <a:schemeClr val="bg1"/>
                </a:solidFill>
              </a:rPr>
              <a:pPr/>
              <a:t>87%</a:t>
            </a:fld>
            <a:endParaRPr lang="en-US" sz="1000">
              <a:solidFill>
                <a:schemeClr val="bg1"/>
              </a:solidFill>
              <a:sym typeface="+mn-lt"/>
            </a:endParaRPr>
          </a:p>
        </p:txBody>
      </p:sp>
      <p:sp>
        <p:nvSpPr>
          <p:cNvPr id="452" name="Rectangle 451"/>
          <p:cNvSpPr/>
          <p:nvPr>
            <p:custDataLst>
              <p:tags r:id="rId34"/>
            </p:custDataLst>
          </p:nvPr>
        </p:nvSpPr>
        <p:spPr bwMode="gray">
          <a:xfrm>
            <a:off x="1633538" y="5043488"/>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901DA2FE-1F61-4AF8-A6A1-8408EC86E6C1}" type="datetime'''''''''''''''''''''''''''''''''''''''''''''8''''''''%'">
              <a:rPr lang="en-US" sz="1000">
                <a:solidFill>
                  <a:schemeClr val="bg1"/>
                </a:solidFill>
              </a:rPr>
              <a:pPr/>
              <a:t>8%</a:t>
            </a:fld>
            <a:endParaRPr lang="en-US" sz="1000">
              <a:solidFill>
                <a:schemeClr val="bg1"/>
              </a:solidFill>
              <a:sym typeface="+mn-lt"/>
            </a:endParaRPr>
          </a:p>
        </p:txBody>
      </p:sp>
      <p:sp>
        <p:nvSpPr>
          <p:cNvPr id="29" name="Rectangle 28"/>
          <p:cNvSpPr/>
          <p:nvPr>
            <p:custDataLst>
              <p:tags r:id="rId35"/>
            </p:custDataLst>
          </p:nvPr>
        </p:nvSpPr>
        <p:spPr bwMode="auto">
          <a:xfrm>
            <a:off x="454025" y="4557713"/>
            <a:ext cx="377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85E4CAC-754B-4E61-AA01-E07D9F5AC22F}" type="datetime'''''A''l''''''''''''''y''''''''''''''''''t''''a''''''u''s'''''">
              <a:rPr lang="en-US" sz="1000">
                <a:solidFill>
                  <a:schemeClr val="tx1"/>
                </a:solidFill>
                <a:sym typeface="+mn-lt"/>
              </a:rPr>
              <a:pPr/>
              <a:t>Alytaus</a:t>
            </a:fld>
            <a:endParaRPr lang="en-US" sz="1000">
              <a:solidFill>
                <a:schemeClr val="tx1"/>
              </a:solidFill>
              <a:sym typeface="+mn-lt"/>
            </a:endParaRPr>
          </a:p>
        </p:txBody>
      </p:sp>
      <p:sp>
        <p:nvSpPr>
          <p:cNvPr id="459" name="Rectangle 458"/>
          <p:cNvSpPr/>
          <p:nvPr>
            <p:custDataLst>
              <p:tags r:id="rId36"/>
            </p:custDataLst>
          </p:nvPr>
        </p:nvSpPr>
        <p:spPr bwMode="gray">
          <a:xfrm>
            <a:off x="2082800" y="455771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13D7263-A571-4757-929C-92CF63B0540B}" type="datetime'''''''4''''''''''''''''''''''''''''''''''''''''9'''''">
              <a:rPr lang="en-US" sz="1000">
                <a:solidFill>
                  <a:schemeClr val="tx1"/>
                </a:solidFill>
                <a:sym typeface="+mn-lt"/>
              </a:rPr>
              <a:pPr/>
              <a:t>49</a:t>
            </a:fld>
            <a:endParaRPr lang="en-US" sz="1000">
              <a:solidFill>
                <a:schemeClr val="tx1"/>
              </a:solidFill>
              <a:sym typeface="+mn-lt"/>
            </a:endParaRPr>
          </a:p>
        </p:txBody>
      </p:sp>
      <p:sp>
        <p:nvSpPr>
          <p:cNvPr id="779" name="Rectangle 778"/>
          <p:cNvSpPr/>
          <p:nvPr>
            <p:custDataLst>
              <p:tags r:id="rId37"/>
            </p:custDataLst>
          </p:nvPr>
        </p:nvSpPr>
        <p:spPr bwMode="gray">
          <a:xfrm>
            <a:off x="1187450" y="45577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674D2E17-9EC2-4B2C-B6FE-3E59DB137C27}" type="datetime'''''''''''''6''''7%'''''''''''''''''''">
              <a:rPr lang="en-US" sz="1000">
                <a:solidFill>
                  <a:schemeClr val="bg1"/>
                </a:solidFill>
              </a:rPr>
              <a:pPr/>
              <a:t>67%</a:t>
            </a:fld>
            <a:endParaRPr lang="en-US" sz="1000">
              <a:solidFill>
                <a:schemeClr val="bg1"/>
              </a:solidFill>
              <a:sym typeface="+mn-lt"/>
            </a:endParaRPr>
          </a:p>
        </p:txBody>
      </p:sp>
      <p:sp>
        <p:nvSpPr>
          <p:cNvPr id="692" name="Rectangle 691"/>
          <p:cNvSpPr/>
          <p:nvPr>
            <p:custDataLst>
              <p:tags r:id="rId38"/>
            </p:custDataLst>
          </p:nvPr>
        </p:nvSpPr>
        <p:spPr bwMode="gray">
          <a:xfrm>
            <a:off x="1833563" y="47879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6229FF7E-F106-4FF3-AC95-F70BCE4C2A18}" type="datetime'8''''''''%'''''''''''''''''''''''''''">
              <a:rPr lang="en-US" sz="1000">
                <a:solidFill>
                  <a:schemeClr val="tx1"/>
                </a:solidFill>
              </a:rPr>
              <a:pPr/>
              <a:t>8%</a:t>
            </a:fld>
            <a:endParaRPr lang="en-US" sz="1000">
              <a:solidFill>
                <a:schemeClr val="tx1"/>
              </a:solidFill>
              <a:latin typeface="Calibri"/>
              <a:sym typeface="Calibri"/>
            </a:endParaRPr>
          </a:p>
        </p:txBody>
      </p:sp>
      <p:sp>
        <p:nvSpPr>
          <p:cNvPr id="778" name="Rectangle 777"/>
          <p:cNvSpPr/>
          <p:nvPr>
            <p:custDataLst>
              <p:tags r:id="rId39"/>
            </p:custDataLst>
          </p:nvPr>
        </p:nvSpPr>
        <p:spPr bwMode="gray">
          <a:xfrm>
            <a:off x="1335088" y="40767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627D760-5494-4C13-BFEE-904DF537649D}" type="datetime'''''8''''''''''''''''7''''''''''''''''''''''''''''''''''''%'">
              <a:rPr lang="en-US" sz="1000">
                <a:solidFill>
                  <a:schemeClr val="bg1"/>
                </a:solidFill>
              </a:rPr>
              <a:pPr/>
              <a:t>87%</a:t>
            </a:fld>
            <a:endParaRPr lang="en-US" sz="1000">
              <a:solidFill>
                <a:schemeClr val="bg1"/>
              </a:solidFill>
              <a:sym typeface="+mn-lt"/>
            </a:endParaRPr>
          </a:p>
        </p:txBody>
      </p:sp>
      <p:sp>
        <p:nvSpPr>
          <p:cNvPr id="23" name="Rectangle 22"/>
          <p:cNvSpPr/>
          <p:nvPr>
            <p:custDataLst>
              <p:tags r:id="rId40"/>
            </p:custDataLst>
          </p:nvPr>
        </p:nvSpPr>
        <p:spPr bwMode="gray">
          <a:xfrm>
            <a:off x="1952625" y="4076700"/>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81EB1FB4-545B-4EA0-846D-7813A7AD0C69}" type="datetime'''''''''''''''''''9''''''''''''''''''''''''''''''%'''''''">
              <a:rPr lang="en-US" sz="1000">
                <a:solidFill>
                  <a:schemeClr val="bg1"/>
                </a:solidFill>
              </a:rPr>
              <a:pPr/>
              <a:t>9%</a:t>
            </a:fld>
            <a:endParaRPr lang="en-US" sz="1000">
              <a:solidFill>
                <a:schemeClr val="bg1"/>
              </a:solidFill>
              <a:sym typeface="+mn-lt"/>
            </a:endParaRPr>
          </a:p>
        </p:txBody>
      </p:sp>
      <p:sp>
        <p:nvSpPr>
          <p:cNvPr id="458" name="Rectangle 457"/>
          <p:cNvSpPr/>
          <p:nvPr>
            <p:custDataLst>
              <p:tags r:id="rId41"/>
            </p:custDataLst>
          </p:nvPr>
        </p:nvSpPr>
        <p:spPr bwMode="gray">
          <a:xfrm>
            <a:off x="2178050" y="4076700"/>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F22430C-9EAE-48A7-88E7-8895B1370D5D}" type="datetime'''''''''''''''''''''''''''''''''''5''''''''''3'''">
              <a:rPr lang="en-US" sz="1000">
                <a:solidFill>
                  <a:schemeClr val="tx1"/>
                </a:solidFill>
                <a:sym typeface="+mn-lt"/>
              </a:rPr>
              <a:pPr/>
              <a:t>53</a:t>
            </a:fld>
            <a:endParaRPr lang="en-US" sz="1000">
              <a:solidFill>
                <a:schemeClr val="tx1"/>
              </a:solidFill>
              <a:sym typeface="+mn-lt"/>
            </a:endParaRPr>
          </a:p>
        </p:txBody>
      </p:sp>
      <p:sp>
        <p:nvSpPr>
          <p:cNvPr id="27" name="Rectangle 26"/>
          <p:cNvSpPr/>
          <p:nvPr>
            <p:custDataLst>
              <p:tags r:id="rId42"/>
            </p:custDataLst>
          </p:nvPr>
        </p:nvSpPr>
        <p:spPr bwMode="auto">
          <a:xfrm>
            <a:off x="309563" y="3595688"/>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85D6D8-AF97-4326-8FF1-25172B48DA9F}" type="datetime'P''''''''''''''''''''''''an''''''''e''v''''''ėž''''i''''o'''''">
              <a:rPr lang="en-US" sz="1000">
                <a:solidFill>
                  <a:schemeClr val="tx1"/>
                </a:solidFill>
                <a:sym typeface="+mn-lt"/>
              </a:rPr>
              <a:pPr/>
              <a:t>Panevėžio</a:t>
            </a:fld>
            <a:endParaRPr lang="en-US" sz="1000">
              <a:solidFill>
                <a:schemeClr val="tx1"/>
              </a:solidFill>
              <a:sym typeface="+mn-lt"/>
            </a:endParaRPr>
          </a:p>
        </p:txBody>
      </p:sp>
      <p:sp>
        <p:nvSpPr>
          <p:cNvPr id="451" name="Rectangle 450"/>
          <p:cNvSpPr/>
          <p:nvPr>
            <p:custDataLst>
              <p:tags r:id="rId43"/>
            </p:custDataLst>
          </p:nvPr>
        </p:nvSpPr>
        <p:spPr bwMode="gray">
          <a:xfrm>
            <a:off x="1682750" y="4557713"/>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48EFD3-7F21-4E47-AEE8-BF0D9ADB6C44}" type="datetime'''''''''2''''0''''''''''''''''''''''''''''''''''''%'''''''">
              <a:rPr lang="en-US" sz="1000">
                <a:solidFill>
                  <a:schemeClr val="bg1"/>
                </a:solidFill>
              </a:rPr>
              <a:pPr/>
              <a:t>20%</a:t>
            </a:fld>
            <a:endParaRPr lang="en-US" sz="1000">
              <a:solidFill>
                <a:schemeClr val="bg1"/>
              </a:solidFill>
              <a:sym typeface="+mn-lt"/>
            </a:endParaRPr>
          </a:p>
        </p:txBody>
      </p:sp>
      <p:sp>
        <p:nvSpPr>
          <p:cNvPr id="22" name="Rectangle 21"/>
          <p:cNvSpPr/>
          <p:nvPr>
            <p:custDataLst>
              <p:tags r:id="rId44"/>
            </p:custDataLst>
          </p:nvPr>
        </p:nvSpPr>
        <p:spPr bwMode="gray">
          <a:xfrm>
            <a:off x="2039938" y="3595688"/>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D556316B-2302-49F5-BBA9-95F42468B246}" type="datetime'''''''''''1''''''''''''''1''''''''''''%'''''''''''''''''">
              <a:rPr lang="en-US" sz="1000">
                <a:solidFill>
                  <a:schemeClr val="bg1"/>
                </a:solidFill>
              </a:rPr>
              <a:pPr/>
              <a:t>11%</a:t>
            </a:fld>
            <a:endParaRPr lang="en-US" sz="1000">
              <a:solidFill>
                <a:schemeClr val="bg1"/>
              </a:solidFill>
              <a:sym typeface="+mn-lt"/>
            </a:endParaRPr>
          </a:p>
        </p:txBody>
      </p:sp>
      <p:sp>
        <p:nvSpPr>
          <p:cNvPr id="777" name="Rectangle 776"/>
          <p:cNvSpPr/>
          <p:nvPr>
            <p:custDataLst>
              <p:tags r:id="rId45"/>
            </p:custDataLst>
          </p:nvPr>
        </p:nvSpPr>
        <p:spPr bwMode="gray">
          <a:xfrm>
            <a:off x="1382713" y="3595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6094C52-6672-4C28-895A-FDD38B1625CD}" type="datetime'8''''''''''''''''''''''2''''''''''''%'''''''''''''''''''">
              <a:rPr lang="en-US" sz="1000">
                <a:solidFill>
                  <a:schemeClr val="bg1"/>
                </a:solidFill>
              </a:rPr>
              <a:pPr/>
              <a:t>82%</a:t>
            </a:fld>
            <a:endParaRPr lang="en-US" sz="1000">
              <a:solidFill>
                <a:schemeClr val="bg1"/>
              </a:solidFill>
              <a:sym typeface="+mn-lt"/>
            </a:endParaRPr>
          </a:p>
        </p:txBody>
      </p:sp>
      <p:sp>
        <p:nvSpPr>
          <p:cNvPr id="691" name="Rectangle 690"/>
          <p:cNvSpPr/>
          <p:nvPr>
            <p:custDataLst>
              <p:tags r:id="rId46"/>
            </p:custDataLst>
          </p:nvPr>
        </p:nvSpPr>
        <p:spPr bwMode="gray">
          <a:xfrm>
            <a:off x="1963738" y="43021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39EB11D5-4E26-4A96-8BE9-EA752586D74F}" type="datetime'''''''''''''''''''''''''''2''''''''''%'''''''''''''">
              <a:rPr lang="en-US" sz="1000">
                <a:solidFill>
                  <a:schemeClr val="tx1"/>
                </a:solidFill>
              </a:rPr>
              <a:pPr/>
              <a:t>2%</a:t>
            </a:fld>
            <a:endParaRPr lang="en-US" sz="1000">
              <a:solidFill>
                <a:schemeClr val="tx1"/>
              </a:solidFill>
              <a:sym typeface="+mn-lt"/>
            </a:endParaRPr>
          </a:p>
        </p:txBody>
      </p:sp>
      <p:sp>
        <p:nvSpPr>
          <p:cNvPr id="457" name="Rectangle 456"/>
          <p:cNvSpPr/>
          <p:nvPr>
            <p:custDataLst>
              <p:tags r:id="rId47"/>
            </p:custDataLst>
          </p:nvPr>
        </p:nvSpPr>
        <p:spPr bwMode="gray">
          <a:xfrm>
            <a:off x="2359025" y="359568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B60BED7-58D1-400B-B79F-6FAB9238E509}" type="datetime'''''''''''''''''''''''''''''6''1'''''''''''''''">
              <a:rPr lang="en-US" sz="1000">
                <a:solidFill>
                  <a:schemeClr val="tx1"/>
                </a:solidFill>
                <a:sym typeface="+mn-lt"/>
              </a:rPr>
              <a:pPr/>
              <a:t>61</a:t>
            </a:fld>
            <a:endParaRPr lang="en-US" sz="1000">
              <a:solidFill>
                <a:schemeClr val="tx1"/>
              </a:solidFill>
              <a:sym typeface="+mn-lt"/>
            </a:endParaRPr>
          </a:p>
        </p:txBody>
      </p:sp>
      <p:sp>
        <p:nvSpPr>
          <p:cNvPr id="28" name="Rectangle 27"/>
          <p:cNvSpPr/>
          <p:nvPr>
            <p:custDataLst>
              <p:tags r:id="rId48"/>
            </p:custDataLst>
          </p:nvPr>
        </p:nvSpPr>
        <p:spPr bwMode="auto">
          <a:xfrm>
            <a:off x="123825" y="4076700"/>
            <a:ext cx="708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905E848-5097-4E09-B464-6DC0522B383F}" type="datetime'Ma''''''rij''''''a''''''''mp''o''l''ė''''''''s'">
              <a:rPr lang="en-US" sz="1000">
                <a:solidFill>
                  <a:schemeClr val="tx1"/>
                </a:solidFill>
                <a:sym typeface="+mn-lt"/>
              </a:rPr>
              <a:pPr/>
              <a:t>Marijampolės</a:t>
            </a:fld>
            <a:endParaRPr lang="en-US" sz="1000">
              <a:solidFill>
                <a:schemeClr val="tx1"/>
              </a:solidFill>
              <a:sym typeface="+mn-lt"/>
            </a:endParaRPr>
          </a:p>
        </p:txBody>
      </p:sp>
      <p:sp>
        <p:nvSpPr>
          <p:cNvPr id="26" name="Rectangle 25"/>
          <p:cNvSpPr/>
          <p:nvPr>
            <p:custDataLst>
              <p:tags r:id="rId49"/>
            </p:custDataLst>
          </p:nvPr>
        </p:nvSpPr>
        <p:spPr bwMode="auto">
          <a:xfrm>
            <a:off x="334963" y="3109913"/>
            <a:ext cx="4968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2CE43E7-5386-49EC-8219-3D6D06A5A106}" type="datetime'''''K''l''''''''''a''''''i''p''''ė''''''''''d''''os'''''''">
              <a:rPr lang="en-US" sz="1000">
                <a:solidFill>
                  <a:schemeClr val="tx1"/>
                </a:solidFill>
                <a:sym typeface="+mn-lt"/>
              </a:rPr>
              <a:pPr/>
              <a:t>Klaipėdos</a:t>
            </a:fld>
            <a:endParaRPr lang="en-US" sz="1000">
              <a:solidFill>
                <a:schemeClr val="tx1"/>
              </a:solidFill>
              <a:sym typeface="+mn-lt"/>
            </a:endParaRPr>
          </a:p>
        </p:txBody>
      </p:sp>
      <p:sp>
        <p:nvSpPr>
          <p:cNvPr id="456" name="Rectangle 455"/>
          <p:cNvSpPr/>
          <p:nvPr>
            <p:custDataLst>
              <p:tags r:id="rId50"/>
            </p:custDataLst>
          </p:nvPr>
        </p:nvSpPr>
        <p:spPr bwMode="gray">
          <a:xfrm>
            <a:off x="3073400" y="310991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2E82AAF-0278-4B86-8E9B-D3911C10CB8B}" type="datetime'''''''''''''''''9''''''''''''''''''''''''''''''''''''''''''2'">
              <a:rPr lang="en-US" sz="1000">
                <a:solidFill>
                  <a:schemeClr val="tx1"/>
                </a:solidFill>
                <a:sym typeface="+mn-lt"/>
              </a:rPr>
              <a:pPr/>
              <a:t>92</a:t>
            </a:fld>
            <a:endParaRPr lang="en-US" sz="1000">
              <a:solidFill>
                <a:schemeClr val="tx1"/>
              </a:solidFill>
              <a:sym typeface="+mn-lt"/>
            </a:endParaRPr>
          </a:p>
        </p:txBody>
      </p:sp>
      <p:sp>
        <p:nvSpPr>
          <p:cNvPr id="776" name="Rectangle 775"/>
          <p:cNvSpPr/>
          <p:nvPr>
            <p:custDataLst>
              <p:tags r:id="rId51"/>
            </p:custDataLst>
          </p:nvPr>
        </p:nvSpPr>
        <p:spPr bwMode="gray">
          <a:xfrm>
            <a:off x="1601788" y="31099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D8A961-7B62-43F0-83CE-DE56FB45665A}" type="datetime'''7''''5''''''''''''''''''''''''''''''''%'''''''''">
              <a:rPr lang="en-US" sz="1000">
                <a:solidFill>
                  <a:schemeClr val="bg1"/>
                </a:solidFill>
              </a:rPr>
              <a:pPr/>
              <a:t>75%</a:t>
            </a:fld>
            <a:endParaRPr lang="en-US" sz="1000">
              <a:solidFill>
                <a:schemeClr val="bg1"/>
              </a:solidFill>
              <a:sym typeface="+mn-lt"/>
            </a:endParaRPr>
          </a:p>
        </p:txBody>
      </p:sp>
      <p:sp>
        <p:nvSpPr>
          <p:cNvPr id="21" name="Rectangle 20"/>
          <p:cNvSpPr/>
          <p:nvPr>
            <p:custDataLst>
              <p:tags r:id="rId52"/>
            </p:custDataLst>
          </p:nvPr>
        </p:nvSpPr>
        <p:spPr bwMode="gray">
          <a:xfrm>
            <a:off x="2520950" y="31099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rgbClr val="6F8DB9"/>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679E7D-4956-49CC-A42D-2C3E80F666BF}" type="datetime'''''''''''''''''''''''''''''''1''2''''''''''%'''''''''">
              <a:rPr lang="en-US" sz="1000">
                <a:solidFill>
                  <a:schemeClr val="bg1"/>
                </a:solidFill>
              </a:rPr>
              <a:pPr/>
              <a:t>12%</a:t>
            </a:fld>
            <a:endParaRPr lang="en-US" sz="1000">
              <a:solidFill>
                <a:schemeClr val="bg1"/>
              </a:solidFill>
              <a:sym typeface="+mn-lt"/>
            </a:endParaRPr>
          </a:p>
        </p:txBody>
      </p:sp>
      <p:sp>
        <p:nvSpPr>
          <p:cNvPr id="690" name="Rectangle 689"/>
          <p:cNvSpPr/>
          <p:nvPr>
            <p:custDataLst>
              <p:tags r:id="rId53"/>
            </p:custDataLst>
          </p:nvPr>
        </p:nvSpPr>
        <p:spPr bwMode="gray">
          <a:xfrm>
            <a:off x="2705100" y="33401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6C13E486-F2FB-4936-98B0-EB35D0966F17}" type="datetime'''''''''''''''5''''''''''''''''''''''''''''''''''%'''''''">
              <a:rPr lang="en-US" sz="1000">
                <a:solidFill>
                  <a:schemeClr val="tx1"/>
                </a:solidFill>
              </a:rPr>
              <a:pPr/>
              <a:t>5%</a:t>
            </a:fld>
            <a:endParaRPr lang="en-US" sz="1000">
              <a:solidFill>
                <a:schemeClr val="tx1"/>
              </a:solidFill>
              <a:latin typeface="Calibri"/>
              <a:sym typeface="Calibri"/>
            </a:endParaRPr>
          </a:p>
        </p:txBody>
      </p:sp>
      <p:sp>
        <p:nvSpPr>
          <p:cNvPr id="25" name="Rectangle 24"/>
          <p:cNvSpPr/>
          <p:nvPr>
            <p:custDataLst>
              <p:tags r:id="rId54"/>
            </p:custDataLst>
          </p:nvPr>
        </p:nvSpPr>
        <p:spPr bwMode="auto">
          <a:xfrm>
            <a:off x="493713" y="2624138"/>
            <a:ext cx="3381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D0302A-BE72-4215-BB53-E782C2EA97ED}" type="datetime'''Š''''''''''''''i''''''au''''''''''''''l''''''i''''ų'''''''''">
              <a:rPr lang="en-US" sz="1000">
                <a:solidFill>
                  <a:schemeClr val="tx1"/>
                </a:solidFill>
                <a:sym typeface="+mn-lt"/>
              </a:rPr>
              <a:pPr/>
              <a:t>Šiaulių</a:t>
            </a:fld>
            <a:endParaRPr lang="en-US" sz="1000">
              <a:solidFill>
                <a:schemeClr val="tx1"/>
              </a:solidFill>
              <a:sym typeface="+mn-lt"/>
            </a:endParaRPr>
          </a:p>
        </p:txBody>
      </p:sp>
      <p:sp>
        <p:nvSpPr>
          <p:cNvPr id="455" name="Rectangle 454"/>
          <p:cNvSpPr/>
          <p:nvPr>
            <p:custDataLst>
              <p:tags r:id="rId55"/>
            </p:custDataLst>
          </p:nvPr>
        </p:nvSpPr>
        <p:spPr bwMode="gray">
          <a:xfrm>
            <a:off x="3721100" y="2624138"/>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AE76FCB-94A6-44EC-B3E5-B8F2C8163262}" type="datetime'''''''''''''''''''''''''''''''1''''''''''''''20'''''''''''''">
              <a:rPr lang="en-US" sz="1000">
                <a:solidFill>
                  <a:schemeClr val="tx1"/>
                </a:solidFill>
                <a:sym typeface="+mn-lt"/>
              </a:rPr>
              <a:pPr/>
              <a:t>120</a:t>
            </a:fld>
            <a:endParaRPr lang="en-US" sz="1000">
              <a:solidFill>
                <a:schemeClr val="tx1"/>
              </a:solidFill>
              <a:sym typeface="+mn-lt"/>
            </a:endParaRPr>
          </a:p>
        </p:txBody>
      </p:sp>
      <p:sp>
        <p:nvSpPr>
          <p:cNvPr id="775" name="Rectangle 774"/>
          <p:cNvSpPr/>
          <p:nvPr>
            <p:custDataLst>
              <p:tags r:id="rId56"/>
            </p:custDataLst>
          </p:nvPr>
        </p:nvSpPr>
        <p:spPr bwMode="gray">
          <a:xfrm>
            <a:off x="1773238" y="2624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6E318FC8-B196-44C4-9B2A-5C45EE0387B4}" type="datetime'''''''''''''''''''7''''''''''0''''''''''%'''''''''''''''''''''">
              <a:rPr lang="en-US" sz="1000">
                <a:solidFill>
                  <a:schemeClr val="bg1"/>
                </a:solidFill>
              </a:rPr>
              <a:pPr/>
              <a:t>70%</a:t>
            </a:fld>
            <a:endParaRPr lang="en-US" sz="1000">
              <a:solidFill>
                <a:schemeClr val="bg1"/>
              </a:solidFill>
              <a:sym typeface="+mn-lt"/>
            </a:endParaRPr>
          </a:p>
        </p:txBody>
      </p:sp>
      <p:sp>
        <p:nvSpPr>
          <p:cNvPr id="20" name="Rectangle 19"/>
          <p:cNvSpPr/>
          <p:nvPr>
            <p:custDataLst>
              <p:tags r:id="rId57"/>
            </p:custDataLst>
          </p:nvPr>
        </p:nvSpPr>
        <p:spPr bwMode="gray">
          <a:xfrm>
            <a:off x="3025775" y="2624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15B31A1B-4CF8-4F16-856B-32D3FB6CBD24}" type="datetime'''21''''''''''''''''''''''''''%'''''''''''''''''''''''''''">
              <a:rPr lang="en-US" sz="1000">
                <a:solidFill>
                  <a:schemeClr val="bg1"/>
                </a:solidFill>
              </a:rPr>
              <a:pPr/>
              <a:t>21%</a:t>
            </a:fld>
            <a:endParaRPr lang="en-US" sz="1000">
              <a:solidFill>
                <a:schemeClr val="bg1"/>
              </a:solidFill>
              <a:sym typeface="+mn-lt"/>
            </a:endParaRPr>
          </a:p>
        </p:txBody>
      </p:sp>
      <p:sp>
        <p:nvSpPr>
          <p:cNvPr id="689" name="Rectangle 688"/>
          <p:cNvSpPr/>
          <p:nvPr>
            <p:custDataLst>
              <p:tags r:id="rId58"/>
            </p:custDataLst>
          </p:nvPr>
        </p:nvSpPr>
        <p:spPr bwMode="gray">
          <a:xfrm>
            <a:off x="3414713" y="2624138"/>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9454F4F-8782-4D70-AA2B-45B95A0F7835}" type="datetime'''''''''''5''''''''''''''%'''''''''''''''''''''''''''''">
              <a:rPr lang="en-US" sz="1000">
                <a:solidFill>
                  <a:schemeClr val="tx1"/>
                </a:solidFill>
              </a:rPr>
              <a:pPr/>
              <a:t>5%</a:t>
            </a:fld>
            <a:endParaRPr lang="en-US" sz="1000">
              <a:solidFill>
                <a:schemeClr val="tx1"/>
              </a:solidFill>
              <a:latin typeface="Calibri"/>
              <a:sym typeface="Calibri"/>
            </a:endParaRPr>
          </a:p>
        </p:txBody>
      </p:sp>
      <p:sp>
        <p:nvSpPr>
          <p:cNvPr id="8" name="Rectangle 7"/>
          <p:cNvSpPr/>
          <p:nvPr>
            <p:custDataLst>
              <p:tags r:id="rId59"/>
            </p:custDataLst>
          </p:nvPr>
        </p:nvSpPr>
        <p:spPr bwMode="auto">
          <a:xfrm>
            <a:off x="504825" y="2138363"/>
            <a:ext cx="327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E9F1CF-7AEA-4FD5-9B4E-87267BF78507}" type="datetime'''''''K''''''''''a''''''''''''''''''''''''''''u''''''''''no'''">
              <a:rPr lang="en-US" sz="1000">
                <a:solidFill>
                  <a:schemeClr val="tx1"/>
                </a:solidFill>
                <a:sym typeface="+mn-lt"/>
              </a:rPr>
              <a:pPr/>
              <a:t>Kauno</a:t>
            </a:fld>
            <a:endParaRPr lang="en-US" sz="1000">
              <a:solidFill>
                <a:schemeClr val="tx1"/>
              </a:solidFill>
              <a:sym typeface="+mn-lt"/>
            </a:endParaRPr>
          </a:p>
        </p:txBody>
      </p:sp>
      <p:sp>
        <p:nvSpPr>
          <p:cNvPr id="454" name="Rectangle 453"/>
          <p:cNvSpPr/>
          <p:nvPr>
            <p:custDataLst>
              <p:tags r:id="rId60"/>
            </p:custDataLst>
          </p:nvPr>
        </p:nvSpPr>
        <p:spPr bwMode="gray">
          <a:xfrm>
            <a:off x="4730750" y="2138363"/>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2C21200-A71B-48B3-A046-1B2ECB81CA9A}" type="datetime'''''''''''''''''''1''''''6''''''''''''''''''''4'''''''">
              <a:rPr lang="en-US" sz="1000">
                <a:solidFill>
                  <a:schemeClr val="tx1"/>
                </a:solidFill>
                <a:sym typeface="+mn-lt"/>
              </a:rPr>
              <a:pPr/>
              <a:t>164</a:t>
            </a:fld>
            <a:endParaRPr lang="en-US" sz="1000">
              <a:solidFill>
                <a:schemeClr val="tx1"/>
              </a:solidFill>
              <a:sym typeface="+mn-lt"/>
            </a:endParaRPr>
          </a:p>
        </p:txBody>
      </p:sp>
      <p:sp>
        <p:nvSpPr>
          <p:cNvPr id="773" name="Rectangle 772"/>
          <p:cNvSpPr/>
          <p:nvPr>
            <p:custDataLst>
              <p:tags r:id="rId61"/>
            </p:custDataLst>
          </p:nvPr>
        </p:nvSpPr>
        <p:spPr bwMode="gray">
          <a:xfrm>
            <a:off x="2163763" y="21383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075840C-B21C-4730-B05C-3852EA0AB147}" type="datetime'''''72%'''''''''''''''''''''''''">
              <a:rPr lang="en-US" sz="1000">
                <a:solidFill>
                  <a:schemeClr val="bg1"/>
                </a:solidFill>
              </a:rPr>
              <a:pPr/>
              <a:t>72%</a:t>
            </a:fld>
            <a:endParaRPr lang="en-US" sz="1000">
              <a:solidFill>
                <a:schemeClr val="bg1"/>
              </a:solidFill>
              <a:sym typeface="+mn-lt"/>
            </a:endParaRPr>
          </a:p>
        </p:txBody>
      </p:sp>
      <p:sp>
        <p:nvSpPr>
          <p:cNvPr id="19" name="Rectangle 18"/>
          <p:cNvSpPr/>
          <p:nvPr>
            <p:custDataLst>
              <p:tags r:id="rId62"/>
            </p:custDataLst>
          </p:nvPr>
        </p:nvSpPr>
        <p:spPr bwMode="gray">
          <a:xfrm>
            <a:off x="3911600" y="21383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5BCD84A6-51E8-464A-8260-D71ECB9AE0CD}" type="datetime'''''''''2''''''''''''''''1''''''%'''''''''''''">
              <a:rPr lang="en-US" sz="1000">
                <a:solidFill>
                  <a:schemeClr val="bg1"/>
                </a:solidFill>
              </a:rPr>
              <a:pPr/>
              <a:t>21%</a:t>
            </a:fld>
            <a:endParaRPr lang="en-US" sz="1000">
              <a:solidFill>
                <a:schemeClr val="bg1"/>
              </a:solidFill>
              <a:sym typeface="+mn-lt"/>
            </a:endParaRPr>
          </a:p>
        </p:txBody>
      </p:sp>
      <p:sp>
        <p:nvSpPr>
          <p:cNvPr id="684" name="Rectangle 683"/>
          <p:cNvSpPr/>
          <p:nvPr>
            <p:custDataLst>
              <p:tags r:id="rId63"/>
            </p:custDataLst>
          </p:nvPr>
        </p:nvSpPr>
        <p:spPr bwMode="gray">
          <a:xfrm>
            <a:off x="4367213" y="2138363"/>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8B0D8F3E-5B8D-4F18-9172-15C7D09C8C77}" type="datetime'2''''''''%'''''''''''''''''''''''''''''''''''''''''''">
              <a:rPr lang="en-US" sz="1000">
                <a:solidFill>
                  <a:schemeClr val="tx1"/>
                </a:solidFill>
              </a:rPr>
              <a:pPr/>
              <a:t>2%</a:t>
            </a:fld>
            <a:endParaRPr lang="en-US" sz="1000">
              <a:solidFill>
                <a:schemeClr val="tx1"/>
              </a:solidFill>
              <a:latin typeface="Calibri"/>
              <a:sym typeface="Calibri"/>
            </a:endParaRPr>
          </a:p>
        </p:txBody>
      </p:sp>
      <p:sp>
        <p:nvSpPr>
          <p:cNvPr id="7" name="Rectangle 6"/>
          <p:cNvSpPr/>
          <p:nvPr>
            <p:custDataLst>
              <p:tags r:id="rId64"/>
            </p:custDataLst>
          </p:nvPr>
        </p:nvSpPr>
        <p:spPr bwMode="auto">
          <a:xfrm>
            <a:off x="431800" y="1652588"/>
            <a:ext cx="400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E720047-795C-47CA-B05A-C26091A9BC46}" type="datetime'''Vi''''''''''''l''''''''''''''''''ni''''''''''''aus'''''''">
              <a:rPr lang="en-US" sz="1000">
                <a:solidFill>
                  <a:schemeClr val="tx1"/>
                </a:solidFill>
                <a:sym typeface="+mn-lt"/>
              </a:rPr>
              <a:pPr/>
              <a:t>Vilniaus</a:t>
            </a:fld>
            <a:endParaRPr lang="en-US" sz="1000">
              <a:solidFill>
                <a:schemeClr val="tx1"/>
              </a:solidFill>
              <a:sym typeface="+mn-lt"/>
            </a:endParaRPr>
          </a:p>
        </p:txBody>
      </p:sp>
      <p:sp>
        <p:nvSpPr>
          <p:cNvPr id="453" name="Rectangle 452"/>
          <p:cNvSpPr/>
          <p:nvPr>
            <p:custDataLst>
              <p:tags r:id="rId65"/>
            </p:custDataLst>
          </p:nvPr>
        </p:nvSpPr>
        <p:spPr bwMode="gray">
          <a:xfrm>
            <a:off x="4387850" y="1652588"/>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FA6E3C-0383-46A9-9C60-58E88C7A7D69}" type="datetime'''''''''''''''''''''''''1''''''''''''''''''''''''4''''''''9'''">
              <a:rPr lang="en-US" sz="1000">
                <a:solidFill>
                  <a:schemeClr val="tx1"/>
                </a:solidFill>
                <a:sym typeface="+mn-lt"/>
              </a:rPr>
              <a:pPr/>
              <a:t>149</a:t>
            </a:fld>
            <a:endParaRPr lang="en-US" sz="1000">
              <a:solidFill>
                <a:schemeClr val="tx1"/>
              </a:solidFill>
              <a:sym typeface="+mn-lt"/>
            </a:endParaRPr>
          </a:p>
        </p:txBody>
      </p:sp>
      <p:sp>
        <p:nvSpPr>
          <p:cNvPr id="772" name="Rectangle 771"/>
          <p:cNvSpPr/>
          <p:nvPr>
            <p:custDataLst>
              <p:tags r:id="rId66"/>
            </p:custDataLst>
          </p:nvPr>
        </p:nvSpPr>
        <p:spPr bwMode="gray">
          <a:xfrm>
            <a:off x="2349500" y="16525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08CE0DFB-7ACC-4827-9348-A174E08F34FB}" type="datetime'''''''''''''''9''''''''''''''''''''0''''''''''%'''''''">
              <a:rPr lang="en-US" sz="1000">
                <a:solidFill>
                  <a:schemeClr val="bg1"/>
                </a:solidFill>
              </a:rPr>
              <a:pPr/>
              <a:t>90%</a:t>
            </a:fld>
            <a:endParaRPr lang="en-US" sz="1000" dirty="0">
              <a:solidFill>
                <a:schemeClr val="bg1"/>
              </a:solidFill>
              <a:sym typeface="+mn-lt"/>
            </a:endParaRPr>
          </a:p>
        </p:txBody>
      </p:sp>
      <p:sp>
        <p:nvSpPr>
          <p:cNvPr id="18" name="Rectangle 17"/>
          <p:cNvSpPr/>
          <p:nvPr>
            <p:custDataLst>
              <p:tags r:id="rId67"/>
            </p:custDataLst>
          </p:nvPr>
        </p:nvSpPr>
        <p:spPr bwMode="gray">
          <a:xfrm>
            <a:off x="3990975" y="1652588"/>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79038E8-0C09-47A5-B220-B1B15FD37309}" type="datetime'''''''''''''''4''''''''''''''''''''''''''''''''%'''">
              <a:rPr lang="en-US" sz="1000">
                <a:solidFill>
                  <a:schemeClr val="bg1"/>
                </a:solidFill>
              </a:rPr>
              <a:pPr/>
              <a:t>4%</a:t>
            </a:fld>
            <a:endParaRPr lang="en-US" sz="1000">
              <a:solidFill>
                <a:schemeClr val="bg1"/>
              </a:solidFill>
              <a:sym typeface="+mn-lt"/>
            </a:endParaRPr>
          </a:p>
        </p:txBody>
      </p:sp>
      <p:sp>
        <p:nvSpPr>
          <p:cNvPr id="688" name="Rectangle 687"/>
          <p:cNvSpPr/>
          <p:nvPr>
            <p:custDataLst>
              <p:tags r:id="rId68"/>
            </p:custDataLst>
          </p:nvPr>
        </p:nvSpPr>
        <p:spPr bwMode="gray">
          <a:xfrm>
            <a:off x="4057650" y="18827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D9892A73-F043-4DFB-AE85-32E1C96D01B0}" type="datetime'''''3''''''''''''''''''''''''''''''''''''%'''''''">
              <a:rPr lang="en-US" sz="1000">
                <a:solidFill>
                  <a:schemeClr val="tx1"/>
                </a:solidFill>
              </a:rPr>
              <a:pPr/>
              <a:t>3%</a:t>
            </a:fld>
            <a:endParaRPr lang="en-US" sz="1000">
              <a:solidFill>
                <a:schemeClr val="tx1"/>
              </a:solidFill>
              <a:latin typeface="Calibri"/>
              <a:sym typeface="Calibri"/>
            </a:endParaRPr>
          </a:p>
        </p:txBody>
      </p:sp>
      <p:sp>
        <p:nvSpPr>
          <p:cNvPr id="637" name="Rectangle 636"/>
          <p:cNvSpPr/>
          <p:nvPr>
            <p:custDataLst>
              <p:tags r:id="rId69"/>
            </p:custDataLst>
          </p:nvPr>
        </p:nvSpPr>
        <p:spPr bwMode="auto">
          <a:xfrm>
            <a:off x="2112963" y="5486400"/>
            <a:ext cx="179388" cy="13335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8" name="Rectangle 637"/>
          <p:cNvSpPr/>
          <p:nvPr>
            <p:custDataLst>
              <p:tags r:id="rId70"/>
            </p:custDataLst>
          </p:nvPr>
        </p:nvSpPr>
        <p:spPr bwMode="auto">
          <a:xfrm>
            <a:off x="2112963" y="5689600"/>
            <a:ext cx="179388" cy="133350"/>
          </a:xfrm>
          <a:prstGeom prst="rect">
            <a:avLst/>
          </a:prstGeom>
          <a:solidFill>
            <a:srgbClr val="9DB1C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0" name="Rectangle 639"/>
          <p:cNvSpPr/>
          <p:nvPr>
            <p:custDataLst>
              <p:tags r:id="rId71"/>
            </p:custDataLst>
          </p:nvPr>
        </p:nvSpPr>
        <p:spPr bwMode="auto">
          <a:xfrm>
            <a:off x="2112963" y="6096000"/>
            <a:ext cx="179388" cy="133350"/>
          </a:xfrm>
          <a:prstGeom prst="rect">
            <a:avLst/>
          </a:prstGeom>
          <a:solidFill>
            <a:srgbClr val="DFE5E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7" name="Rectangle 806"/>
          <p:cNvSpPr/>
          <p:nvPr>
            <p:custDataLst>
              <p:tags r:id="rId72"/>
            </p:custDataLst>
          </p:nvPr>
        </p:nvSpPr>
        <p:spPr bwMode="auto">
          <a:xfrm>
            <a:off x="2112963" y="5283200"/>
            <a:ext cx="179388" cy="133350"/>
          </a:xfrm>
          <a:prstGeom prst="rect">
            <a:avLst/>
          </a:prstGeom>
          <a:solidFill>
            <a:srgbClr val="4C6C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9" name="Rectangle 638"/>
          <p:cNvSpPr/>
          <p:nvPr>
            <p:custDataLst>
              <p:tags r:id="rId73"/>
            </p:custDataLst>
          </p:nvPr>
        </p:nvSpPr>
        <p:spPr bwMode="auto">
          <a:xfrm>
            <a:off x="2112963" y="5892800"/>
            <a:ext cx="179388" cy="133350"/>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7" name="Rectangle 446"/>
          <p:cNvSpPr/>
          <p:nvPr>
            <p:custDataLst>
              <p:tags r:id="rId74"/>
            </p:custDataLst>
          </p:nvPr>
        </p:nvSpPr>
        <p:spPr bwMode="auto">
          <a:xfrm>
            <a:off x="2343150" y="6092825"/>
            <a:ext cx="1984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C467601-8D45-4205-8372-4A75A9E6D3AB}" type="datetime'''''''''K''''''''''''''''''''''''''''''''''''ita'''''''''''''">
              <a:rPr lang="en-US" sz="1000">
                <a:solidFill>
                  <a:schemeClr val="tx1"/>
                </a:solidFill>
                <a:sym typeface="+mn-lt"/>
              </a:rPr>
              <a:pPr/>
              <a:t>Kita</a:t>
            </a:fld>
            <a:endParaRPr lang="en-US" sz="1000">
              <a:solidFill>
                <a:schemeClr val="tx1"/>
              </a:solidFill>
              <a:sym typeface="+mn-lt"/>
            </a:endParaRPr>
          </a:p>
        </p:txBody>
      </p:sp>
      <p:sp>
        <p:nvSpPr>
          <p:cNvPr id="448" name="Rectangle 447"/>
          <p:cNvSpPr/>
          <p:nvPr>
            <p:custDataLst>
              <p:tags r:id="rId75"/>
            </p:custDataLst>
          </p:nvPr>
        </p:nvSpPr>
        <p:spPr bwMode="auto">
          <a:xfrm>
            <a:off x="2343150" y="5889625"/>
            <a:ext cx="1323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2B9ED35-DABC-467F-9599-B875F4DD7E17}" type="datetime'''''P''r''o''fes''''''''i''''''''nio ugd''''ymo įst''aiga'''''">
              <a:rPr lang="en-US" sz="1000">
                <a:solidFill>
                  <a:schemeClr val="tx1"/>
                </a:solidFill>
                <a:sym typeface="+mn-lt"/>
              </a:rPr>
              <a:pPr/>
              <a:t>Profesinio ugdymo įstaiga</a:t>
            </a:fld>
            <a:endParaRPr lang="en-US" sz="1000">
              <a:solidFill>
                <a:schemeClr val="tx1"/>
              </a:solidFill>
              <a:sym typeface="+mn-lt"/>
            </a:endParaRPr>
          </a:p>
        </p:txBody>
      </p:sp>
      <p:sp>
        <p:nvSpPr>
          <p:cNvPr id="771" name="Rectangle 770"/>
          <p:cNvSpPr/>
          <p:nvPr>
            <p:custDataLst>
              <p:tags r:id="rId76"/>
            </p:custDataLst>
          </p:nvPr>
        </p:nvSpPr>
        <p:spPr bwMode="auto">
          <a:xfrm>
            <a:off x="2343150" y="5280025"/>
            <a:ext cx="1379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5ED5D77-683A-40F4-96A5-0E30F9395F61}" type="datetime'''''B''e''''n''''''drojo ''u''''gd''y''mo ''mo''k''ykl''''a'">
              <a:rPr lang="en-US" sz="1000">
                <a:solidFill>
                  <a:schemeClr val="tx1"/>
                </a:solidFill>
                <a:sym typeface="+mn-lt"/>
              </a:rPr>
              <a:pPr>
                <a:spcBef>
                  <a:spcPct val="0"/>
                </a:spcBef>
                <a:spcAft>
                  <a:spcPct val="0"/>
                </a:spcAft>
              </a:pPr>
              <a:t>Bendrojo ugdymo mokykla</a:t>
            </a:fld>
            <a:endParaRPr lang="en-US" sz="1000" dirty="0">
              <a:solidFill>
                <a:schemeClr val="tx1"/>
              </a:solidFill>
              <a:sym typeface="+mn-lt"/>
            </a:endParaRPr>
          </a:p>
        </p:txBody>
      </p:sp>
      <p:sp>
        <p:nvSpPr>
          <p:cNvPr id="450" name="Rectangle 449"/>
          <p:cNvSpPr/>
          <p:nvPr>
            <p:custDataLst>
              <p:tags r:id="rId77"/>
            </p:custDataLst>
          </p:nvPr>
        </p:nvSpPr>
        <p:spPr bwMode="auto">
          <a:xfrm>
            <a:off x="2343150" y="5483225"/>
            <a:ext cx="15811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55A5245-2A55-4AC9-83F7-87A5EBB6297D}" type="datetime'''Iki''mo''k''y''k''''lin''io u''gdy''m''o mo''''k''''ykla'''">
              <a:rPr lang="en-US" sz="1000">
                <a:solidFill>
                  <a:schemeClr val="tx1"/>
                </a:solidFill>
                <a:sym typeface="+mn-lt"/>
              </a:rPr>
              <a:pPr/>
              <a:t>Ikimokyklinio ugdymo mokykla</a:t>
            </a:fld>
            <a:endParaRPr lang="en-US" sz="1000">
              <a:solidFill>
                <a:schemeClr val="tx1"/>
              </a:solidFill>
              <a:sym typeface="+mn-lt"/>
            </a:endParaRPr>
          </a:p>
        </p:txBody>
      </p:sp>
      <p:sp>
        <p:nvSpPr>
          <p:cNvPr id="449" name="Rectangle 448"/>
          <p:cNvSpPr/>
          <p:nvPr>
            <p:custDataLst>
              <p:tags r:id="rId78"/>
            </p:custDataLst>
          </p:nvPr>
        </p:nvSpPr>
        <p:spPr bwMode="auto">
          <a:xfrm>
            <a:off x="2343150" y="5686425"/>
            <a:ext cx="190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B7C978FE-2D60-4777-ADF6-0376869657BF}" type="datetime'N''e''''fo''''rm''a''li''ojo v''aikų švietimo mo''''''kykla'''">
              <a:rPr lang="en-US" sz="1000">
                <a:solidFill>
                  <a:schemeClr val="tx1"/>
                </a:solidFill>
                <a:sym typeface="+mn-lt"/>
              </a:rPr>
              <a:pPr/>
              <a:t>Neformaliojo vaikų švietimo mokykla</a:t>
            </a:fld>
            <a:endParaRPr lang="en-US" sz="1000">
              <a:solidFill>
                <a:schemeClr val="tx1"/>
              </a:solidFill>
              <a:sym typeface="+mn-lt"/>
            </a:endParaRPr>
          </a:p>
        </p:txBody>
      </p:sp>
      <p:sp>
        <p:nvSpPr>
          <p:cNvPr id="138" name="Rectangle 137"/>
          <p:cNvSpPr/>
          <p:nvPr/>
        </p:nvSpPr>
        <p:spPr>
          <a:xfrm>
            <a:off x="71500" y="1332120"/>
            <a:ext cx="8964996" cy="498930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54" name="Rectangle 153"/>
          <p:cNvSpPr/>
          <p:nvPr/>
        </p:nvSpPr>
        <p:spPr>
          <a:xfrm>
            <a:off x="5014913" y="1396206"/>
            <a:ext cx="3872495" cy="1125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Visuose regionuose didžiausią dalį užregistruotų ugdymo įstaigų sudaro bendrojo ugdymo mokyklos;</a:t>
            </a:r>
          </a:p>
          <a:p>
            <a:pPr marL="279450" lvl="0" indent="-171450" algn="just">
              <a:buFont typeface="Arial" panose="020B0604020202020204" pitchFamily="34" charset="0"/>
              <a:buChar char="•"/>
            </a:pPr>
            <a:r>
              <a:rPr lang="lt-LT" sz="1200" dirty="0" smtClean="0">
                <a:solidFill>
                  <a:prstClr val="black"/>
                </a:solidFill>
              </a:rPr>
              <a:t> Didesne ikimokyklinio ugdymo įstaigų dalimi išsiskiria Kauno ir Šiaulių regionai.</a:t>
            </a:r>
          </a:p>
        </p:txBody>
      </p:sp>
      <p:graphicFrame>
        <p:nvGraphicFramePr>
          <p:cNvPr id="155" name="Object 154"/>
          <p:cNvGraphicFramePr>
            <a:graphicFrameLocks/>
          </p:cNvGraphicFramePr>
          <p:nvPr>
            <p:custDataLst>
              <p:tags r:id="rId79"/>
            </p:custDataLst>
            <p:extLst>
              <p:ext uri="{D42A27DB-BD31-4B8C-83A1-F6EECF244321}">
                <p14:modId xmlns:p14="http://schemas.microsoft.com/office/powerpoint/2010/main" val="1793951668"/>
              </p:ext>
            </p:extLst>
          </p:nvPr>
        </p:nvGraphicFramePr>
        <p:xfrm>
          <a:off x="3962400" y="3390900"/>
          <a:ext cx="5172067" cy="952596"/>
        </p:xfrm>
        <a:graphic>
          <a:graphicData uri="http://schemas.openxmlformats.org/presentationml/2006/ole">
            <mc:AlternateContent xmlns:mc="http://schemas.openxmlformats.org/markup-compatibility/2006">
              <mc:Choice xmlns:v="urn:schemas-microsoft-com:vml" Requires="v">
                <p:oleObj spid="_x0000_s13349" name="Chart" r:id="rId95" imgW="5172240" imgH="952513" progId="MSGraph.Chart.8">
                  <p:embed followColorScheme="full"/>
                </p:oleObj>
              </mc:Choice>
              <mc:Fallback>
                <p:oleObj name="Chart" r:id="rId95" imgW="5172240" imgH="952513" progId="MSGraph.Chart.8">
                  <p:embed followColorScheme="full"/>
                  <p:pic>
                    <p:nvPicPr>
                      <p:cNvPr id="0" name=""/>
                      <p:cNvPicPr/>
                      <p:nvPr/>
                    </p:nvPicPr>
                    <p:blipFill>
                      <a:blip r:embed="rId96"/>
                      <a:stretch>
                        <a:fillRect/>
                      </a:stretch>
                    </p:blipFill>
                    <p:spPr>
                      <a:xfrm>
                        <a:off x="3962400" y="3390900"/>
                        <a:ext cx="5172067" cy="952596"/>
                      </a:xfrm>
                      <a:prstGeom prst="rect">
                        <a:avLst/>
                      </a:prstGeom>
                    </p:spPr>
                  </p:pic>
                </p:oleObj>
              </mc:Fallback>
            </mc:AlternateContent>
          </a:graphicData>
        </a:graphic>
      </p:graphicFrame>
      <p:sp>
        <p:nvSpPr>
          <p:cNvPr id="142" name="Rectangle 141"/>
          <p:cNvSpPr/>
          <p:nvPr>
            <p:custDataLst>
              <p:tags r:id="rId80"/>
            </p:custDataLst>
          </p:nvPr>
        </p:nvSpPr>
        <p:spPr bwMode="gray">
          <a:xfrm>
            <a:off x="8448675" y="3898900"/>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20FE77E-8639-4ACA-BE6E-330A8C1C2DBC}" type="datetime'''1''''''''''''''''%'''''''''''''''''''''''''">
              <a:rPr lang="en-US" sz="1000" smtClean="0">
                <a:solidFill>
                  <a:schemeClr val="tx1"/>
                </a:solidFill>
              </a:rPr>
              <a:pPr/>
              <a:t>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B8235E3-1732-4A8C-B715-5559231EEC2B}" type="datetime'''''''''''''''8'''''''''''''''''''''''''''''''''''">
              <a:rPr lang="en-US" sz="1000" smtClean="0">
                <a:solidFill>
                  <a:schemeClr val="tx1"/>
                </a:solidFill>
              </a:rPr>
              <a:pPr/>
              <a:t>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3" name="Rectangle 132"/>
          <p:cNvSpPr/>
          <p:nvPr>
            <p:custDataLst>
              <p:tags r:id="rId81"/>
            </p:custDataLst>
          </p:nvPr>
        </p:nvSpPr>
        <p:spPr bwMode="auto">
          <a:xfrm>
            <a:off x="7080250" y="4378325"/>
            <a:ext cx="94773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0E36EFD-BE51-48F3-A5CE-8E9F8D17EF47}" type="datetime'P''ro''''''''''''''''fe''sini''o'' u''gdy''mo įst''a''ig''''a'">
              <a:rPr lang="en-US" sz="1200">
                <a:solidFill>
                  <a:schemeClr val="tx1"/>
                </a:solidFill>
                <a:latin typeface="Calibri"/>
                <a:sym typeface="Calibri"/>
              </a:rPr>
              <a:pPr algn="ctr">
                <a:spcBef>
                  <a:spcPct val="0"/>
                </a:spcBef>
                <a:spcAft>
                  <a:spcPct val="0"/>
                </a:spcAft>
              </a:pPr>
              <a:t>Profesinio ugdymo įstaiga</a:t>
            </a:fld>
            <a:endParaRPr lang="en-US" sz="1200">
              <a:solidFill>
                <a:schemeClr val="tx1"/>
              </a:solidFill>
              <a:latin typeface="Calibri"/>
              <a:sym typeface="Calibri"/>
            </a:endParaRPr>
          </a:p>
        </p:txBody>
      </p:sp>
      <p:sp>
        <p:nvSpPr>
          <p:cNvPr id="141" name="Rectangle 140"/>
          <p:cNvSpPr/>
          <p:nvPr>
            <p:custDataLst>
              <p:tags r:id="rId82"/>
            </p:custDataLst>
          </p:nvPr>
        </p:nvSpPr>
        <p:spPr bwMode="gray">
          <a:xfrm>
            <a:off x="7432675" y="387032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160690C-79E0-413A-A067-60CF316452B2}" type="datetime'4''''%'''''''''''''''''''''''''">
              <a:rPr lang="en-US" sz="1000" smtClean="0">
                <a:solidFill>
                  <a:schemeClr val="tx1"/>
                </a:solidFill>
              </a:rPr>
              <a:pPr/>
              <a:t>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ED5228E9-AD5D-4754-9EA0-C64EE6623749}" type="datetime'''''''''''''2''9'''''''''''''''''''''''''''''''''''''''''">
              <a:rPr lang="en-US" sz="1000" smtClean="0">
                <a:solidFill>
                  <a:schemeClr val="tx1"/>
                </a:solidFill>
              </a:rPr>
              <a:pPr/>
              <a:t>2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4" name="Rectangle 133"/>
          <p:cNvSpPr/>
          <p:nvPr>
            <p:custDataLst>
              <p:tags r:id="rId83"/>
            </p:custDataLst>
          </p:nvPr>
        </p:nvSpPr>
        <p:spPr bwMode="auto">
          <a:xfrm>
            <a:off x="8418513" y="4378325"/>
            <a:ext cx="2508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2CC0888-A7CD-463E-8FD5-7A347F2DA26F}" type="datetime'''Ki''''ta'''''''''''''">
              <a:rPr lang="en-US" sz="1200">
                <a:solidFill>
                  <a:schemeClr val="tx1"/>
                </a:solidFill>
                <a:latin typeface="Calibri"/>
                <a:sym typeface="Calibri"/>
              </a:rPr>
              <a:pPr algn="ctr">
                <a:spcBef>
                  <a:spcPct val="0"/>
                </a:spcBef>
                <a:spcAft>
                  <a:spcPct val="0"/>
                </a:spcAft>
              </a:pPr>
              <a:t>Kita</a:t>
            </a:fld>
            <a:endParaRPr lang="en-US" sz="1200">
              <a:solidFill>
                <a:schemeClr val="tx1"/>
              </a:solidFill>
              <a:latin typeface="Calibri"/>
              <a:sym typeface="Calibri"/>
            </a:endParaRPr>
          </a:p>
        </p:txBody>
      </p:sp>
      <p:sp>
        <p:nvSpPr>
          <p:cNvPr id="132" name="Rectangle 131"/>
          <p:cNvSpPr/>
          <p:nvPr>
            <p:custDataLst>
              <p:tags r:id="rId84"/>
            </p:custDataLst>
          </p:nvPr>
        </p:nvSpPr>
        <p:spPr bwMode="auto">
          <a:xfrm>
            <a:off x="6107113" y="4378325"/>
            <a:ext cx="90170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EB72C6-DD97-48A9-9565-224118C0249D}" type="datetime'Nefor''mal''iojo va''ik''''''ų'' š''v''ie''ti''mo mo''kyk''la'">
              <a:rPr lang="en-US" sz="1200">
                <a:solidFill>
                  <a:schemeClr val="tx1"/>
                </a:solidFill>
                <a:latin typeface="Calibri"/>
                <a:sym typeface="Calibri"/>
              </a:rPr>
              <a:pPr algn="ctr">
                <a:spcBef>
                  <a:spcPct val="0"/>
                </a:spcBef>
                <a:spcAft>
                  <a:spcPct val="0"/>
                </a:spcAft>
              </a:pPr>
              <a:t>Neformaliojo vaikų švietimo mokykla</a:t>
            </a:fld>
            <a:endParaRPr lang="en-US" sz="1200">
              <a:solidFill>
                <a:schemeClr val="tx1"/>
              </a:solidFill>
              <a:latin typeface="Calibri"/>
              <a:sym typeface="Calibri"/>
            </a:endParaRPr>
          </a:p>
        </p:txBody>
      </p:sp>
      <p:sp>
        <p:nvSpPr>
          <p:cNvPr id="140" name="Rectangle 139"/>
          <p:cNvSpPr/>
          <p:nvPr>
            <p:custDataLst>
              <p:tags r:id="rId85"/>
            </p:custDataLst>
          </p:nvPr>
        </p:nvSpPr>
        <p:spPr bwMode="gray">
          <a:xfrm>
            <a:off x="6437313" y="38798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D8F64E2-952B-4007-B29C-70555E821BB2}" type="datetime'''''''''''''3''''%'''''''''''''''''''''''''''">
              <a:rPr lang="en-US" sz="1000" smtClean="0">
                <a:solidFill>
                  <a:schemeClr val="tx1"/>
                </a:solidFill>
              </a:rPr>
              <a:pPr/>
              <a:t>3%</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B40B3D81-0C3E-4080-A3BE-B2506D5BA560}" type="datetime'2''''''''''''''''''''''''''''''''''''4'''''''''''''''''''''''">
              <a:rPr lang="en-US" sz="1000" smtClean="0">
                <a:solidFill>
                  <a:schemeClr val="tx1"/>
                </a:solidFill>
              </a:rPr>
              <a:pPr/>
              <a:t>2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1" name="Rectangle 130"/>
          <p:cNvSpPr/>
          <p:nvPr>
            <p:custDataLst>
              <p:tags r:id="rId86"/>
            </p:custDataLst>
          </p:nvPr>
        </p:nvSpPr>
        <p:spPr bwMode="auto">
          <a:xfrm>
            <a:off x="5146675" y="4378325"/>
            <a:ext cx="83185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459E29-4F18-4E5B-B037-F181A75FDB7B}" type="datetime'Ikim''''okykli''n''io'' ugd''y''m''o'' moky''k''''''l''''a'''">
              <a:rPr lang="en-US" sz="1200">
                <a:solidFill>
                  <a:schemeClr val="tx1"/>
                </a:solidFill>
                <a:latin typeface="Calibri"/>
                <a:sym typeface="Calibri"/>
              </a:rPr>
              <a:pPr algn="ctr">
                <a:spcBef>
                  <a:spcPct val="0"/>
                </a:spcBef>
                <a:spcAft>
                  <a:spcPct val="0"/>
                </a:spcAft>
              </a:pPr>
              <a:t>Ikimokyklinio ugdymo mokykla</a:t>
            </a:fld>
            <a:endParaRPr lang="en-US" sz="1200">
              <a:solidFill>
                <a:schemeClr val="tx1"/>
              </a:solidFill>
              <a:latin typeface="Calibri"/>
              <a:sym typeface="Calibri"/>
            </a:endParaRPr>
          </a:p>
        </p:txBody>
      </p:sp>
      <p:sp>
        <p:nvSpPr>
          <p:cNvPr id="139" name="Rectangle 138"/>
          <p:cNvSpPr/>
          <p:nvPr>
            <p:custDataLst>
              <p:tags r:id="rId87"/>
            </p:custDataLst>
          </p:nvPr>
        </p:nvSpPr>
        <p:spPr bwMode="gray">
          <a:xfrm>
            <a:off x="5410200" y="37846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A0371D3-1637-4796-ADD2-3FD968A9D361}" type="datetime'''1''''''''4''''''''%'''''">
              <a:rPr lang="en-US" sz="1000" smtClean="0">
                <a:solidFill>
                  <a:schemeClr val="tx1"/>
                </a:solidFill>
              </a:rPr>
              <a:pPr/>
              <a:t>1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78B7926-3FB6-420A-8DF4-6D49E844592F}" type="datetime'''1''''''''''''''''''''''10'''''''''''''''''''">
              <a:rPr lang="en-US" sz="1000" smtClean="0">
                <a:solidFill>
                  <a:schemeClr val="tx1"/>
                </a:solidFill>
              </a:rPr>
              <a:pPr/>
              <a:t>11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0" name="Rectangle 129"/>
          <p:cNvSpPr/>
          <p:nvPr>
            <p:custDataLst>
              <p:tags r:id="rId88"/>
            </p:custDataLst>
          </p:nvPr>
        </p:nvSpPr>
        <p:spPr bwMode="auto">
          <a:xfrm>
            <a:off x="4281488" y="4378325"/>
            <a:ext cx="581025"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EACA9CB-80C5-4952-AFC6-B8AB4D8E0135}" type="datetime'''''Ben''dr''o''jo ''u''''g''dymo m''o''k''''''''y''''k''l''a'">
              <a:rPr lang="en-US" sz="1200">
                <a:solidFill>
                  <a:schemeClr val="tx1"/>
                </a:solidFill>
                <a:latin typeface="Calibri"/>
                <a:sym typeface="Calibri"/>
              </a:rPr>
              <a:pPr algn="ctr">
                <a:spcBef>
                  <a:spcPct val="0"/>
                </a:spcBef>
                <a:spcAft>
                  <a:spcPct val="0"/>
                </a:spcAft>
              </a:pPr>
              <a:t>Bendrojo ugdymo mokykla</a:t>
            </a:fld>
            <a:endParaRPr lang="en-US" sz="1200" dirty="0">
              <a:solidFill>
                <a:schemeClr val="tx1"/>
              </a:solidFill>
              <a:latin typeface="Calibri"/>
              <a:sym typeface="Calibri"/>
            </a:endParaRPr>
          </a:p>
        </p:txBody>
      </p:sp>
      <p:sp>
        <p:nvSpPr>
          <p:cNvPr id="136" name="Rectangle 135"/>
          <p:cNvSpPr/>
          <p:nvPr>
            <p:custDataLst>
              <p:tags r:id="rId89"/>
            </p:custDataLst>
          </p:nvPr>
        </p:nvSpPr>
        <p:spPr bwMode="gray">
          <a:xfrm>
            <a:off x="4419600" y="31940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EC92141-A526-4F1B-9C5C-003890986366}" type="datetime'''''''''''''7''8''''''''%'''''''''''''''''''''''''''''">
              <a:rPr lang="en-US" sz="1000" smtClean="0">
                <a:solidFill>
                  <a:schemeClr val="tx1"/>
                </a:solidFill>
              </a:rPr>
              <a:pPr/>
              <a:t>7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0E4512E-6D8E-4FFC-A85B-F09766D4F88C}" type="datetime'''''''''''''6''''''2''''1'''''''''">
              <a:rPr lang="en-US" sz="1000" smtClean="0">
                <a:solidFill>
                  <a:schemeClr val="tx1"/>
                </a:solidFill>
              </a:rPr>
              <a:pPr/>
              <a:t>62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74" name="Rectangle 273"/>
          <p:cNvSpPr/>
          <p:nvPr/>
        </p:nvSpPr>
        <p:spPr>
          <a:xfrm>
            <a:off x="4048125" y="3116263"/>
            <a:ext cx="4951412" cy="3205162"/>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73" name="Rectangle 272"/>
          <p:cNvSpPr/>
          <p:nvPr/>
        </p:nvSpPr>
        <p:spPr>
          <a:xfrm>
            <a:off x="4051300" y="2852738"/>
            <a:ext cx="4948065"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regionuose pagal ugdymo įstaigos tipą, </a:t>
            </a:r>
            <a:r>
              <a:rPr lang="lt-LT" sz="1200" dirty="0" err="1" smtClean="0">
                <a:solidFill>
                  <a:schemeClr val="bg1"/>
                </a:solidFill>
                <a:cs typeface="Cambria"/>
              </a:rPr>
              <a:t>proc</a:t>
            </a:r>
            <a:endParaRPr lang="lt-LT" sz="1200" dirty="0">
              <a:solidFill>
                <a:schemeClr val="bg1"/>
              </a:solidFill>
              <a:cs typeface="Cambria"/>
            </a:endParaRPr>
          </a:p>
        </p:txBody>
      </p:sp>
      <p:sp>
        <p:nvSpPr>
          <p:cNvPr id="137" name="Rectangle 136"/>
          <p:cNvSpPr/>
          <p:nvPr/>
        </p:nvSpPr>
        <p:spPr>
          <a:xfrm>
            <a:off x="113178" y="1108208"/>
            <a:ext cx="8964996" cy="28662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regionuose pagal ugdymo įstaigos tipą, </a:t>
            </a:r>
            <a:r>
              <a:rPr lang="lt-LT" sz="1200" dirty="0" err="1" smtClean="0">
                <a:solidFill>
                  <a:schemeClr val="bg1"/>
                </a:solidFill>
                <a:cs typeface="Cambria"/>
              </a:rPr>
              <a:t>proc</a:t>
            </a:r>
            <a:endParaRPr lang="lt-LT" sz="1200" dirty="0">
              <a:solidFill>
                <a:schemeClr val="bg1"/>
              </a:solidFill>
              <a:cs typeface="Cambria"/>
            </a:endParaRPr>
          </a:p>
        </p:txBody>
      </p:sp>
      <p:sp>
        <p:nvSpPr>
          <p:cNvPr id="275" name="Rectangle 274"/>
          <p:cNvSpPr/>
          <p:nvPr/>
        </p:nvSpPr>
        <p:spPr>
          <a:xfrm>
            <a:off x="4536995" y="5123656"/>
            <a:ext cx="3872495" cy="1125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ąją dalį visų užregistruotų įstaigų sudaro bendrojo ugdymo mokyklos (78 proc.);</a:t>
            </a:r>
          </a:p>
          <a:p>
            <a:pPr marL="279450" lvl="0" indent="-171450" algn="just">
              <a:buFont typeface="Arial" panose="020B0604020202020204" pitchFamily="34" charset="0"/>
              <a:buChar char="•"/>
            </a:pPr>
            <a:r>
              <a:rPr lang="lt-LT" sz="1200" dirty="0" smtClean="0">
                <a:solidFill>
                  <a:prstClr val="black"/>
                </a:solidFill>
              </a:rPr>
              <a:t>Įstaigų tipai grafike pažymėti kita apima: globos namus, atvirus jaunimo centrus, švietimo pagalbos įstaigas, kitas nei vienam iš nurodytų tipų nepriskiriamas įstaigas. </a:t>
            </a:r>
          </a:p>
        </p:txBody>
      </p:sp>
    </p:spTree>
    <p:extLst>
      <p:ext uri="{BB962C8B-B14F-4D97-AF65-F5344CB8AC3E}">
        <p14:creationId xmlns:p14="http://schemas.microsoft.com/office/powerpoint/2010/main" val="35395528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2559129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93" name="think-cell Slide" r:id="rId53" imgW="270" imgH="270" progId="TCLayout.ActiveDocument.1">
                  <p:embed/>
                </p:oleObj>
              </mc:Choice>
              <mc:Fallback>
                <p:oleObj name="think-cell Slide" r:id="rId53" imgW="270" imgH="270" progId="TCLayout.ActiveDocument.1">
                  <p:embed/>
                  <p:pic>
                    <p:nvPicPr>
                      <p:cNvPr id="0" name=""/>
                      <p:cNvPicPr/>
                      <p:nvPr/>
                    </p:nvPicPr>
                    <p:blipFill>
                      <a:blip r:embed="rId5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94" name="Rectangle 93"/>
          <p:cNvSpPr/>
          <p:nvPr/>
        </p:nvSpPr>
        <p:spPr>
          <a:xfrm>
            <a:off x="251520" y="1066800"/>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rolę mokykloje ir aktyvumą programoje eTwinning</a:t>
            </a:r>
            <a:endParaRPr lang="lt-LT" sz="1200" dirty="0">
              <a:solidFill>
                <a:schemeClr val="bg1"/>
              </a:solidFill>
              <a:cs typeface="Cambria"/>
            </a:endParaRPr>
          </a:p>
        </p:txBody>
      </p:sp>
      <p:sp>
        <p:nvSpPr>
          <p:cNvPr id="95" name="Rectangle 94"/>
          <p:cNvSpPr/>
          <p:nvPr/>
        </p:nvSpPr>
        <p:spPr>
          <a:xfrm>
            <a:off x="251520" y="1332121"/>
            <a:ext cx="8640960" cy="249292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 name="Title 1"/>
          <p:cNvSpPr>
            <a:spLocks noGrp="1"/>
          </p:cNvSpPr>
          <p:nvPr>
            <p:ph type="title"/>
          </p:nvPr>
        </p:nvSpPr>
        <p:spPr>
          <a:xfrm>
            <a:off x="304993" y="188640"/>
            <a:ext cx="8534014" cy="487362"/>
          </a:xfrm>
        </p:spPr>
        <p:txBody>
          <a:bodyPr>
            <a:noAutofit/>
          </a:bodyPr>
          <a:lstStyle/>
          <a:p>
            <a:r>
              <a:rPr lang="lt-LT" sz="2000" b="1" dirty="0">
                <a:solidFill>
                  <a:schemeClr val="tx2">
                    <a:lumMod val="75000"/>
                  </a:schemeClr>
                </a:solidFill>
              </a:rPr>
              <a:t>Didžioji dalis aktyvių vartotojų pagal rolę švietimo įstaigoje yra mokytojai; mokytojai taip pat yra įvykdę didžiąją dalį visų  projektų (94 proc.)</a:t>
            </a:r>
            <a:endParaRPr lang="en-US" sz="2000" b="1" dirty="0">
              <a:solidFill>
                <a:schemeClr val="tx2">
                  <a:lumMod val="75000"/>
                </a:schemeClr>
              </a:solidFil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3679829736"/>
              </p:ext>
            </p:extLst>
          </p:nvPr>
        </p:nvGraphicFramePr>
        <p:xfrm>
          <a:off x="381000" y="1638299"/>
          <a:ext cx="7448478" cy="1095390"/>
        </p:xfrm>
        <a:graphic>
          <a:graphicData uri="http://schemas.openxmlformats.org/presentationml/2006/ole">
            <mc:AlternateContent xmlns:mc="http://schemas.openxmlformats.org/markup-compatibility/2006">
              <mc:Choice xmlns:v="urn:schemas-microsoft-com:vml" Requires="v">
                <p:oleObj spid="_x0000_s14394" name="Chart" r:id="rId55" imgW="7448587" imgH="1095408" progId="MSGraph.Chart.8">
                  <p:embed followColorScheme="full"/>
                </p:oleObj>
              </mc:Choice>
              <mc:Fallback>
                <p:oleObj name="Chart" r:id="rId55" imgW="7448587" imgH="1095408" progId="MSGraph.Chart.8">
                  <p:embed followColorScheme="full"/>
                  <p:pic>
                    <p:nvPicPr>
                      <p:cNvPr id="0" name=""/>
                      <p:cNvPicPr/>
                      <p:nvPr/>
                    </p:nvPicPr>
                    <p:blipFill>
                      <a:blip r:embed="rId56"/>
                      <a:stretch>
                        <a:fillRect/>
                      </a:stretch>
                    </p:blipFill>
                    <p:spPr>
                      <a:xfrm>
                        <a:off x="381000" y="1638299"/>
                        <a:ext cx="7448478" cy="1095390"/>
                      </a:xfrm>
                      <a:prstGeom prst="rect">
                        <a:avLst/>
                      </a:prstGeom>
                    </p:spPr>
                  </p:pic>
                </p:oleObj>
              </mc:Fallback>
            </mc:AlternateContent>
          </a:graphicData>
        </a:graphic>
      </p:graphicFrame>
      <p:sp>
        <p:nvSpPr>
          <p:cNvPr id="88" name="Rectangle 87"/>
          <p:cNvSpPr/>
          <p:nvPr>
            <p:custDataLst>
              <p:tags r:id="rId5"/>
            </p:custDataLst>
          </p:nvPr>
        </p:nvSpPr>
        <p:spPr bwMode="auto">
          <a:xfrm>
            <a:off x="6853238" y="2759075"/>
            <a:ext cx="685800" cy="9128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0B15E65-EA26-4449-987D-B0F52CFDB9BB}" type="datetime'Program''os Comeni''us asistentas (C''omenius Ass''ista''nt)'">
              <a:rPr lang="en-US" sz="1200">
                <a:solidFill>
                  <a:schemeClr val="tx1"/>
                </a:solidFill>
                <a:sym typeface="+mn-lt"/>
              </a:rPr>
              <a:pPr algn="ctr">
                <a:spcBef>
                  <a:spcPct val="0"/>
                </a:spcBef>
                <a:spcAft>
                  <a:spcPct val="0"/>
                </a:spcAft>
              </a:pPr>
              <a:t>Programos Comenius asistentas (Comenius Assistant)</a:t>
            </a:fld>
            <a:endParaRPr lang="en-US" sz="1200">
              <a:solidFill>
                <a:schemeClr val="tx1"/>
              </a:solidFill>
              <a:sym typeface="+mn-lt"/>
            </a:endParaRPr>
          </a:p>
        </p:txBody>
      </p:sp>
      <p:sp>
        <p:nvSpPr>
          <p:cNvPr id="11" name="Rectangle 10"/>
          <p:cNvSpPr/>
          <p:nvPr>
            <p:custDataLst>
              <p:tags r:id="rId6"/>
            </p:custDataLst>
          </p:nvPr>
        </p:nvSpPr>
        <p:spPr bwMode="gray">
          <a:xfrm>
            <a:off x="7183438" y="22193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5DA4543-0D26-43AD-8306-F18C8DAEFE00}" type="datetime'''''''''''''''''''''''''''''''''''1'''''''''''''''">
              <a:rPr lang="en-US" sz="1200">
                <a:solidFill>
                  <a:schemeClr val="tx1"/>
                </a:solidFill>
                <a:sym typeface="+mn-lt"/>
              </a:rPr>
              <a:pPr algn="ctr">
                <a:spcBef>
                  <a:spcPct val="0"/>
                </a:spcBef>
                <a:spcAft>
                  <a:spcPct val="0"/>
                </a:spcAft>
              </a:pPr>
              <a:t>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D40EE287-2591-4B85-A50E-D7A420CF8D36}" type="datetime'''''''''''''''''3''3''''''''%'''''''''''''''''''''''''''">
              <a:rPr lang="en-US" sz="1200" smtClean="0">
                <a:solidFill>
                  <a:schemeClr val="tx1"/>
                </a:solidFill>
                <a:sym typeface="+mn-lt"/>
              </a:rPr>
              <a:pPr algn="ctr">
                <a:spcBef>
                  <a:spcPct val="0"/>
                </a:spcBef>
                <a:spcAft>
                  <a:spcPct val="0"/>
                </a:spcAft>
              </a:pPr>
              <a:t>33%</a:t>
            </a:fld>
            <a:r>
              <a:rPr lang="en-US" sz="1200" smtClean="0">
                <a:solidFill>
                  <a:schemeClr val="tx1"/>
                </a:solidFill>
                <a:sym typeface="+mn-lt"/>
              </a:rPr>
              <a:t>)</a:t>
            </a:r>
            <a:endParaRPr lang="en-US" sz="1200">
              <a:solidFill>
                <a:schemeClr val="tx1"/>
              </a:solidFill>
              <a:sym typeface="+mn-lt"/>
            </a:endParaRPr>
          </a:p>
        </p:txBody>
      </p:sp>
      <p:sp>
        <p:nvSpPr>
          <p:cNvPr id="135" name="Rectangle 134"/>
          <p:cNvSpPr/>
          <p:nvPr>
            <p:custDataLst>
              <p:tags r:id="rId7"/>
            </p:custDataLst>
          </p:nvPr>
        </p:nvSpPr>
        <p:spPr bwMode="gray">
          <a:xfrm>
            <a:off x="6816725" y="22098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FC6E770-A212-4DCF-95A9-7D9796E68B31}" type="datetime'''''''2'''''''''''''''''''''''''''''''''''''''''''''''">
              <a:rPr lang="en-US" sz="1200">
                <a:solidFill>
                  <a:schemeClr val="tx1"/>
                </a:solidFill>
                <a:sym typeface="+mn-lt"/>
              </a:rPr>
              <a:pPr algn="ctr">
                <a:spcBef>
                  <a:spcPct val="0"/>
                </a:spcBef>
                <a:spcAft>
                  <a:spcPct val="0"/>
                </a:spcAft>
              </a:pPr>
              <a:t>2</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846E0E6-5DAA-46DF-8341-D1971F4F264A}" type="datetime'''6''''''''''''7''''''''''''''''''''''''''''''''''''''''%'''''">
              <a:rPr lang="en-US" sz="1200" smtClean="0">
                <a:solidFill>
                  <a:schemeClr val="tx1"/>
                </a:solidFill>
                <a:sym typeface="+mn-lt"/>
              </a:rPr>
              <a:pPr algn="ctr">
                <a:spcBef>
                  <a:spcPct val="0"/>
                </a:spcBef>
                <a:spcAft>
                  <a:spcPct val="0"/>
                </a:spcAft>
              </a:pPr>
              <a:t>67%</a:t>
            </a:fld>
            <a:r>
              <a:rPr lang="en-US" sz="1200" smtClean="0">
                <a:solidFill>
                  <a:schemeClr val="tx1"/>
                </a:solidFill>
                <a:sym typeface="+mn-lt"/>
              </a:rPr>
              <a:t>)</a:t>
            </a:r>
            <a:endParaRPr lang="en-US" sz="1200">
              <a:solidFill>
                <a:schemeClr val="tx1"/>
              </a:solidFill>
              <a:sym typeface="+mn-lt"/>
            </a:endParaRPr>
          </a:p>
        </p:txBody>
      </p:sp>
      <p:sp>
        <p:nvSpPr>
          <p:cNvPr id="91" name="Rectangle 90"/>
          <p:cNvSpPr/>
          <p:nvPr>
            <p:custDataLst>
              <p:tags r:id="rId8"/>
            </p:custDataLst>
          </p:nvPr>
        </p:nvSpPr>
        <p:spPr bwMode="auto">
          <a:xfrm>
            <a:off x="5707063" y="2759075"/>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3CE699C-74BD-4302-B111-9177C5E94AAF}" type="datetime'I''KT'''''' koo''rdin''''ator''iu''s (ICT ''Coordi''n''ator)'">
              <a:rPr lang="en-US" sz="1200">
                <a:solidFill>
                  <a:schemeClr val="tx1"/>
                </a:solidFill>
                <a:sym typeface="+mn-lt"/>
              </a:rPr>
              <a:pPr algn="ctr">
                <a:spcBef>
                  <a:spcPct val="0"/>
                </a:spcBef>
                <a:spcAft>
                  <a:spcPct val="0"/>
                </a:spcAft>
              </a:pPr>
              <a:t>IKT koordinatorius (ICT Coordinator)</a:t>
            </a:fld>
            <a:endParaRPr lang="en-US" sz="1200">
              <a:solidFill>
                <a:schemeClr val="tx1"/>
              </a:solidFill>
              <a:sym typeface="+mn-lt"/>
            </a:endParaRPr>
          </a:p>
        </p:txBody>
      </p:sp>
      <p:sp>
        <p:nvSpPr>
          <p:cNvPr id="10" name="Rectangle 9"/>
          <p:cNvSpPr/>
          <p:nvPr>
            <p:custDataLst>
              <p:tags r:id="rId9"/>
            </p:custDataLst>
          </p:nvPr>
        </p:nvSpPr>
        <p:spPr bwMode="gray">
          <a:xfrm>
            <a:off x="6154738" y="21717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7FCE3A8-BB81-42E7-BBB6-D2DB31525B6B}" type="datetime'6'''''''''''''''''''''''''''''''''''''''''''''''">
              <a:rPr lang="en-US" sz="1200">
                <a:solidFill>
                  <a:schemeClr val="tx1"/>
                </a:solidFill>
                <a:sym typeface="+mn-lt"/>
              </a:rPr>
              <a:pPr algn="ctr">
                <a:spcBef>
                  <a:spcPct val="0"/>
                </a:spcBef>
                <a:spcAft>
                  <a:spcPct val="0"/>
                </a:spcAft>
              </a:pPr>
              <a:t>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2E1F514-EAA5-4845-9D48-A1C8329DC447}" type="datetime'''''''''''''3''''''''''''''''''''''''''''''''''''''''2''%'''">
              <a:rPr lang="en-US" sz="1200" smtClean="0">
                <a:solidFill>
                  <a:schemeClr val="tx1"/>
                </a:solidFill>
                <a:sym typeface="+mn-lt"/>
              </a:rPr>
              <a:pPr algn="ctr">
                <a:spcBef>
                  <a:spcPct val="0"/>
                </a:spcBef>
                <a:spcAft>
                  <a:spcPct val="0"/>
                </a:spcAft>
              </a:pPr>
              <a:t>32%</a:t>
            </a:fld>
            <a:r>
              <a:rPr lang="en-US" sz="1200" smtClean="0">
                <a:solidFill>
                  <a:schemeClr val="tx1"/>
                </a:solidFill>
                <a:sym typeface="+mn-lt"/>
              </a:rPr>
              <a:t>)</a:t>
            </a:r>
            <a:endParaRPr lang="en-US" sz="1200">
              <a:solidFill>
                <a:schemeClr val="tx1"/>
              </a:solidFill>
              <a:sym typeface="+mn-lt"/>
            </a:endParaRPr>
          </a:p>
        </p:txBody>
      </p:sp>
      <p:sp>
        <p:nvSpPr>
          <p:cNvPr id="134" name="Rectangle 133"/>
          <p:cNvSpPr/>
          <p:nvPr>
            <p:custDataLst>
              <p:tags r:id="rId10"/>
            </p:custDataLst>
          </p:nvPr>
        </p:nvSpPr>
        <p:spPr bwMode="gray">
          <a:xfrm>
            <a:off x="5788025" y="21050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648738A-65E7-45A9-9B84-4D9E18A131D3}" type="datetime'''''''1''''''''''''''''3'''''''''''''''''''''''''">
              <a:rPr lang="en-US" sz="1200">
                <a:solidFill>
                  <a:schemeClr val="tx1"/>
                </a:solidFill>
                <a:sym typeface="+mn-lt"/>
              </a:rPr>
              <a:pPr algn="ctr">
                <a:spcBef>
                  <a:spcPct val="0"/>
                </a:spcBef>
                <a:spcAft>
                  <a:spcPct val="0"/>
                </a:spcAft>
              </a:pPr>
              <a:t>1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F72E6191-6BE9-43CC-A303-46B0DA7D6F0C}" type="datetime'''''6''''''''''''''''''''''''8''''''''''''%'">
              <a:rPr lang="en-US" sz="1200" smtClean="0">
                <a:solidFill>
                  <a:schemeClr val="tx1"/>
                </a:solidFill>
                <a:sym typeface="+mn-lt"/>
              </a:rPr>
              <a:pPr algn="ctr">
                <a:spcBef>
                  <a:spcPct val="0"/>
                </a:spcBef>
                <a:spcAft>
                  <a:spcPct val="0"/>
                </a:spcAft>
              </a:pPr>
              <a:t>68%</a:t>
            </a:fld>
            <a:r>
              <a:rPr lang="en-US" sz="1200" smtClean="0">
                <a:solidFill>
                  <a:schemeClr val="tx1"/>
                </a:solidFill>
                <a:sym typeface="+mn-lt"/>
              </a:rPr>
              <a:t>)</a:t>
            </a:r>
            <a:endParaRPr lang="en-US" sz="1200">
              <a:solidFill>
                <a:schemeClr val="tx1"/>
              </a:solidFill>
              <a:sym typeface="+mn-lt"/>
            </a:endParaRPr>
          </a:p>
        </p:txBody>
      </p:sp>
      <p:sp>
        <p:nvSpPr>
          <p:cNvPr id="93" name="Rectangle 92"/>
          <p:cNvSpPr/>
          <p:nvPr>
            <p:custDataLst>
              <p:tags r:id="rId11"/>
            </p:custDataLst>
          </p:nvPr>
        </p:nvSpPr>
        <p:spPr bwMode="auto">
          <a:xfrm>
            <a:off x="4725988" y="2759075"/>
            <a:ext cx="825500"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B6EB85F-3F5B-4491-B8B6-0270F824A2FD}" type="datetime'Mo''''kyklo''s psi''ch''olog''a''s (School'' Psy''chologist)'">
              <a:rPr lang="en-US" sz="1200">
                <a:solidFill>
                  <a:schemeClr val="tx1"/>
                </a:solidFill>
                <a:sym typeface="+mn-lt"/>
              </a:rPr>
              <a:pPr algn="ctr">
                <a:spcBef>
                  <a:spcPct val="0"/>
                </a:spcBef>
                <a:spcAft>
                  <a:spcPct val="0"/>
                </a:spcAft>
              </a:pPr>
              <a:t>Mokyklos psichologas (School Psychologist)</a:t>
            </a:fld>
            <a:endParaRPr lang="en-US" sz="1200">
              <a:solidFill>
                <a:schemeClr val="tx1"/>
              </a:solidFill>
              <a:sym typeface="+mn-lt"/>
            </a:endParaRPr>
          </a:p>
        </p:txBody>
      </p:sp>
      <p:sp>
        <p:nvSpPr>
          <p:cNvPr id="9" name="Rectangle 8"/>
          <p:cNvSpPr/>
          <p:nvPr>
            <p:custDataLst>
              <p:tags r:id="rId12"/>
            </p:custDataLst>
          </p:nvPr>
        </p:nvSpPr>
        <p:spPr bwMode="gray">
          <a:xfrm>
            <a:off x="5126038" y="21717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636E794-175F-4C1C-BB2C-069E4A1855D6}" type="datetime'''''''''''''''''''''''''''''6'''''''''''''">
              <a:rPr lang="en-US" sz="1200">
                <a:solidFill>
                  <a:schemeClr val="tx1"/>
                </a:solidFill>
                <a:sym typeface="+mn-lt"/>
              </a:rPr>
              <a:pPr algn="ctr">
                <a:spcBef>
                  <a:spcPct val="0"/>
                </a:spcBef>
                <a:spcAft>
                  <a:spcPct val="0"/>
                </a:spcAft>
              </a:pPr>
              <a:t>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AE690C3-BF90-4472-91DD-9E2FC04C3335}" type="datetime'''''''''''''''''''''''''''2''''''7%'''''">
              <a:rPr lang="en-US" sz="1200" smtClean="0">
                <a:solidFill>
                  <a:schemeClr val="tx1"/>
                </a:solidFill>
                <a:sym typeface="+mn-lt"/>
              </a:rPr>
              <a:pPr algn="ctr">
                <a:spcBef>
                  <a:spcPct val="0"/>
                </a:spcBef>
                <a:spcAft>
                  <a:spcPct val="0"/>
                </a:spcAft>
              </a:pPr>
              <a:t>27%</a:t>
            </a:fld>
            <a:r>
              <a:rPr lang="en-US" sz="1200" smtClean="0">
                <a:solidFill>
                  <a:schemeClr val="tx1"/>
                </a:solidFill>
                <a:sym typeface="+mn-lt"/>
              </a:rPr>
              <a:t>)</a:t>
            </a:r>
            <a:endParaRPr lang="en-US" sz="1200">
              <a:solidFill>
                <a:schemeClr val="tx1"/>
              </a:solidFill>
              <a:sym typeface="+mn-lt"/>
            </a:endParaRPr>
          </a:p>
        </p:txBody>
      </p:sp>
      <p:sp>
        <p:nvSpPr>
          <p:cNvPr id="133" name="Rectangle 132"/>
          <p:cNvSpPr/>
          <p:nvPr>
            <p:custDataLst>
              <p:tags r:id="rId13"/>
            </p:custDataLst>
          </p:nvPr>
        </p:nvSpPr>
        <p:spPr bwMode="gray">
          <a:xfrm>
            <a:off x="4759325" y="207645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02E5DFB-19CF-4FF0-8C7D-F901439B48B2}" type="datetime'1''''''''''''''''''''''''''''''''''6'">
              <a:rPr lang="en-US" sz="1200">
                <a:solidFill>
                  <a:schemeClr val="tx1"/>
                </a:solidFill>
                <a:sym typeface="+mn-lt"/>
              </a:rPr>
              <a:pPr algn="ctr">
                <a:spcBef>
                  <a:spcPct val="0"/>
                </a:spcBef>
                <a:spcAft>
                  <a:spcPct val="0"/>
                </a:spcAft>
              </a:pPr>
              <a:t>1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20D82F0-22C3-4A9C-BA74-62328696C5EB}" type="datetime'7''''''''''''''''''''''''''''''''''''''''''3''''%'''''">
              <a:rPr lang="en-US" sz="1200" smtClean="0">
                <a:solidFill>
                  <a:schemeClr val="tx1"/>
                </a:solidFill>
                <a:sym typeface="+mn-lt"/>
              </a:rPr>
              <a:pPr algn="ctr">
                <a:spcBef>
                  <a:spcPct val="0"/>
                </a:spcBef>
                <a:spcAft>
                  <a:spcPct val="0"/>
                </a:spcAft>
              </a:pPr>
              <a:t>73%</a:t>
            </a:fld>
            <a:r>
              <a:rPr lang="en-US" sz="1200" smtClean="0">
                <a:solidFill>
                  <a:schemeClr val="tx1"/>
                </a:solidFill>
                <a:sym typeface="+mn-lt"/>
              </a:rPr>
              <a:t>)</a:t>
            </a:r>
            <a:endParaRPr lang="en-US" sz="1200">
              <a:solidFill>
                <a:schemeClr val="tx1"/>
              </a:solidFill>
              <a:sym typeface="+mn-lt"/>
            </a:endParaRPr>
          </a:p>
        </p:txBody>
      </p:sp>
      <p:sp>
        <p:nvSpPr>
          <p:cNvPr id="92" name="Rectangle 91"/>
          <p:cNvSpPr/>
          <p:nvPr>
            <p:custDataLst>
              <p:tags r:id="rId14"/>
            </p:custDataLst>
          </p:nvPr>
        </p:nvSpPr>
        <p:spPr bwMode="auto">
          <a:xfrm>
            <a:off x="3611563" y="2759075"/>
            <a:ext cx="9890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89D6199-ACE2-4FE9-B9A6-D6B7243A6BBE}" type="datetime'''''Bi''b''li''ote''''k''ini''''n''k''as (Libra''''ria''n'')'">
              <a:rPr lang="en-US" sz="1200">
                <a:solidFill>
                  <a:schemeClr val="tx1"/>
                </a:solidFill>
                <a:sym typeface="+mn-lt"/>
              </a:rPr>
              <a:pPr algn="ctr">
                <a:spcBef>
                  <a:spcPct val="0"/>
                </a:spcBef>
                <a:spcAft>
                  <a:spcPct val="0"/>
                </a:spcAft>
              </a:pPr>
              <a:t>Bibliotekininkas (Librarian)</a:t>
            </a:fld>
            <a:endParaRPr lang="en-US" sz="1200" dirty="0">
              <a:solidFill>
                <a:schemeClr val="tx1"/>
              </a:solidFill>
              <a:sym typeface="+mn-lt"/>
            </a:endParaRPr>
          </a:p>
        </p:txBody>
      </p:sp>
      <p:sp>
        <p:nvSpPr>
          <p:cNvPr id="8" name="Rectangle 7"/>
          <p:cNvSpPr/>
          <p:nvPr>
            <p:custDataLst>
              <p:tags r:id="rId15"/>
            </p:custDataLst>
          </p:nvPr>
        </p:nvSpPr>
        <p:spPr bwMode="gray">
          <a:xfrm>
            <a:off x="4130675" y="2219325"/>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6B33A71-08C1-40BE-A58E-8301F3C0F373}" type="datetime'''''1'''''''''''">
              <a:rPr lang="en-US" sz="1200">
                <a:solidFill>
                  <a:schemeClr val="tx1"/>
                </a:solidFill>
                <a:sym typeface="+mn-lt"/>
              </a:rPr>
              <a:pPr algn="ctr">
                <a:spcBef>
                  <a:spcPct val="0"/>
                </a:spcBef>
                <a:spcAft>
                  <a:spcPct val="0"/>
                </a:spcAft>
              </a:pPr>
              <a:t>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46BA0E3-67B5-4AE2-A13A-EA846112F400}" type="datetime'''''''''''''''''''''''''2''%'''''''''''''">
              <a:rPr lang="en-US" sz="1200" smtClean="0">
                <a:solidFill>
                  <a:schemeClr val="tx1"/>
                </a:solidFill>
                <a:sym typeface="+mn-lt"/>
              </a:rPr>
              <a:pPr algn="ctr">
                <a:spcBef>
                  <a:spcPct val="0"/>
                </a:spcBef>
                <a:spcAft>
                  <a:spcPct val="0"/>
                </a:spcAft>
              </a:pPr>
              <a:t>2%</a:t>
            </a:fld>
            <a:r>
              <a:rPr lang="en-US" sz="1200" smtClean="0">
                <a:solidFill>
                  <a:schemeClr val="tx1"/>
                </a:solidFill>
                <a:sym typeface="+mn-lt"/>
              </a:rPr>
              <a:t>)</a:t>
            </a:r>
            <a:endParaRPr lang="en-US" sz="1200">
              <a:solidFill>
                <a:schemeClr val="tx1"/>
              </a:solidFill>
              <a:sym typeface="+mn-lt"/>
            </a:endParaRPr>
          </a:p>
        </p:txBody>
      </p:sp>
      <p:sp>
        <p:nvSpPr>
          <p:cNvPr id="132" name="Rectangle 131"/>
          <p:cNvSpPr/>
          <p:nvPr>
            <p:custDataLst>
              <p:tags r:id="rId16"/>
            </p:custDataLst>
          </p:nvPr>
        </p:nvSpPr>
        <p:spPr bwMode="gray">
          <a:xfrm>
            <a:off x="3721100" y="18383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4F1B02E-0FD3-46EB-A4F8-8E2AA79C43E3}" type="datetime'''''''''''''''''''''''''''''''''''''4''''''''''''''''''1'">
              <a:rPr lang="en-US" sz="1200">
                <a:solidFill>
                  <a:schemeClr val="tx1"/>
                </a:solidFill>
                <a:sym typeface="+mn-lt"/>
              </a:rPr>
              <a:pPr algn="ctr">
                <a:spcBef>
                  <a:spcPct val="0"/>
                </a:spcBef>
                <a:spcAft>
                  <a:spcPct val="0"/>
                </a:spcAft>
              </a:pPr>
              <a:t>4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C1D8D7B-46A5-4678-87AE-E1AB98BBD278}" type="datetime'''''''''''9''''''''''''''''''''8''''''''''''''%'''''''''">
              <a:rPr lang="en-US" sz="1200" smtClean="0">
                <a:solidFill>
                  <a:schemeClr val="tx1"/>
                </a:solidFill>
                <a:sym typeface="+mn-lt"/>
              </a:rPr>
              <a:pPr algn="ctr">
                <a:spcBef>
                  <a:spcPct val="0"/>
                </a:spcBef>
                <a:spcAft>
                  <a:spcPct val="0"/>
                </a:spcAft>
              </a:pPr>
              <a:t>98%</a:t>
            </a:fld>
            <a:r>
              <a:rPr lang="en-US" sz="1200" smtClean="0">
                <a:solidFill>
                  <a:schemeClr val="tx1"/>
                </a:solidFill>
                <a:sym typeface="+mn-lt"/>
              </a:rPr>
              <a:t>)</a:t>
            </a:r>
            <a:endParaRPr lang="en-US" sz="1200">
              <a:solidFill>
                <a:schemeClr val="tx1"/>
              </a:solidFill>
              <a:sym typeface="+mn-lt"/>
            </a:endParaRPr>
          </a:p>
        </p:txBody>
      </p:sp>
      <p:sp>
        <p:nvSpPr>
          <p:cNvPr id="90" name="Rectangle 89"/>
          <p:cNvSpPr/>
          <p:nvPr>
            <p:custDataLst>
              <p:tags r:id="rId17"/>
            </p:custDataLst>
          </p:nvPr>
        </p:nvSpPr>
        <p:spPr bwMode="auto">
          <a:xfrm>
            <a:off x="2673350" y="2759075"/>
            <a:ext cx="798513"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AAF488E-B1BF-4525-895D-2807BD991126}" type="datetime'P''ed''agog''i''nis patarėjas'' ''''(Pedagogical A''dviser)'">
              <a:rPr lang="en-US" sz="1200">
                <a:solidFill>
                  <a:schemeClr val="tx1"/>
                </a:solidFill>
                <a:sym typeface="+mn-lt"/>
              </a:rPr>
              <a:pPr algn="ctr">
                <a:spcBef>
                  <a:spcPct val="0"/>
                </a:spcBef>
                <a:spcAft>
                  <a:spcPct val="0"/>
                </a:spcAft>
              </a:pPr>
              <a:t>Pedagoginis patarėjas (Pedagogical Adviser)</a:t>
            </a:fld>
            <a:endParaRPr lang="en-US" sz="1200">
              <a:solidFill>
                <a:schemeClr val="tx1"/>
              </a:solidFill>
              <a:sym typeface="+mn-lt"/>
            </a:endParaRPr>
          </a:p>
        </p:txBody>
      </p:sp>
      <p:sp>
        <p:nvSpPr>
          <p:cNvPr id="7" name="Rectangle 6"/>
          <p:cNvSpPr/>
          <p:nvPr>
            <p:custDataLst>
              <p:tags r:id="rId18"/>
            </p:custDataLst>
          </p:nvPr>
        </p:nvSpPr>
        <p:spPr bwMode="gray">
          <a:xfrm>
            <a:off x="3059113" y="21336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2C67990-4E7B-4D43-9808-C5C3E6B1494E}" type="datetime'''''''''''''1''''''''''''''''''''''0'''">
              <a:rPr lang="en-US" sz="1200">
                <a:solidFill>
                  <a:schemeClr val="tx1"/>
                </a:solidFill>
                <a:sym typeface="+mn-lt"/>
              </a:rPr>
              <a:pPr algn="ctr">
                <a:spcBef>
                  <a:spcPct val="0"/>
                </a:spcBef>
                <a:spcAft>
                  <a:spcPct val="0"/>
                </a:spcAft>
              </a:pPr>
              <a:t>1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D1AD3C94-E19F-4F7D-8FF3-B05079E07BFE}" type="datetime'''''''''''''''1''''''''''''''''8%'''''''''''''''''''''''''''">
              <a:rPr lang="en-US" sz="1200" smtClean="0">
                <a:solidFill>
                  <a:schemeClr val="tx1"/>
                </a:solidFill>
                <a:sym typeface="+mn-lt"/>
              </a:rPr>
              <a:pPr algn="ctr">
                <a:spcBef>
                  <a:spcPct val="0"/>
                </a:spcBef>
                <a:spcAft>
                  <a:spcPct val="0"/>
                </a:spcAft>
              </a:pPr>
              <a:t>18%</a:t>
            </a:fld>
            <a:r>
              <a:rPr lang="en-US" sz="1200" smtClean="0">
                <a:solidFill>
                  <a:schemeClr val="tx1"/>
                </a:solidFill>
                <a:sym typeface="+mn-lt"/>
              </a:rPr>
              <a:t>)</a:t>
            </a:r>
            <a:endParaRPr lang="en-US" sz="1200">
              <a:solidFill>
                <a:schemeClr val="tx1"/>
              </a:solidFill>
              <a:sym typeface="+mn-lt"/>
            </a:endParaRPr>
          </a:p>
        </p:txBody>
      </p:sp>
      <p:sp>
        <p:nvSpPr>
          <p:cNvPr id="131" name="Rectangle 130"/>
          <p:cNvSpPr/>
          <p:nvPr>
            <p:custDataLst>
              <p:tags r:id="rId19"/>
            </p:custDataLst>
          </p:nvPr>
        </p:nvSpPr>
        <p:spPr bwMode="gray">
          <a:xfrm>
            <a:off x="2692400" y="180975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C4B8BE3-2196-4BE4-933A-5E4D7B1DBD93}" type="datetime'''''''''''''''''''''''''''''''45'''''">
              <a:rPr lang="en-US" sz="1200">
                <a:solidFill>
                  <a:schemeClr val="tx1"/>
                </a:solidFill>
                <a:sym typeface="+mn-lt"/>
              </a:rPr>
              <a:pPr algn="ctr">
                <a:spcBef>
                  <a:spcPct val="0"/>
                </a:spcBef>
                <a:spcAft>
                  <a:spcPct val="0"/>
                </a:spcAft>
              </a:pPr>
              <a:t>4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0C2BA8A-93D8-4291-B5D5-11E01EEDD6CF}" type="datetime'''''''8''''''''''''''''''''''''''''''''2''''''''%'">
              <a:rPr lang="en-US" sz="1200" smtClean="0">
                <a:solidFill>
                  <a:schemeClr val="tx1"/>
                </a:solidFill>
                <a:sym typeface="+mn-lt"/>
              </a:rPr>
              <a:pPr algn="ctr">
                <a:spcBef>
                  <a:spcPct val="0"/>
                </a:spcBef>
                <a:spcAft>
                  <a:spcPct val="0"/>
                </a:spcAft>
              </a:pPr>
              <a:t>82%</a:t>
            </a:fld>
            <a:r>
              <a:rPr lang="en-US" sz="1200" smtClean="0">
                <a:solidFill>
                  <a:schemeClr val="tx1"/>
                </a:solidFill>
                <a:sym typeface="+mn-lt"/>
              </a:rPr>
              <a:t>)</a:t>
            </a:r>
            <a:endParaRPr lang="en-US" sz="1200">
              <a:solidFill>
                <a:schemeClr val="tx1"/>
              </a:solidFill>
              <a:sym typeface="+mn-lt"/>
            </a:endParaRPr>
          </a:p>
        </p:txBody>
      </p:sp>
      <p:sp>
        <p:nvSpPr>
          <p:cNvPr id="89" name="Rectangle 88"/>
          <p:cNvSpPr/>
          <p:nvPr>
            <p:custDataLst>
              <p:tags r:id="rId20"/>
            </p:custDataLst>
          </p:nvPr>
        </p:nvSpPr>
        <p:spPr bwMode="auto">
          <a:xfrm>
            <a:off x="1585913" y="2759075"/>
            <a:ext cx="91440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6435B5E-EB4F-461D-99E8-94257EBEDE2D}" type="datetime'''Direktorius (He''a''d'' Teacher ''/'' ''Princi''''pa''l)'">
              <a:rPr lang="en-US" sz="1200">
                <a:solidFill>
                  <a:schemeClr val="tx1"/>
                </a:solidFill>
                <a:sym typeface="+mn-lt"/>
              </a:rPr>
              <a:pPr algn="ctr">
                <a:spcBef>
                  <a:spcPct val="0"/>
                </a:spcBef>
                <a:spcAft>
                  <a:spcPct val="0"/>
                </a:spcAft>
              </a:pPr>
              <a:t>Direktorius (Head Teacher / Principal)</a:t>
            </a:fld>
            <a:endParaRPr lang="en-US" sz="1200">
              <a:solidFill>
                <a:schemeClr val="tx1"/>
              </a:solidFill>
              <a:sym typeface="+mn-lt"/>
            </a:endParaRPr>
          </a:p>
        </p:txBody>
      </p:sp>
      <p:sp>
        <p:nvSpPr>
          <p:cNvPr id="5" name="Rectangle 4"/>
          <p:cNvSpPr/>
          <p:nvPr>
            <p:custDataLst>
              <p:tags r:id="rId21"/>
            </p:custDataLst>
          </p:nvPr>
        </p:nvSpPr>
        <p:spPr bwMode="gray">
          <a:xfrm>
            <a:off x="2030413" y="19907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E2C3B00-4E9E-4C0A-8133-4EB9333056C4}" type="datetime'''''''''''''''''''2''''''''''''''''''''''''5'''''''''">
              <a:rPr lang="en-US" sz="1200">
                <a:solidFill>
                  <a:schemeClr val="tx1"/>
                </a:solidFill>
                <a:sym typeface="+mn-lt"/>
              </a:rPr>
              <a:pPr algn="ctr">
                <a:spcBef>
                  <a:spcPct val="0"/>
                </a:spcBef>
                <a:spcAft>
                  <a:spcPct val="0"/>
                </a:spcAft>
              </a:pPr>
              <a:t>2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0E39F8B-344B-4CD9-A58A-73D12E516B7A}" type="datetime'''''''''2''''''''''''''''''''''''''''''''''6''''''''''%'''">
              <a:rPr lang="en-US" sz="1200" smtClean="0">
                <a:solidFill>
                  <a:schemeClr val="tx1"/>
                </a:solidFill>
                <a:sym typeface="+mn-lt"/>
              </a:rPr>
              <a:pPr algn="ctr">
                <a:spcBef>
                  <a:spcPct val="0"/>
                </a:spcBef>
                <a:spcAft>
                  <a:spcPct val="0"/>
                </a:spcAft>
              </a:pPr>
              <a:t>26%</a:t>
            </a:fld>
            <a:r>
              <a:rPr lang="en-US" sz="1200" smtClean="0">
                <a:solidFill>
                  <a:schemeClr val="tx1"/>
                </a:solidFill>
                <a:sym typeface="+mn-lt"/>
              </a:rPr>
              <a:t>)</a:t>
            </a:r>
            <a:endParaRPr lang="en-US" sz="1200">
              <a:solidFill>
                <a:schemeClr val="tx1"/>
              </a:solidFill>
              <a:sym typeface="+mn-lt"/>
            </a:endParaRPr>
          </a:p>
        </p:txBody>
      </p:sp>
      <p:sp>
        <p:nvSpPr>
          <p:cNvPr id="130" name="Rectangle 129"/>
          <p:cNvSpPr/>
          <p:nvPr>
            <p:custDataLst>
              <p:tags r:id="rId22"/>
            </p:custDataLst>
          </p:nvPr>
        </p:nvSpPr>
        <p:spPr bwMode="gray">
          <a:xfrm>
            <a:off x="1663700" y="15621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D9354A7-A18C-4C3F-90A9-DF5A84B4DC15}" type="datetime'''''''''''''''7''1'''''">
              <a:rPr lang="en-US" sz="1200">
                <a:solidFill>
                  <a:schemeClr val="tx1"/>
                </a:solidFill>
                <a:sym typeface="+mn-lt"/>
              </a:rPr>
              <a:pPr algn="ctr">
                <a:spcBef>
                  <a:spcPct val="0"/>
                </a:spcBef>
                <a:spcAft>
                  <a:spcPct val="0"/>
                </a:spcAft>
              </a:pPr>
              <a:t>7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497B8EC-81A6-4F14-9CD4-FCBF1E9C8DFF}" type="datetime'''''''''7''''''''''''''4''''''''%'''''''''''''''''''">
              <a:rPr lang="en-US" sz="1200" smtClean="0">
                <a:solidFill>
                  <a:schemeClr val="tx1"/>
                </a:solidFill>
                <a:sym typeface="+mn-lt"/>
              </a:rPr>
              <a:pPr algn="ctr">
                <a:spcBef>
                  <a:spcPct val="0"/>
                </a:spcBef>
                <a:spcAft>
                  <a:spcPct val="0"/>
                </a:spcAft>
              </a:pPr>
              <a:t>74%</a:t>
            </a:fld>
            <a:r>
              <a:rPr lang="en-US" sz="1200" smtClean="0">
                <a:solidFill>
                  <a:schemeClr val="tx1"/>
                </a:solidFill>
                <a:sym typeface="+mn-lt"/>
              </a:rPr>
              <a:t>)</a:t>
            </a:r>
            <a:endParaRPr lang="en-US" sz="1200">
              <a:solidFill>
                <a:schemeClr val="tx1"/>
              </a:solidFill>
              <a:sym typeface="+mn-lt"/>
            </a:endParaRPr>
          </a:p>
        </p:txBody>
      </p:sp>
      <p:sp>
        <p:nvSpPr>
          <p:cNvPr id="59" name="Rectangle 58"/>
          <p:cNvSpPr/>
          <p:nvPr>
            <p:custDataLst>
              <p:tags r:id="rId23"/>
            </p:custDataLst>
          </p:nvPr>
        </p:nvSpPr>
        <p:spPr bwMode="auto">
          <a:xfrm>
            <a:off x="554038" y="2759075"/>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A310D77-43B0-49A7-93D0-456DA6C614EE}" type="datetime'Karjer''o''s koordinat''''orius (C''are''ers'' ''''Guidance)'">
              <a:rPr lang="en-US" sz="1200">
                <a:solidFill>
                  <a:schemeClr val="tx1"/>
                </a:solidFill>
                <a:sym typeface="+mn-lt"/>
              </a:rPr>
              <a:pPr/>
              <a:t>Karjeros koordinatorius (Careers Guidance)</a:t>
            </a:fld>
            <a:endParaRPr lang="en-US" sz="1200" dirty="0">
              <a:solidFill>
                <a:schemeClr val="tx1"/>
              </a:solidFill>
              <a:sym typeface="+mn-lt"/>
            </a:endParaRPr>
          </a:p>
        </p:txBody>
      </p:sp>
      <p:sp>
        <p:nvSpPr>
          <p:cNvPr id="4" name="Rectangle 3"/>
          <p:cNvSpPr/>
          <p:nvPr>
            <p:custDataLst>
              <p:tags r:id="rId24"/>
            </p:custDataLst>
          </p:nvPr>
        </p:nvSpPr>
        <p:spPr bwMode="gray">
          <a:xfrm>
            <a:off x="1039813" y="21526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F00B74F-B119-47DC-88D7-0F60CD62FC40}" type="datetime'8'''''''''''''''''''''''''''''''''''''''''''''''">
              <a:rPr lang="en-US" sz="1200">
                <a:solidFill>
                  <a:schemeClr val="tx1"/>
                </a:solidFill>
                <a:latin typeface="Calibri"/>
                <a:sym typeface="Calibri"/>
              </a:rPr>
              <a:pPr algn="ctr">
                <a:spcBef>
                  <a:spcPct val="0"/>
                </a:spcBef>
                <a:spcAft>
                  <a:spcPct val="0"/>
                </a:spcAft>
              </a:pPr>
              <a:t>8</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C9B1404D-2923-490F-81B7-D2711F0259FD}" type="datetime'''''8''''''''''''''''%'''''''''''''''''''''''''''">
              <a:rPr lang="en-US" sz="1200" smtClean="0">
                <a:solidFill>
                  <a:schemeClr val="tx1"/>
                </a:solidFill>
                <a:latin typeface="Calibri"/>
                <a:sym typeface="Calibri"/>
              </a:rPr>
              <a:pPr algn="ctr">
                <a:spcBef>
                  <a:spcPct val="0"/>
                </a:spcBef>
                <a:spcAft>
                  <a:spcPct val="0"/>
                </a:spcAft>
              </a:pPr>
              <a:t>8%</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29" name="Rectangle 128"/>
          <p:cNvSpPr/>
          <p:nvPr>
            <p:custDataLst>
              <p:tags r:id="rId25"/>
            </p:custDataLst>
          </p:nvPr>
        </p:nvSpPr>
        <p:spPr bwMode="gray">
          <a:xfrm>
            <a:off x="635000" y="13811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CA0C749-A021-4DAE-A98D-3E9689BC87DA}" type="datetime'''''''''''''''90'''''''''''''''''''''''''''''''''''">
              <a:rPr lang="en-US" sz="1200">
                <a:solidFill>
                  <a:schemeClr val="tx1"/>
                </a:solidFill>
                <a:sym typeface="+mn-lt"/>
              </a:rPr>
              <a:pPr algn="ctr">
                <a:spcBef>
                  <a:spcPct val="0"/>
                </a:spcBef>
                <a:spcAft>
                  <a:spcPct val="0"/>
                </a:spcAft>
              </a:pPr>
              <a:t>9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C338CDDF-0F59-4033-8FA5-235E9A79D5C3}" type="datetime'9''''''''''''''''''''''''''2''''''''''''''''%'''''''''''''''">
              <a:rPr lang="en-US" sz="1200" smtClean="0">
                <a:solidFill>
                  <a:schemeClr val="tx1"/>
                </a:solidFill>
                <a:sym typeface="+mn-lt"/>
              </a:rPr>
              <a:pPr algn="ctr">
                <a:spcBef>
                  <a:spcPct val="0"/>
                </a:spcBef>
                <a:spcAft>
                  <a:spcPct val="0"/>
                </a:spcAft>
              </a:pPr>
              <a:t>92%</a:t>
            </a:fld>
            <a:r>
              <a:rPr lang="en-US" sz="1200" smtClean="0">
                <a:solidFill>
                  <a:schemeClr val="tx1"/>
                </a:solidFill>
                <a:sym typeface="+mn-lt"/>
              </a:rPr>
              <a:t>)</a:t>
            </a:r>
            <a:endParaRPr lang="en-US" sz="1200">
              <a:solidFill>
                <a:schemeClr val="tx1"/>
              </a:solidFill>
              <a:sym typeface="+mn-lt"/>
            </a:endParaRPr>
          </a:p>
        </p:txBody>
      </p:sp>
      <p:sp>
        <p:nvSpPr>
          <p:cNvPr id="72" name="Rectangle 71"/>
          <p:cNvSpPr/>
          <p:nvPr>
            <p:custDataLst>
              <p:tags r:id="rId26"/>
            </p:custDataLst>
          </p:nvPr>
        </p:nvSpPr>
        <p:spPr bwMode="auto">
          <a:xfrm>
            <a:off x="6426200" y="1431925"/>
            <a:ext cx="214313"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custDataLst>
              <p:tags r:id="rId27"/>
            </p:custDataLst>
          </p:nvPr>
        </p:nvSpPr>
        <p:spPr bwMode="auto">
          <a:xfrm>
            <a:off x="5414963" y="1431925"/>
            <a:ext cx="214313"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custDataLst>
              <p:tags r:id="rId28"/>
            </p:custDataLst>
          </p:nvPr>
        </p:nvSpPr>
        <p:spPr bwMode="auto">
          <a:xfrm>
            <a:off x="6691313" y="1427163"/>
            <a:ext cx="485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54CE6F9-8989-46E8-944D-7CCFD2C36D11}" type="datetime'''''Ak''''''''ty''''''''vū''''''''''''''''s'''''''">
              <a:rPr lang="en-US" sz="1200">
                <a:solidFill>
                  <a:schemeClr val="tx1"/>
                </a:solidFill>
                <a:sym typeface="+mn-lt"/>
              </a:rPr>
              <a:pPr>
                <a:spcBef>
                  <a:spcPct val="0"/>
                </a:spcBef>
                <a:spcAft>
                  <a:spcPct val="0"/>
                </a:spcAft>
              </a:pPr>
              <a:t>Aktyvūs</a:t>
            </a:fld>
            <a:endParaRPr lang="en-US" sz="1200">
              <a:solidFill>
                <a:schemeClr val="tx1"/>
              </a:solidFill>
              <a:sym typeface="+mn-lt"/>
            </a:endParaRPr>
          </a:p>
        </p:txBody>
      </p:sp>
      <p:sp>
        <p:nvSpPr>
          <p:cNvPr id="69" name="Rectangle 68"/>
          <p:cNvSpPr/>
          <p:nvPr>
            <p:custDataLst>
              <p:tags r:id="rId29"/>
            </p:custDataLst>
          </p:nvPr>
        </p:nvSpPr>
        <p:spPr bwMode="auto">
          <a:xfrm>
            <a:off x="5680075" y="1427163"/>
            <a:ext cx="644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DBA3C481-63F7-45CD-846D-19F40BD084E1}" type="datetime'''''''N''''''''''''e''''a''k''''t''''''y''''v''''''''ū''''s'">
              <a:rPr lang="en-US" sz="1200">
                <a:solidFill>
                  <a:schemeClr val="tx1"/>
                </a:solidFill>
                <a:sym typeface="+mn-lt"/>
              </a:rPr>
              <a:pPr>
                <a:spcBef>
                  <a:spcPct val="0"/>
                </a:spcBef>
                <a:spcAft>
                  <a:spcPct val="0"/>
                </a:spcAft>
              </a:pPr>
              <a:t>Neaktyvūs</a:t>
            </a:fld>
            <a:endParaRPr lang="en-US" sz="1200" dirty="0">
              <a:solidFill>
                <a:schemeClr val="tx1"/>
              </a:solidFill>
              <a:sym typeface="+mn-lt"/>
            </a:endParaRPr>
          </a:p>
        </p:txBody>
      </p:sp>
      <p:graphicFrame>
        <p:nvGraphicFramePr>
          <p:cNvPr id="73" name="Object 72"/>
          <p:cNvGraphicFramePr>
            <a:graphicFrameLocks/>
          </p:cNvGraphicFramePr>
          <p:nvPr>
            <p:custDataLst>
              <p:tags r:id="rId30"/>
            </p:custDataLst>
            <p:extLst>
              <p:ext uri="{D42A27DB-BD31-4B8C-83A1-F6EECF244321}">
                <p14:modId xmlns:p14="http://schemas.microsoft.com/office/powerpoint/2010/main" val="1246312687"/>
              </p:ext>
            </p:extLst>
          </p:nvPr>
        </p:nvGraphicFramePr>
        <p:xfrm>
          <a:off x="7772400" y="1714500"/>
          <a:ext cx="1381017" cy="1276246"/>
        </p:xfrm>
        <a:graphic>
          <a:graphicData uri="http://schemas.openxmlformats.org/presentationml/2006/ole">
            <mc:AlternateContent xmlns:mc="http://schemas.openxmlformats.org/markup-compatibility/2006">
              <mc:Choice xmlns:v="urn:schemas-microsoft-com:vml" Requires="v">
                <p:oleObj spid="_x0000_s14395" name="Chart" r:id="rId57" imgW="1381253" imgH="1276220" progId="MSGraph.Chart.8">
                  <p:embed followColorScheme="full"/>
                </p:oleObj>
              </mc:Choice>
              <mc:Fallback>
                <p:oleObj name="Chart" r:id="rId57" imgW="1381253" imgH="1276220" progId="MSGraph.Chart.8">
                  <p:embed followColorScheme="full"/>
                  <p:pic>
                    <p:nvPicPr>
                      <p:cNvPr id="0" name=""/>
                      <p:cNvPicPr/>
                      <p:nvPr/>
                    </p:nvPicPr>
                    <p:blipFill>
                      <a:blip r:embed="rId58"/>
                      <a:stretch>
                        <a:fillRect/>
                      </a:stretch>
                    </p:blipFill>
                    <p:spPr>
                      <a:xfrm>
                        <a:off x="7772400" y="1714500"/>
                        <a:ext cx="1381017" cy="1276246"/>
                      </a:xfrm>
                      <a:prstGeom prst="rect">
                        <a:avLst/>
                      </a:prstGeom>
                    </p:spPr>
                  </p:pic>
                </p:oleObj>
              </mc:Fallback>
            </mc:AlternateContent>
          </a:graphicData>
        </a:graphic>
      </p:graphicFrame>
      <p:sp>
        <p:nvSpPr>
          <p:cNvPr id="81" name="Rectangle 80"/>
          <p:cNvSpPr/>
          <p:nvPr>
            <p:custDataLst>
              <p:tags r:id="rId31"/>
            </p:custDataLst>
          </p:nvPr>
        </p:nvSpPr>
        <p:spPr bwMode="auto">
          <a:xfrm>
            <a:off x="8093075" y="2994025"/>
            <a:ext cx="5508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98573BD-92B5-4E04-A191-AE9F4FF11509}" type="datetime'Moky''to''''ja''''s'' ''''''''''(''''''''Te''a''''c''''''her)'">
              <a:rPr lang="en-US" sz="1000">
                <a:solidFill>
                  <a:schemeClr val="tx1"/>
                </a:solidFill>
              </a:rPr>
              <a:pPr/>
              <a:t>Mokytojas (Teacher)</a:t>
            </a:fld>
            <a:endParaRPr lang="en-US" sz="1000" dirty="0">
              <a:solidFill>
                <a:schemeClr val="tx1"/>
              </a:solidFill>
              <a:latin typeface="Calibri"/>
              <a:sym typeface="Calibri"/>
            </a:endParaRPr>
          </a:p>
        </p:txBody>
      </p:sp>
      <p:sp>
        <p:nvSpPr>
          <p:cNvPr id="87" name="Rectangle 86"/>
          <p:cNvSpPr/>
          <p:nvPr>
            <p:custDataLst>
              <p:tags r:id="rId32"/>
            </p:custDataLst>
          </p:nvPr>
        </p:nvSpPr>
        <p:spPr bwMode="gray">
          <a:xfrm>
            <a:off x="8377238" y="19431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502C6E7-0E19-44D0-A930-C9BC3F3F0B94}" type="datetime'''''''''''''''''''7''''''''''''''''''''''82'''''''">
              <a:rPr lang="en-US" sz="1200" smtClean="0">
                <a:solidFill>
                  <a:schemeClr val="tx1"/>
                </a:solidFill>
              </a:rPr>
              <a:pPr/>
              <a:t>782</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4F18B55C-0AFB-4861-8181-A06802620B3A}" type="datetime'''''''''''''''''''3''4''''''''''''''''''''''%'''''''">
              <a:rPr lang="en-US" sz="1200" smtClean="0">
                <a:solidFill>
                  <a:schemeClr val="tx1"/>
                </a:solidFill>
              </a:rPr>
              <a:pPr/>
              <a:t>34%</a:t>
            </a:fld>
            <a:r>
              <a:rPr lang="en-US" sz="1200" dirty="0" smtClean="0">
                <a:solidFill>
                  <a:schemeClr val="tx1"/>
                </a:solidFill>
                <a:sym typeface="+mn-lt"/>
              </a:rPr>
              <a:t>)</a:t>
            </a:r>
            <a:endParaRPr lang="en-US" sz="1200" dirty="0">
              <a:solidFill>
                <a:schemeClr val="tx1"/>
              </a:solidFill>
              <a:sym typeface="+mn-lt"/>
            </a:endParaRPr>
          </a:p>
        </p:txBody>
      </p:sp>
      <p:sp>
        <p:nvSpPr>
          <p:cNvPr id="86" name="Rectangle 85"/>
          <p:cNvSpPr/>
          <p:nvPr>
            <p:custDataLst>
              <p:tags r:id="rId33"/>
            </p:custDataLst>
          </p:nvPr>
        </p:nvSpPr>
        <p:spPr bwMode="gray">
          <a:xfrm>
            <a:off x="8007350" y="14478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B98D3F5-994D-4215-87BB-371D9DC50359}" type="datetime'''''''''1''''.''''''''''4''''''''''''''94'''''">
              <a:rPr lang="en-US" sz="1200" smtClean="0">
                <a:solidFill>
                  <a:schemeClr val="tx1"/>
                </a:solidFill>
              </a:rPr>
              <a:pPr/>
              <a:t>1.494</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605E35E1-EEC0-4082-BF60-B3D148672F1D}" type="datetime'''6''''''''''6''''''%'''''''''''''''''''''''''''''''">
              <a:rPr lang="en-US" sz="1200" smtClean="0">
                <a:solidFill>
                  <a:schemeClr val="tx1"/>
                </a:solidFill>
              </a:rPr>
              <a:pPr/>
              <a:t>66%</a:t>
            </a:fld>
            <a:r>
              <a:rPr lang="en-US" sz="1200" dirty="0" smtClean="0">
                <a:solidFill>
                  <a:schemeClr val="tx1"/>
                </a:solidFill>
                <a:sym typeface="+mn-lt"/>
              </a:rPr>
              <a:t>)</a:t>
            </a:r>
            <a:endParaRPr lang="en-US" sz="1200" dirty="0">
              <a:solidFill>
                <a:schemeClr val="tx1"/>
              </a:solidFill>
              <a:sym typeface="+mn-lt"/>
            </a:endParaRPr>
          </a:p>
        </p:txBody>
      </p:sp>
      <p:graphicFrame>
        <p:nvGraphicFramePr>
          <p:cNvPr id="96" name="Object 95"/>
          <p:cNvGraphicFramePr>
            <a:graphicFrameLocks/>
          </p:cNvGraphicFramePr>
          <p:nvPr>
            <p:custDataLst>
              <p:tags r:id="rId34"/>
            </p:custDataLst>
            <p:extLst>
              <p:ext uri="{D42A27DB-BD31-4B8C-83A1-F6EECF244321}">
                <p14:modId xmlns:p14="http://schemas.microsoft.com/office/powerpoint/2010/main" val="2485849887"/>
              </p:ext>
            </p:extLst>
          </p:nvPr>
        </p:nvGraphicFramePr>
        <p:xfrm>
          <a:off x="190499" y="4457700"/>
          <a:ext cx="7667670" cy="914535"/>
        </p:xfrm>
        <a:graphic>
          <a:graphicData uri="http://schemas.openxmlformats.org/presentationml/2006/ole">
            <mc:AlternateContent xmlns:mc="http://schemas.openxmlformats.org/markup-compatibility/2006">
              <mc:Choice xmlns:v="urn:schemas-microsoft-com:vml" Requires="v">
                <p:oleObj spid="_x0000_s14396" name="Chart" r:id="rId59" imgW="7667621" imgH="914244" progId="MSGraph.Chart.8">
                  <p:embed followColorScheme="full"/>
                </p:oleObj>
              </mc:Choice>
              <mc:Fallback>
                <p:oleObj name="Chart" r:id="rId59" imgW="7667621" imgH="914244" progId="MSGraph.Chart.8">
                  <p:embed followColorScheme="full"/>
                  <p:pic>
                    <p:nvPicPr>
                      <p:cNvPr id="0" name=""/>
                      <p:cNvPicPr/>
                      <p:nvPr/>
                    </p:nvPicPr>
                    <p:blipFill>
                      <a:blip r:embed="rId60"/>
                      <a:stretch>
                        <a:fillRect/>
                      </a:stretch>
                    </p:blipFill>
                    <p:spPr>
                      <a:xfrm>
                        <a:off x="190499" y="4457700"/>
                        <a:ext cx="7667670" cy="914535"/>
                      </a:xfrm>
                      <a:prstGeom prst="rect">
                        <a:avLst/>
                      </a:prstGeom>
                    </p:spPr>
                  </p:pic>
                </p:oleObj>
              </mc:Fallback>
            </mc:AlternateContent>
          </a:graphicData>
        </a:graphic>
      </p:graphicFrame>
      <p:sp>
        <p:nvSpPr>
          <p:cNvPr id="101" name="Rectangle 100"/>
          <p:cNvSpPr/>
          <p:nvPr>
            <p:custDataLst>
              <p:tags r:id="rId35"/>
            </p:custDataLst>
          </p:nvPr>
        </p:nvSpPr>
        <p:spPr bwMode="auto">
          <a:xfrm>
            <a:off x="6881813" y="5359400"/>
            <a:ext cx="685800" cy="9128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CE23F59-60B0-40CD-9141-95EB45CD2921}" type="datetime'''Programos Come''nius asis''t''en''tas (Comenius Assistant)'">
              <a:rPr lang="en-US" sz="1200">
                <a:solidFill>
                  <a:schemeClr val="tx1"/>
                </a:solidFill>
                <a:sym typeface="+mn-lt"/>
              </a:rPr>
              <a:pPr algn="ctr">
                <a:spcBef>
                  <a:spcPct val="0"/>
                </a:spcBef>
                <a:spcAft>
                  <a:spcPct val="0"/>
                </a:spcAft>
              </a:pPr>
              <a:t>Programos Comenius asistentas (Comenius Assistant)</a:t>
            </a:fld>
            <a:endParaRPr lang="en-US" sz="1200">
              <a:solidFill>
                <a:schemeClr val="tx1"/>
              </a:solidFill>
              <a:sym typeface="+mn-lt"/>
            </a:endParaRPr>
          </a:p>
        </p:txBody>
      </p:sp>
      <p:sp>
        <p:nvSpPr>
          <p:cNvPr id="126" name="Rectangle 125"/>
          <p:cNvSpPr/>
          <p:nvPr>
            <p:custDataLst>
              <p:tags r:id="rId36"/>
            </p:custDataLst>
          </p:nvPr>
        </p:nvSpPr>
        <p:spPr bwMode="gray">
          <a:xfrm>
            <a:off x="7064375" y="48196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0EA290F-EA17-4086-93B0-A089BEC79D8B}" type="datetime'''1'''''''''''''''''''''''''''''''''''''">
              <a:rPr lang="en-US" sz="1200">
                <a:solidFill>
                  <a:schemeClr val="tx1"/>
                </a:solidFill>
                <a:sym typeface="+mn-lt"/>
              </a:rPr>
              <a:pPr algn="ctr">
                <a:spcBef>
                  <a:spcPct val="0"/>
                </a:spcBef>
                <a:spcAft>
                  <a:spcPct val="0"/>
                </a:spcAft>
              </a:pPr>
              <a:t>1</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3B5CDD45-7D58-48E1-9C12-977A4FDA6F50}" type="datetime'''''''''''''''0''''''''''''''''''''''''''''''''''''%'''''''''">
              <a:rPr lang="en-US" sz="1200" smtClean="0">
                <a:solidFill>
                  <a:schemeClr val="tx1"/>
                </a:solidFill>
                <a:sym typeface="+mn-lt"/>
              </a:rPr>
              <a:pPr algn="ctr">
                <a:spcBef>
                  <a:spcPct val="0"/>
                </a:spcBef>
                <a:spcAft>
                  <a:spcPct val="0"/>
                </a:spcAft>
              </a:pPr>
              <a:t>0%</a:t>
            </a:fld>
            <a:r>
              <a:rPr lang="en-US" sz="1200" dirty="0" smtClean="0">
                <a:solidFill>
                  <a:schemeClr val="tx1"/>
                </a:solidFill>
                <a:sym typeface="+mn-lt"/>
              </a:rPr>
              <a:t>)</a:t>
            </a:r>
            <a:endParaRPr lang="en-US" sz="1200" dirty="0">
              <a:solidFill>
                <a:schemeClr val="tx1"/>
              </a:solidFill>
              <a:sym typeface="+mn-lt"/>
            </a:endParaRPr>
          </a:p>
        </p:txBody>
      </p:sp>
      <p:sp>
        <p:nvSpPr>
          <p:cNvPr id="118" name="Rectangle 117"/>
          <p:cNvSpPr/>
          <p:nvPr>
            <p:custDataLst>
              <p:tags r:id="rId37"/>
            </p:custDataLst>
          </p:nvPr>
        </p:nvSpPr>
        <p:spPr bwMode="auto">
          <a:xfrm>
            <a:off x="5664200" y="5359400"/>
            <a:ext cx="9890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9484946-C7F9-4DE0-80B7-3819D3355D44}" type="datetime'''Bib''lio''t''''e''k''''''inink''as'' (Librar''''ian'''''')'">
              <a:rPr lang="en-US" sz="1200">
                <a:solidFill>
                  <a:schemeClr val="tx1"/>
                </a:solidFill>
                <a:sym typeface="+mn-lt"/>
              </a:rPr>
              <a:pPr algn="ctr">
                <a:spcBef>
                  <a:spcPct val="0"/>
                </a:spcBef>
                <a:spcAft>
                  <a:spcPct val="0"/>
                </a:spcAft>
              </a:pPr>
              <a:t>Bibliotekininkas (Librarian)</a:t>
            </a:fld>
            <a:endParaRPr lang="en-US" sz="1200">
              <a:solidFill>
                <a:schemeClr val="tx1"/>
              </a:solidFill>
              <a:sym typeface="+mn-lt"/>
            </a:endParaRPr>
          </a:p>
        </p:txBody>
      </p:sp>
      <p:sp>
        <p:nvSpPr>
          <p:cNvPr id="125" name="Rectangle 124"/>
          <p:cNvSpPr/>
          <p:nvPr>
            <p:custDataLst>
              <p:tags r:id="rId38"/>
            </p:custDataLst>
          </p:nvPr>
        </p:nvSpPr>
        <p:spPr bwMode="gray">
          <a:xfrm>
            <a:off x="5997575" y="47434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94A83A8-B38C-40C5-AC34-BA11DC0F0484}" type="datetime'''''''''''''''''''''''''''''''''''''''''''''7'''''''''''">
              <a:rPr lang="en-US" sz="1200">
                <a:solidFill>
                  <a:schemeClr val="tx1"/>
                </a:solidFill>
                <a:sym typeface="+mn-lt"/>
              </a:rPr>
              <a:pPr algn="ctr">
                <a:spcBef>
                  <a:spcPct val="0"/>
                </a:spcBef>
                <a:spcAft>
                  <a:spcPct val="0"/>
                </a:spcAft>
              </a:pPr>
              <a:t>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72D51A97-D42F-48C6-A4D9-A257C1F345C6}" type="datetime'''''''''''''''''''''''''''''''''''''''''''''''''0''%'''''''">
              <a:rPr lang="en-US" sz="1200" smtClean="0">
                <a:solidFill>
                  <a:schemeClr val="tx1"/>
                </a:solidFill>
                <a:sym typeface="+mn-lt"/>
              </a:rPr>
              <a:pPr algn="ct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100" name="Rectangle 99"/>
          <p:cNvSpPr/>
          <p:nvPr>
            <p:custDataLst>
              <p:tags r:id="rId39"/>
            </p:custDataLst>
          </p:nvPr>
        </p:nvSpPr>
        <p:spPr bwMode="auto">
          <a:xfrm>
            <a:off x="4678363" y="5359400"/>
            <a:ext cx="825500"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12A1880-A90A-43AB-8665-C9501485A16E}" type="datetime'Mokyklo''s'' ps''ich''ol''oga''s (''School Psy''''chologist)'">
              <a:rPr lang="en-US" sz="1200">
                <a:solidFill>
                  <a:schemeClr val="tx1"/>
                </a:solidFill>
                <a:sym typeface="+mn-lt"/>
              </a:rPr>
              <a:pPr algn="ctr">
                <a:spcBef>
                  <a:spcPct val="0"/>
                </a:spcBef>
                <a:spcAft>
                  <a:spcPct val="0"/>
                </a:spcAft>
              </a:pPr>
              <a:t>Mokyklos psichologas (School Psychologist)</a:t>
            </a:fld>
            <a:endParaRPr lang="en-US" sz="1200">
              <a:solidFill>
                <a:schemeClr val="tx1"/>
              </a:solidFill>
              <a:sym typeface="+mn-lt"/>
            </a:endParaRPr>
          </a:p>
        </p:txBody>
      </p:sp>
      <p:sp>
        <p:nvSpPr>
          <p:cNvPr id="124" name="Rectangle 123"/>
          <p:cNvSpPr/>
          <p:nvPr>
            <p:custDataLst>
              <p:tags r:id="rId40"/>
            </p:custDataLst>
          </p:nvPr>
        </p:nvSpPr>
        <p:spPr bwMode="gray">
          <a:xfrm>
            <a:off x="4930775" y="472440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BF1108F-CB73-4F28-BA7E-55292D8DB479}" type="datetime'''''''''''8'''''''''''''''''''''''''''''''''''">
              <a:rPr lang="en-US" sz="1200">
                <a:solidFill>
                  <a:schemeClr val="tx1"/>
                </a:solidFill>
                <a:sym typeface="+mn-lt"/>
              </a:rPr>
              <a:pPr algn="ctr">
                <a:spcBef>
                  <a:spcPct val="0"/>
                </a:spcBef>
                <a:spcAft>
                  <a:spcPct val="0"/>
                </a:spcAft>
              </a:pPr>
              <a:t>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7D99CF32-110C-43A3-A387-27F04659E648}" type="datetime'''''0''''''''''''%'''''''''''''''''''''''''''''''''''''''">
              <a:rPr lang="en-US" sz="1200" smtClean="0">
                <a:solidFill>
                  <a:schemeClr val="tx1"/>
                </a:solidFill>
                <a:sym typeface="+mn-lt"/>
              </a:rPr>
              <a:pPr algn="ct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116" name="Rectangle 115"/>
          <p:cNvSpPr/>
          <p:nvPr>
            <p:custDataLst>
              <p:tags r:id="rId41"/>
            </p:custDataLst>
          </p:nvPr>
        </p:nvSpPr>
        <p:spPr bwMode="auto">
          <a:xfrm>
            <a:off x="3568700" y="5359400"/>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1DCC314-49EF-46BE-B574-ACD1670E458A}" type="datetime'Ka''rj''e''r''o''s koordinatoriu''s (Ca''reers Guidan''ce'')'">
              <a:rPr lang="en-US" sz="1200">
                <a:solidFill>
                  <a:schemeClr val="tx1"/>
                </a:solidFill>
                <a:sym typeface="+mn-lt"/>
              </a:rPr>
              <a:pPr/>
              <a:t>Karjeros koordinatorius (Careers Guidance)</a:t>
            </a:fld>
            <a:endParaRPr lang="en-US" sz="1200">
              <a:solidFill>
                <a:schemeClr val="tx1"/>
              </a:solidFill>
              <a:sym typeface="+mn-lt"/>
            </a:endParaRPr>
          </a:p>
        </p:txBody>
      </p:sp>
      <p:sp>
        <p:nvSpPr>
          <p:cNvPr id="123" name="Rectangle 122"/>
          <p:cNvSpPr/>
          <p:nvPr>
            <p:custDataLst>
              <p:tags r:id="rId42"/>
            </p:custDataLst>
          </p:nvPr>
        </p:nvSpPr>
        <p:spPr bwMode="gray">
          <a:xfrm>
            <a:off x="3868738" y="47053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C7BBB23-1A4A-4BAA-8167-28B44CC5B861}" type="datetime'''''''''''''''''''''''''''''''''1''''''''0'''''''''''''''''">
              <a:rPr lang="en-US" sz="1200">
                <a:solidFill>
                  <a:schemeClr val="tx1"/>
                </a:solidFill>
                <a:sym typeface="+mn-lt"/>
              </a:rPr>
              <a:pPr algn="ctr">
                <a:spcBef>
                  <a:spcPct val="0"/>
                </a:spcBef>
                <a:spcAft>
                  <a:spcPct val="0"/>
                </a:spcAft>
              </a:pPr>
              <a:t>1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EDEFE6F-316D-4678-AF60-DD3683EDB106}" type="datetime'''''''0''''''''''''''''%'''''''''''''''''''''''''''''''''''">
              <a:rPr lang="en-US" sz="1200" smtClean="0">
                <a:solidFill>
                  <a:schemeClr val="tx1"/>
                </a:solidFill>
                <a:sym typeface="+mn-lt"/>
              </a:rPr>
              <a:pPr algn="ct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117" name="Rectangle 116"/>
          <p:cNvSpPr/>
          <p:nvPr>
            <p:custDataLst>
              <p:tags r:id="rId43"/>
            </p:custDataLst>
          </p:nvPr>
        </p:nvSpPr>
        <p:spPr bwMode="auto">
          <a:xfrm>
            <a:off x="2506663" y="5359400"/>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BE6138B-64D8-4483-ABF2-55A51B1235DF}" type="datetime'IK''T ko''''''o''r''''dinato''r''ius (''ICT Coordi''n''ator)'">
              <a:rPr lang="en-US" sz="1200">
                <a:solidFill>
                  <a:schemeClr val="tx1"/>
                </a:solidFill>
                <a:sym typeface="+mn-lt"/>
              </a:rPr>
              <a:pPr/>
              <a:t>IKT koordinatorius (ICT Coordinator)</a:t>
            </a:fld>
            <a:endParaRPr lang="en-US" sz="1200">
              <a:solidFill>
                <a:schemeClr val="tx1"/>
              </a:solidFill>
              <a:sym typeface="+mn-lt"/>
            </a:endParaRPr>
          </a:p>
        </p:txBody>
      </p:sp>
      <p:sp>
        <p:nvSpPr>
          <p:cNvPr id="122" name="Rectangle 121"/>
          <p:cNvSpPr/>
          <p:nvPr>
            <p:custDataLst>
              <p:tags r:id="rId44"/>
            </p:custDataLst>
          </p:nvPr>
        </p:nvSpPr>
        <p:spPr bwMode="gray">
          <a:xfrm>
            <a:off x="2806700" y="4562475"/>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9ADE676-8C3A-4F42-BDEB-8A0C67ABE730}" type="datetime'''''''''''''''''''''''''''2''''''''''''1'''''''''''">
              <a:rPr lang="en-US" sz="1200">
                <a:solidFill>
                  <a:schemeClr val="tx1"/>
                </a:solidFill>
                <a:sym typeface="+mn-lt"/>
              </a:rPr>
              <a:pPr algn="ctr">
                <a:spcBef>
                  <a:spcPct val="0"/>
                </a:spcBef>
                <a:spcAft>
                  <a:spcPct val="0"/>
                </a:spcAft>
              </a:pPr>
              <a:t>2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86BF4754-21F2-43E8-93C2-57B84C51E2D3}" type="datetime'''1%'''''''''''''''''''''">
              <a:rPr lang="en-US" sz="1200" smtClean="0">
                <a:solidFill>
                  <a:schemeClr val="tx1"/>
                </a:solidFill>
                <a:sym typeface="+mn-lt"/>
              </a:rPr>
              <a:pPr algn="ctr">
                <a:spcBef>
                  <a:spcPct val="0"/>
                </a:spcBef>
                <a:spcAft>
                  <a:spcPct val="0"/>
                </a:spcAft>
              </a:pPr>
              <a:t>1%</a:t>
            </a:fld>
            <a:r>
              <a:rPr lang="en-US" sz="1200" smtClean="0">
                <a:solidFill>
                  <a:schemeClr val="tx1"/>
                </a:solidFill>
                <a:sym typeface="+mn-lt"/>
              </a:rPr>
              <a:t>)</a:t>
            </a:r>
            <a:endParaRPr lang="en-US" sz="1200">
              <a:solidFill>
                <a:schemeClr val="tx1"/>
              </a:solidFill>
              <a:sym typeface="+mn-lt"/>
            </a:endParaRPr>
          </a:p>
        </p:txBody>
      </p:sp>
      <p:sp>
        <p:nvSpPr>
          <p:cNvPr id="103" name="Rectangle 102"/>
          <p:cNvSpPr/>
          <p:nvPr>
            <p:custDataLst>
              <p:tags r:id="rId45"/>
            </p:custDataLst>
          </p:nvPr>
        </p:nvSpPr>
        <p:spPr bwMode="auto">
          <a:xfrm>
            <a:off x="1501775" y="5359400"/>
            <a:ext cx="798513"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A7E08F8-7E10-4848-A6A5-2A552DC26075}" type="datetime'Pedag''''''o''gini''s'' patarėj''as (Peda''gogical ''Adviser)'">
              <a:rPr lang="en-US" sz="1200">
                <a:solidFill>
                  <a:schemeClr val="tx1"/>
                </a:solidFill>
                <a:sym typeface="+mn-lt"/>
              </a:rPr>
              <a:pPr algn="ctr">
                <a:spcBef>
                  <a:spcPct val="0"/>
                </a:spcBef>
                <a:spcAft>
                  <a:spcPct val="0"/>
                </a:spcAft>
              </a:pPr>
              <a:t>Pedagoginis patarėjas (Pedagogical Adviser)</a:t>
            </a:fld>
            <a:endParaRPr lang="en-US" sz="1200">
              <a:solidFill>
                <a:schemeClr val="tx1"/>
              </a:solidFill>
              <a:sym typeface="+mn-lt"/>
            </a:endParaRPr>
          </a:p>
        </p:txBody>
      </p:sp>
      <p:sp>
        <p:nvSpPr>
          <p:cNvPr id="121" name="Rectangle 120"/>
          <p:cNvSpPr/>
          <p:nvPr>
            <p:custDataLst>
              <p:tags r:id="rId46"/>
            </p:custDataLst>
          </p:nvPr>
        </p:nvSpPr>
        <p:spPr bwMode="gray">
          <a:xfrm>
            <a:off x="1739900" y="4429125"/>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02240D9-1A0D-4002-ADBB-595C916D74E2}" type="datetime'''''''''''''''''''3''''''''''''''''1'''''''''''''''''">
              <a:rPr lang="en-US" sz="1200">
                <a:solidFill>
                  <a:schemeClr val="tx1"/>
                </a:solidFill>
                <a:sym typeface="+mn-lt"/>
              </a:rPr>
              <a:pPr algn="ctr">
                <a:spcBef>
                  <a:spcPct val="0"/>
                </a:spcBef>
                <a:spcAft>
                  <a:spcPct val="0"/>
                </a:spcAft>
              </a:pPr>
              <a:t>3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C8935FA-9551-40C9-9A68-906B06A058F3}" type="datetime'''''''''''''''''''''''''''''''''1%'''''''">
              <a:rPr lang="en-US" sz="1200" smtClean="0">
                <a:solidFill>
                  <a:schemeClr val="tx1"/>
                </a:solidFill>
                <a:sym typeface="+mn-lt"/>
              </a:rPr>
              <a:pPr algn="ctr">
                <a:spcBef>
                  <a:spcPct val="0"/>
                </a:spcBef>
                <a:spcAft>
                  <a:spcPct val="0"/>
                </a:spcAft>
              </a:pPr>
              <a:t>1%</a:t>
            </a:fld>
            <a:r>
              <a:rPr lang="en-US" sz="1200" smtClean="0">
                <a:solidFill>
                  <a:schemeClr val="tx1"/>
                </a:solidFill>
                <a:sym typeface="+mn-lt"/>
              </a:rPr>
              <a:t>)</a:t>
            </a:r>
            <a:endParaRPr lang="en-US" sz="1200">
              <a:solidFill>
                <a:schemeClr val="tx1"/>
              </a:solidFill>
              <a:sym typeface="+mn-lt"/>
            </a:endParaRPr>
          </a:p>
        </p:txBody>
      </p:sp>
      <p:sp>
        <p:nvSpPr>
          <p:cNvPr id="97" name="Rectangle 96"/>
          <p:cNvSpPr/>
          <p:nvPr>
            <p:custDataLst>
              <p:tags r:id="rId47"/>
            </p:custDataLst>
          </p:nvPr>
        </p:nvSpPr>
        <p:spPr bwMode="auto">
          <a:xfrm>
            <a:off x="376238" y="5359400"/>
            <a:ext cx="91440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7FD691A-8E71-486A-B159-FAC9403A79B6}" type="datetime'Direktoriu''s'' (H''ead Teac''''h''er / ''P''ri''n''ci''pal)'">
              <a:rPr lang="en-US" sz="1200">
                <a:solidFill>
                  <a:schemeClr val="tx1"/>
                </a:solidFill>
                <a:sym typeface="+mn-lt"/>
              </a:rPr>
              <a:pPr algn="ctr">
                <a:spcBef>
                  <a:spcPct val="0"/>
                </a:spcBef>
                <a:spcAft>
                  <a:spcPct val="0"/>
                </a:spcAft>
              </a:pPr>
              <a:t>Direktorius (Head Teacher / Principal)</a:t>
            </a:fld>
            <a:endParaRPr lang="en-US" sz="1200" dirty="0">
              <a:solidFill>
                <a:schemeClr val="tx1"/>
              </a:solidFill>
              <a:sym typeface="+mn-lt"/>
            </a:endParaRPr>
          </a:p>
        </p:txBody>
      </p:sp>
      <p:sp>
        <p:nvSpPr>
          <p:cNvPr id="120" name="Rectangle 119"/>
          <p:cNvSpPr/>
          <p:nvPr>
            <p:custDataLst>
              <p:tags r:id="rId48"/>
            </p:custDataLst>
          </p:nvPr>
        </p:nvSpPr>
        <p:spPr bwMode="gray">
          <a:xfrm>
            <a:off x="673100" y="419100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E41724C-AE0A-4F65-B0A1-C7B31668E6FA}" type="datetime'''''''''''''''''''''5''''''''''''''''''0'''''''''''">
              <a:rPr lang="en-US" sz="1200">
                <a:solidFill>
                  <a:schemeClr val="tx1"/>
                </a:solidFill>
                <a:sym typeface="+mn-lt"/>
              </a:rPr>
              <a:pPr algn="ctr">
                <a:spcBef>
                  <a:spcPct val="0"/>
                </a:spcBef>
                <a:spcAft>
                  <a:spcPct val="0"/>
                </a:spcAft>
              </a:pPr>
              <a:t>5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8389B1B-2E1A-4D1F-BA19-EFDFFD19AE4C}" type="datetime'''''''''''''''''''2''''''''%'''''''''''''''''">
              <a:rPr lang="en-US" sz="1200" smtClean="0">
                <a:solidFill>
                  <a:schemeClr val="tx1"/>
                </a:solidFill>
                <a:sym typeface="+mn-lt"/>
              </a:rPr>
              <a:pPr algn="ctr">
                <a:spcBef>
                  <a:spcPct val="0"/>
                </a:spcBef>
                <a:spcAft>
                  <a:spcPct val="0"/>
                </a:spcAft>
              </a:pPr>
              <a:t>2%</a:t>
            </a:fld>
            <a:r>
              <a:rPr lang="en-US" sz="1200" smtClean="0">
                <a:solidFill>
                  <a:schemeClr val="tx1"/>
                </a:solidFill>
                <a:sym typeface="+mn-lt"/>
              </a:rPr>
              <a:t>)</a:t>
            </a:r>
            <a:endParaRPr lang="en-US" sz="1200">
              <a:solidFill>
                <a:schemeClr val="tx1"/>
              </a:solidFill>
              <a:sym typeface="+mn-lt"/>
            </a:endParaRPr>
          </a:p>
        </p:txBody>
      </p:sp>
      <p:graphicFrame>
        <p:nvGraphicFramePr>
          <p:cNvPr id="110" name="Object 109"/>
          <p:cNvGraphicFramePr>
            <a:graphicFrameLocks/>
          </p:cNvGraphicFramePr>
          <p:nvPr>
            <p:custDataLst>
              <p:tags r:id="rId49"/>
            </p:custDataLst>
            <p:extLst>
              <p:ext uri="{D42A27DB-BD31-4B8C-83A1-F6EECF244321}">
                <p14:modId xmlns:p14="http://schemas.microsoft.com/office/powerpoint/2010/main" val="594809112"/>
              </p:ext>
            </p:extLst>
          </p:nvPr>
        </p:nvGraphicFramePr>
        <p:xfrm>
          <a:off x="8001000" y="4686300"/>
          <a:ext cx="1381017" cy="923983"/>
        </p:xfrm>
        <a:graphic>
          <a:graphicData uri="http://schemas.openxmlformats.org/presentationml/2006/ole">
            <mc:AlternateContent xmlns:mc="http://schemas.openxmlformats.org/markup-compatibility/2006">
              <mc:Choice xmlns:v="urn:schemas-microsoft-com:vml" Requires="v">
                <p:oleObj spid="_x0000_s14397" name="Chart" r:id="rId61" imgW="1381253" imgH="924075" progId="MSGraph.Chart.8">
                  <p:embed followColorScheme="full"/>
                </p:oleObj>
              </mc:Choice>
              <mc:Fallback>
                <p:oleObj name="Chart" r:id="rId61" imgW="1381253" imgH="924075" progId="MSGraph.Chart.8">
                  <p:embed followColorScheme="full"/>
                  <p:pic>
                    <p:nvPicPr>
                      <p:cNvPr id="0" name=""/>
                      <p:cNvPicPr/>
                      <p:nvPr/>
                    </p:nvPicPr>
                    <p:blipFill>
                      <a:blip r:embed="rId62"/>
                      <a:stretch>
                        <a:fillRect/>
                      </a:stretch>
                    </p:blipFill>
                    <p:spPr>
                      <a:xfrm>
                        <a:off x="8001000" y="4686300"/>
                        <a:ext cx="1381017" cy="923983"/>
                      </a:xfrm>
                      <a:prstGeom prst="rect">
                        <a:avLst/>
                      </a:prstGeom>
                    </p:spPr>
                  </p:pic>
                </p:oleObj>
              </mc:Fallback>
            </mc:AlternateContent>
          </a:graphicData>
        </a:graphic>
      </p:graphicFrame>
      <p:sp>
        <p:nvSpPr>
          <p:cNvPr id="111" name="Rectangle 110"/>
          <p:cNvSpPr/>
          <p:nvPr>
            <p:custDataLst>
              <p:tags r:id="rId50"/>
            </p:custDataLst>
          </p:nvPr>
        </p:nvSpPr>
        <p:spPr bwMode="auto">
          <a:xfrm>
            <a:off x="8159750" y="5622925"/>
            <a:ext cx="5508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B64517B-8005-46D6-87AB-56961711B641}" type="datetime'M''''''''''''ok''ytoj''as'' ''''(T''''''''''e''a''che''''''r)'">
              <a:rPr lang="en-US" sz="1000">
                <a:solidFill>
                  <a:schemeClr val="tx1"/>
                </a:solidFill>
                <a:sym typeface="+mn-lt"/>
              </a:rPr>
              <a:pPr algn="ctr">
                <a:spcBef>
                  <a:spcPct val="0"/>
                </a:spcBef>
                <a:spcAft>
                  <a:spcPct val="0"/>
                </a:spcAft>
              </a:pPr>
              <a:t>Mokytojas (Teacher)</a:t>
            </a:fld>
            <a:endParaRPr lang="en-US" sz="1000" dirty="0">
              <a:solidFill>
                <a:schemeClr val="tx1"/>
              </a:solidFill>
              <a:sym typeface="+mn-lt"/>
            </a:endParaRPr>
          </a:p>
        </p:txBody>
      </p:sp>
      <p:sp>
        <p:nvSpPr>
          <p:cNvPr id="113" name="Rectangle 112"/>
          <p:cNvSpPr/>
          <p:nvPr>
            <p:custDataLst>
              <p:tags r:id="rId51"/>
            </p:custDataLst>
          </p:nvPr>
        </p:nvSpPr>
        <p:spPr bwMode="gray">
          <a:xfrm>
            <a:off x="8235950" y="43910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440E192-244F-41B9-B1CA-C26DB4C24983}" type="datetime'''''2''''''.''''''''''''''''''''''''''''04''2'''''''''''">
              <a:rPr lang="en-US" sz="1200" smtClean="0">
                <a:solidFill>
                  <a:schemeClr val="tx1"/>
                </a:solidFill>
                <a:sym typeface="+mn-lt"/>
              </a:rPr>
              <a:pPr/>
              <a:t>2.042</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A486707B-C559-47E0-804C-1CE4ED655A2B}" type="datetime'''''9''''''''''''''''''''4%'''''''''''''''''''''">
              <a:rPr lang="en-US" sz="1200" smtClean="0">
                <a:solidFill>
                  <a:schemeClr val="tx1"/>
                </a:solidFill>
                <a:sym typeface="+mn-lt"/>
              </a:rPr>
              <a:pPr/>
              <a:t>94%</a:t>
            </a:fld>
            <a:r>
              <a:rPr lang="en-US" sz="1200" dirty="0" smtClean="0">
                <a:solidFill>
                  <a:schemeClr val="tx1"/>
                </a:solidFill>
                <a:sym typeface="+mn-lt"/>
              </a:rPr>
              <a:t>)</a:t>
            </a:r>
            <a:endParaRPr lang="en-US" sz="1200" dirty="0">
              <a:solidFill>
                <a:schemeClr val="tx1"/>
              </a:solidFill>
              <a:sym typeface="+mn-lt"/>
            </a:endParaRPr>
          </a:p>
        </p:txBody>
      </p:sp>
      <p:sp>
        <p:nvSpPr>
          <p:cNvPr id="114" name="Rectangle 113"/>
          <p:cNvSpPr/>
          <p:nvPr/>
        </p:nvSpPr>
        <p:spPr>
          <a:xfrm>
            <a:off x="251520" y="3933825"/>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Įvykdytų projektų skaičius pagal rolę mokykloje ir jų sudaroma dalis nuo visų projektų</a:t>
            </a:r>
            <a:endParaRPr lang="lt-LT" sz="1200" dirty="0">
              <a:solidFill>
                <a:schemeClr val="bg1"/>
              </a:solidFill>
              <a:cs typeface="Cambria"/>
            </a:endParaRPr>
          </a:p>
        </p:txBody>
      </p:sp>
      <p:sp>
        <p:nvSpPr>
          <p:cNvPr id="115" name="Rectangle 114"/>
          <p:cNvSpPr/>
          <p:nvPr/>
        </p:nvSpPr>
        <p:spPr>
          <a:xfrm>
            <a:off x="251520" y="4221163"/>
            <a:ext cx="8640960" cy="202247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35088057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8824023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5"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dirty="0">
              <a:latin typeface="Calibri"/>
              <a:sym typeface="Calibri"/>
            </a:endParaRPr>
          </a:p>
        </p:txBody>
      </p:sp>
      <p:sp>
        <p:nvSpPr>
          <p:cNvPr id="2" name="Title 1"/>
          <p:cNvSpPr>
            <a:spLocks noGrp="1"/>
          </p:cNvSpPr>
          <p:nvPr>
            <p:ph type="title"/>
          </p:nvPr>
        </p:nvSpPr>
        <p:spPr>
          <a:xfrm>
            <a:off x="338675" y="260648"/>
            <a:ext cx="8229600" cy="487362"/>
          </a:xfrm>
        </p:spPr>
        <p:txBody>
          <a:bodyPr>
            <a:noAutofit/>
          </a:bodyPr>
          <a:lstStyle/>
          <a:p>
            <a:r>
              <a:rPr lang="lt-LT" sz="2000" b="1" dirty="0">
                <a:solidFill>
                  <a:schemeClr val="tx2">
                    <a:lumMod val="75000"/>
                  </a:schemeClr>
                </a:solidFill>
              </a:rPr>
              <a:t>Didžioji dalis vartotojų užsiregistravusių programoje eTwinning yra užsienio kalbų, pradinio ugdymo, ikimokyklinio ugdymo dailės, informatikos bei kalbos ir literatūros dalykus dėstantys vartotojai</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294827530"/>
              </p:ext>
            </p:extLst>
          </p:nvPr>
        </p:nvGraphicFramePr>
        <p:xfrm>
          <a:off x="2476499" y="1409700"/>
          <a:ext cx="4124390" cy="4800600"/>
        </p:xfrm>
        <a:graphic>
          <a:graphicData uri="http://schemas.openxmlformats.org/presentationml/2006/ole">
            <mc:AlternateContent xmlns:mc="http://schemas.openxmlformats.org/markup-compatibility/2006">
              <mc:Choice xmlns:v="urn:schemas-microsoft-com:vml" Requires="v">
                <p:oleObj spid="_x0000_s15396" name="Chart" r:id="rId45" imgW="4124453" imgH="4800483" progId="MSGraph.Chart.8">
                  <p:embed followColorScheme="full"/>
                </p:oleObj>
              </mc:Choice>
              <mc:Fallback>
                <p:oleObj name="Chart" r:id="rId45" imgW="4124453" imgH="4800483" progId="MSGraph.Chart.8">
                  <p:embed followColorScheme="full"/>
                  <p:pic>
                    <p:nvPicPr>
                      <p:cNvPr id="0" name=""/>
                      <p:cNvPicPr/>
                      <p:nvPr/>
                    </p:nvPicPr>
                    <p:blipFill>
                      <a:blip r:embed="rId46"/>
                      <a:stretch>
                        <a:fillRect/>
                      </a:stretch>
                    </p:blipFill>
                    <p:spPr>
                      <a:xfrm>
                        <a:off x="2476499" y="1409700"/>
                        <a:ext cx="4124390" cy="4800600"/>
                      </a:xfrm>
                      <a:prstGeom prst="rect">
                        <a:avLst/>
                      </a:prstGeom>
                    </p:spPr>
                  </p:pic>
                </p:oleObj>
              </mc:Fallback>
            </mc:AlternateContent>
          </a:graphicData>
        </a:graphic>
      </p:graphicFrame>
      <p:sp>
        <p:nvSpPr>
          <p:cNvPr id="24" name="Rectangle 23"/>
          <p:cNvSpPr/>
          <p:nvPr>
            <p:custDataLst>
              <p:tags r:id="rId5"/>
            </p:custDataLst>
          </p:nvPr>
        </p:nvSpPr>
        <p:spPr bwMode="auto">
          <a:xfrm>
            <a:off x="1790700" y="5881688"/>
            <a:ext cx="709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chnologijos</a:t>
            </a:r>
            <a:endParaRPr lang="en-US" sz="1000" dirty="0">
              <a:solidFill>
                <a:schemeClr val="tx1"/>
              </a:solidFill>
              <a:latin typeface="Calibri"/>
              <a:sym typeface="Calibri"/>
            </a:endParaRPr>
          </a:p>
        </p:txBody>
      </p:sp>
      <p:sp>
        <p:nvSpPr>
          <p:cNvPr id="23" name="Rectangle 22"/>
          <p:cNvSpPr/>
          <p:nvPr>
            <p:custDataLst>
              <p:tags r:id="rId6"/>
            </p:custDataLst>
          </p:nvPr>
        </p:nvSpPr>
        <p:spPr bwMode="auto">
          <a:xfrm>
            <a:off x="1747838" y="5588000"/>
            <a:ext cx="7524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Aplinkosauga</a:t>
            </a:r>
            <a:endParaRPr lang="en-US" sz="1100" dirty="0">
              <a:solidFill>
                <a:schemeClr val="tx1"/>
              </a:solidFill>
              <a:latin typeface="Calibri"/>
              <a:sym typeface="Calibri"/>
            </a:endParaRPr>
          </a:p>
        </p:txBody>
      </p:sp>
      <p:sp>
        <p:nvSpPr>
          <p:cNvPr id="22" name="Rectangle 21"/>
          <p:cNvSpPr/>
          <p:nvPr>
            <p:custDataLst>
              <p:tags r:id="rId7"/>
            </p:custDataLst>
          </p:nvPr>
        </p:nvSpPr>
        <p:spPr bwMode="auto">
          <a:xfrm>
            <a:off x="820738" y="5302250"/>
            <a:ext cx="16795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Socialiniai mokslai/Sociologija</a:t>
            </a:r>
            <a:endParaRPr lang="en-US" sz="1100" dirty="0">
              <a:solidFill>
                <a:schemeClr val="tx1"/>
              </a:solidFill>
              <a:latin typeface="Calibri"/>
              <a:sym typeface="Calibri"/>
            </a:endParaRPr>
          </a:p>
        </p:txBody>
      </p:sp>
      <p:sp>
        <p:nvSpPr>
          <p:cNvPr id="21" name="Rectangle 20"/>
          <p:cNvSpPr/>
          <p:nvPr>
            <p:custDataLst>
              <p:tags r:id="rId8"/>
            </p:custDataLst>
          </p:nvPr>
        </p:nvSpPr>
        <p:spPr bwMode="auto">
          <a:xfrm>
            <a:off x="1679575" y="5024438"/>
            <a:ext cx="820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amtos mokslai</a:t>
            </a:r>
            <a:endParaRPr lang="en-US" sz="1000" dirty="0">
              <a:solidFill>
                <a:schemeClr val="tx1"/>
              </a:solidFill>
              <a:latin typeface="Calibri"/>
              <a:sym typeface="Calibri"/>
            </a:endParaRPr>
          </a:p>
        </p:txBody>
      </p:sp>
      <p:sp>
        <p:nvSpPr>
          <p:cNvPr id="20" name="Rectangle 19"/>
          <p:cNvSpPr/>
          <p:nvPr>
            <p:custDataLst>
              <p:tags r:id="rId9"/>
            </p:custDataLst>
          </p:nvPr>
        </p:nvSpPr>
        <p:spPr bwMode="auto">
          <a:xfrm>
            <a:off x="1595438" y="4738688"/>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Sveikatos mokslai</a:t>
            </a:r>
            <a:endParaRPr lang="en-US" sz="1000" dirty="0">
              <a:solidFill>
                <a:schemeClr val="tx1"/>
              </a:solidFill>
              <a:latin typeface="Calibri"/>
              <a:sym typeface="Calibri"/>
            </a:endParaRPr>
          </a:p>
        </p:txBody>
      </p:sp>
      <p:sp>
        <p:nvSpPr>
          <p:cNvPr id="19" name="Rectangle 18"/>
          <p:cNvSpPr/>
          <p:nvPr>
            <p:custDataLst>
              <p:tags r:id="rId10"/>
            </p:custDataLst>
          </p:nvPr>
        </p:nvSpPr>
        <p:spPr bwMode="auto">
          <a:xfrm>
            <a:off x="2065338" y="4452938"/>
            <a:ext cx="434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Nedėsto</a:t>
            </a:r>
            <a:endParaRPr lang="en-US" sz="1000" dirty="0">
              <a:solidFill>
                <a:schemeClr val="tx1"/>
              </a:solidFill>
              <a:latin typeface="Calibri"/>
              <a:sym typeface="Calibri"/>
            </a:endParaRPr>
          </a:p>
        </p:txBody>
      </p:sp>
      <p:sp>
        <p:nvSpPr>
          <p:cNvPr id="18" name="Rectangle 17"/>
          <p:cNvSpPr/>
          <p:nvPr>
            <p:custDataLst>
              <p:tags r:id="rId11"/>
            </p:custDataLst>
          </p:nvPr>
        </p:nvSpPr>
        <p:spPr bwMode="auto">
          <a:xfrm>
            <a:off x="1838325" y="4167188"/>
            <a:ext cx="661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Kūno kultūra</a:t>
            </a:r>
            <a:endParaRPr lang="en-US" sz="1000" dirty="0">
              <a:solidFill>
                <a:schemeClr val="tx1"/>
              </a:solidFill>
              <a:latin typeface="Calibri"/>
              <a:sym typeface="Calibri"/>
            </a:endParaRPr>
          </a:p>
        </p:txBody>
      </p:sp>
      <p:sp>
        <p:nvSpPr>
          <p:cNvPr id="17" name="Rectangle 16"/>
          <p:cNvSpPr/>
          <p:nvPr>
            <p:custDataLst>
              <p:tags r:id="rId12"/>
            </p:custDataLst>
          </p:nvPr>
        </p:nvSpPr>
        <p:spPr bwMode="auto">
          <a:xfrm>
            <a:off x="412750" y="3881438"/>
            <a:ext cx="208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latin typeface="Calibri"/>
                <a:sym typeface="Calibri"/>
              </a:rPr>
              <a:t>Spec</a:t>
            </a:r>
            <a:r>
              <a:rPr lang="lt-LT" sz="1000" dirty="0" smtClean="0">
                <a:solidFill>
                  <a:schemeClr val="tx1"/>
                </a:solidFill>
                <a:latin typeface="Calibri"/>
                <a:sym typeface="Calibri"/>
              </a:rPr>
              <a:t>. poreikių turinčių mokinių ugdymas</a:t>
            </a:r>
            <a:endParaRPr lang="en-US" sz="1000" dirty="0">
              <a:solidFill>
                <a:schemeClr val="tx1"/>
              </a:solidFill>
              <a:latin typeface="Calibri"/>
              <a:sym typeface="Calibri"/>
            </a:endParaRPr>
          </a:p>
        </p:txBody>
      </p:sp>
      <p:sp>
        <p:nvSpPr>
          <p:cNvPr id="16" name="Rectangle 15"/>
          <p:cNvSpPr/>
          <p:nvPr>
            <p:custDataLst>
              <p:tags r:id="rId13"/>
            </p:custDataLst>
          </p:nvPr>
        </p:nvSpPr>
        <p:spPr bwMode="auto">
          <a:xfrm>
            <a:off x="1119188" y="3587750"/>
            <a:ext cx="13811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Matematika/Geometrija</a:t>
            </a:r>
            <a:endParaRPr lang="en-US" sz="1100" dirty="0">
              <a:solidFill>
                <a:schemeClr val="tx1"/>
              </a:solidFill>
              <a:latin typeface="Calibri"/>
              <a:sym typeface="Calibri"/>
            </a:endParaRPr>
          </a:p>
        </p:txBody>
      </p:sp>
      <p:sp>
        <p:nvSpPr>
          <p:cNvPr id="15" name="Rectangle 14"/>
          <p:cNvSpPr/>
          <p:nvPr>
            <p:custDataLst>
              <p:tags r:id="rId14"/>
            </p:custDataLst>
          </p:nvPr>
        </p:nvSpPr>
        <p:spPr bwMode="auto">
          <a:xfrm>
            <a:off x="2128838" y="3309938"/>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Muzika</a:t>
            </a:r>
            <a:endParaRPr lang="en-US" sz="1000" dirty="0">
              <a:solidFill>
                <a:schemeClr val="tx1"/>
              </a:solidFill>
              <a:latin typeface="Calibri"/>
              <a:sym typeface="Calibri"/>
            </a:endParaRPr>
          </a:p>
        </p:txBody>
      </p:sp>
      <p:sp>
        <p:nvSpPr>
          <p:cNvPr id="14" name="Rectangle 13"/>
          <p:cNvSpPr/>
          <p:nvPr>
            <p:custDataLst>
              <p:tags r:id="rId15"/>
            </p:custDataLst>
          </p:nvPr>
        </p:nvSpPr>
        <p:spPr bwMode="auto">
          <a:xfrm>
            <a:off x="1576388" y="3024188"/>
            <a:ext cx="923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Kalba ir literatūra</a:t>
            </a:r>
            <a:endParaRPr lang="en-US" sz="1000" b="1" dirty="0">
              <a:solidFill>
                <a:schemeClr val="tx1"/>
              </a:solidFill>
              <a:latin typeface="Calibri"/>
              <a:sym typeface="Calibri"/>
            </a:endParaRPr>
          </a:p>
        </p:txBody>
      </p:sp>
      <p:sp>
        <p:nvSpPr>
          <p:cNvPr id="13" name="Rectangle 12"/>
          <p:cNvSpPr/>
          <p:nvPr>
            <p:custDataLst>
              <p:tags r:id="rId16"/>
            </p:custDataLst>
          </p:nvPr>
        </p:nvSpPr>
        <p:spPr bwMode="auto">
          <a:xfrm>
            <a:off x="1662113" y="2738438"/>
            <a:ext cx="838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Informatika/IKT</a:t>
            </a:r>
            <a:endParaRPr lang="en-US" sz="1000" b="1" dirty="0">
              <a:solidFill>
                <a:schemeClr val="tx1"/>
              </a:solidFill>
              <a:latin typeface="Calibri"/>
              <a:sym typeface="Calibri"/>
            </a:endParaRPr>
          </a:p>
        </p:txBody>
      </p:sp>
      <p:sp>
        <p:nvSpPr>
          <p:cNvPr id="12" name="Rectangle 11"/>
          <p:cNvSpPr/>
          <p:nvPr>
            <p:custDataLst>
              <p:tags r:id="rId17"/>
            </p:custDataLst>
          </p:nvPr>
        </p:nvSpPr>
        <p:spPr bwMode="auto">
          <a:xfrm>
            <a:off x="2232025" y="2452688"/>
            <a:ext cx="268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Dailė</a:t>
            </a:r>
            <a:endParaRPr lang="en-US" sz="1000" b="1" dirty="0">
              <a:solidFill>
                <a:schemeClr val="tx1"/>
              </a:solidFill>
              <a:latin typeface="Calibri"/>
              <a:sym typeface="Calibri"/>
            </a:endParaRPr>
          </a:p>
        </p:txBody>
      </p:sp>
      <p:sp>
        <p:nvSpPr>
          <p:cNvPr id="8" name="Rectangle 7"/>
          <p:cNvSpPr/>
          <p:nvPr>
            <p:custDataLst>
              <p:tags r:id="rId18"/>
            </p:custDataLst>
          </p:nvPr>
        </p:nvSpPr>
        <p:spPr bwMode="auto">
          <a:xfrm>
            <a:off x="928688" y="2166938"/>
            <a:ext cx="1571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Ikimokyklinio ugdymo dalykai</a:t>
            </a:r>
            <a:endParaRPr lang="en-US" sz="1000" b="1" dirty="0">
              <a:solidFill>
                <a:schemeClr val="tx1"/>
              </a:solidFill>
              <a:sym typeface="+mn-lt"/>
            </a:endParaRPr>
          </a:p>
        </p:txBody>
      </p:sp>
      <p:sp>
        <p:nvSpPr>
          <p:cNvPr id="7" name="Rectangle 6"/>
          <p:cNvSpPr/>
          <p:nvPr>
            <p:custDataLst>
              <p:tags r:id="rId19"/>
            </p:custDataLst>
          </p:nvPr>
        </p:nvSpPr>
        <p:spPr bwMode="auto">
          <a:xfrm>
            <a:off x="1195388" y="1881188"/>
            <a:ext cx="1304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Pradinio ugdymo dalykai</a:t>
            </a:r>
            <a:endParaRPr lang="en-US" sz="1000" b="1" dirty="0">
              <a:solidFill>
                <a:schemeClr val="tx1"/>
              </a:solidFill>
              <a:sym typeface="+mn-lt"/>
            </a:endParaRPr>
          </a:p>
        </p:txBody>
      </p:sp>
      <p:sp>
        <p:nvSpPr>
          <p:cNvPr id="5" name="Rectangle 4"/>
          <p:cNvSpPr/>
          <p:nvPr>
            <p:custDataLst>
              <p:tags r:id="rId20"/>
            </p:custDataLst>
          </p:nvPr>
        </p:nvSpPr>
        <p:spPr bwMode="auto">
          <a:xfrm>
            <a:off x="1682750" y="1595438"/>
            <a:ext cx="81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Užsienio kalbos</a:t>
            </a:r>
            <a:endParaRPr lang="en-US" sz="1000" b="1" dirty="0">
              <a:solidFill>
                <a:schemeClr val="tx1"/>
              </a:solidFill>
              <a:sym typeface="+mn-lt"/>
            </a:endParaRPr>
          </a:p>
        </p:txBody>
      </p:sp>
      <p:graphicFrame>
        <p:nvGraphicFramePr>
          <p:cNvPr id="27" name="Object 26"/>
          <p:cNvGraphicFramePr>
            <a:graphicFrameLocks/>
          </p:cNvGraphicFramePr>
          <p:nvPr>
            <p:custDataLst>
              <p:tags r:id="rId21"/>
            </p:custDataLst>
            <p:extLst>
              <p:ext uri="{D42A27DB-BD31-4B8C-83A1-F6EECF244321}">
                <p14:modId xmlns:p14="http://schemas.microsoft.com/office/powerpoint/2010/main" val="1766753647"/>
              </p:ext>
            </p:extLst>
          </p:nvPr>
        </p:nvGraphicFramePr>
        <p:xfrm>
          <a:off x="7810499" y="1409700"/>
          <a:ext cx="1381190" cy="4895910"/>
        </p:xfrm>
        <a:graphic>
          <a:graphicData uri="http://schemas.openxmlformats.org/presentationml/2006/ole">
            <mc:AlternateContent xmlns:mc="http://schemas.openxmlformats.org/markup-compatibility/2006">
              <mc:Choice xmlns:v="urn:schemas-microsoft-com:vml" Requires="v">
                <p:oleObj spid="_x0000_s15397" name="Chart" r:id="rId47" imgW="1381253" imgH="4895980" progId="MSGraph.Chart.8">
                  <p:embed followColorScheme="full"/>
                </p:oleObj>
              </mc:Choice>
              <mc:Fallback>
                <p:oleObj name="Chart" r:id="rId47" imgW="1381253" imgH="4895980" progId="MSGraph.Chart.8">
                  <p:embed followColorScheme="full"/>
                  <p:pic>
                    <p:nvPicPr>
                      <p:cNvPr id="0" name=""/>
                      <p:cNvPicPr/>
                      <p:nvPr/>
                    </p:nvPicPr>
                    <p:blipFill>
                      <a:blip r:embed="rId48"/>
                      <a:stretch>
                        <a:fillRect/>
                      </a:stretch>
                    </p:blipFill>
                    <p:spPr>
                      <a:xfrm>
                        <a:off x="7810499" y="1409700"/>
                        <a:ext cx="1381190" cy="4895910"/>
                      </a:xfrm>
                      <a:prstGeom prst="rect">
                        <a:avLst/>
                      </a:prstGeom>
                    </p:spPr>
                  </p:pic>
                </p:oleObj>
              </mc:Fallback>
            </mc:AlternateContent>
          </a:graphicData>
        </a:graphic>
      </p:graphicFrame>
      <p:sp>
        <p:nvSpPr>
          <p:cNvPr id="42" name="Rectangle 41"/>
          <p:cNvSpPr/>
          <p:nvPr>
            <p:custDataLst>
              <p:tags r:id="rId22"/>
            </p:custDataLst>
          </p:nvPr>
        </p:nvSpPr>
        <p:spPr bwMode="auto">
          <a:xfrm>
            <a:off x="6983413" y="4843463"/>
            <a:ext cx="850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Europos studijos</a:t>
            </a:r>
            <a:endParaRPr lang="en-US" sz="1000" dirty="0">
              <a:solidFill>
                <a:schemeClr val="tx1"/>
              </a:solidFill>
              <a:latin typeface="Calibri"/>
              <a:sym typeface="Calibri"/>
            </a:endParaRPr>
          </a:p>
        </p:txBody>
      </p:sp>
      <p:sp>
        <p:nvSpPr>
          <p:cNvPr id="41" name="Rectangle 40"/>
          <p:cNvSpPr/>
          <p:nvPr>
            <p:custDataLst>
              <p:tags r:id="rId23"/>
            </p:custDataLst>
          </p:nvPr>
        </p:nvSpPr>
        <p:spPr bwMode="auto">
          <a:xfrm>
            <a:off x="7502525" y="4610100"/>
            <a:ext cx="331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Tikyba</a:t>
            </a:r>
            <a:endParaRPr lang="en-US" sz="1000" dirty="0">
              <a:solidFill>
                <a:schemeClr val="tx1"/>
              </a:solidFill>
              <a:latin typeface="Calibri"/>
              <a:sym typeface="Calibri"/>
            </a:endParaRPr>
          </a:p>
        </p:txBody>
      </p:sp>
      <p:sp>
        <p:nvSpPr>
          <p:cNvPr id="40" name="Rectangle 39"/>
          <p:cNvSpPr/>
          <p:nvPr>
            <p:custDataLst>
              <p:tags r:id="rId24"/>
            </p:custDataLst>
          </p:nvPr>
        </p:nvSpPr>
        <p:spPr bwMode="auto">
          <a:xfrm>
            <a:off x="7415213" y="4376738"/>
            <a:ext cx="419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Chemija</a:t>
            </a:r>
            <a:endParaRPr lang="en-US" sz="1000" dirty="0">
              <a:solidFill>
                <a:schemeClr val="tx1"/>
              </a:solidFill>
              <a:latin typeface="Calibri"/>
              <a:sym typeface="Calibri"/>
            </a:endParaRPr>
          </a:p>
        </p:txBody>
      </p:sp>
      <p:sp>
        <p:nvSpPr>
          <p:cNvPr id="39" name="Rectangle 38"/>
          <p:cNvSpPr/>
          <p:nvPr>
            <p:custDataLst>
              <p:tags r:id="rId25"/>
            </p:custDataLst>
          </p:nvPr>
        </p:nvSpPr>
        <p:spPr bwMode="auto">
          <a:xfrm>
            <a:off x="6591300" y="4143375"/>
            <a:ext cx="1243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sym typeface="Calibri"/>
              </a:rPr>
              <a:t>Dizainas ir technologijos</a:t>
            </a:r>
            <a:endParaRPr lang="en-US" sz="1000" dirty="0">
              <a:solidFill>
                <a:schemeClr val="tx1"/>
              </a:solidFill>
              <a:latin typeface="Calibri"/>
              <a:sym typeface="Calibri"/>
            </a:endParaRPr>
          </a:p>
        </p:txBody>
      </p:sp>
      <p:sp>
        <p:nvSpPr>
          <p:cNvPr id="38" name="Rectangle 37"/>
          <p:cNvSpPr/>
          <p:nvPr>
            <p:custDataLst>
              <p:tags r:id="rId26"/>
            </p:custDataLst>
          </p:nvPr>
        </p:nvSpPr>
        <p:spPr bwMode="auto">
          <a:xfrm>
            <a:off x="7229475" y="3910013"/>
            <a:ext cx="604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sichologija</a:t>
            </a:r>
            <a:endParaRPr lang="en-US" sz="1000" dirty="0">
              <a:solidFill>
                <a:schemeClr val="tx1"/>
              </a:solidFill>
              <a:latin typeface="Calibri"/>
              <a:sym typeface="Calibri"/>
            </a:endParaRPr>
          </a:p>
        </p:txBody>
      </p:sp>
      <p:sp>
        <p:nvSpPr>
          <p:cNvPr id="37" name="Rectangle 36"/>
          <p:cNvSpPr/>
          <p:nvPr>
            <p:custDataLst>
              <p:tags r:id="rId27"/>
            </p:custDataLst>
          </p:nvPr>
        </p:nvSpPr>
        <p:spPr bwMode="auto">
          <a:xfrm>
            <a:off x="7267575" y="3676650"/>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Ekonomika</a:t>
            </a:r>
            <a:endParaRPr lang="en-US" sz="1000" dirty="0">
              <a:solidFill>
                <a:schemeClr val="tx1"/>
              </a:solidFill>
              <a:latin typeface="Calibri"/>
              <a:sym typeface="Calibri"/>
            </a:endParaRPr>
          </a:p>
        </p:txBody>
      </p:sp>
      <p:sp>
        <p:nvSpPr>
          <p:cNvPr id="36" name="Rectangle 35"/>
          <p:cNvSpPr/>
          <p:nvPr>
            <p:custDataLst>
              <p:tags r:id="rId28"/>
            </p:custDataLst>
          </p:nvPr>
        </p:nvSpPr>
        <p:spPr bwMode="auto">
          <a:xfrm>
            <a:off x="5689600" y="3438525"/>
            <a:ext cx="2144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Tarpdalykinis</a:t>
            </a:r>
            <a:r>
              <a:rPr lang="lt-LT" sz="1000" dirty="0" smtClean="0">
                <a:solidFill>
                  <a:schemeClr val="tx1"/>
                </a:solidFill>
              </a:rPr>
              <a:t> mokymas (</a:t>
            </a:r>
            <a:r>
              <a:rPr lang="lt-LT" sz="1000" dirty="0" err="1" smtClean="0">
                <a:solidFill>
                  <a:schemeClr val="tx1"/>
                </a:solidFill>
              </a:rPr>
              <a:t>Cross</a:t>
            </a:r>
            <a:r>
              <a:rPr lang="en-US" sz="1000" dirty="0" smtClean="0">
                <a:solidFill>
                  <a:schemeClr val="tx1"/>
                </a:solidFill>
              </a:rPr>
              <a:t> </a:t>
            </a:r>
            <a:r>
              <a:rPr lang="lt-LT" sz="1000" dirty="0" smtClean="0">
                <a:solidFill>
                  <a:schemeClr val="tx1"/>
                </a:solidFill>
              </a:rPr>
              <a:t> </a:t>
            </a:r>
            <a:r>
              <a:rPr lang="lt-LT" sz="1000" dirty="0" err="1" smtClean="0">
                <a:solidFill>
                  <a:schemeClr val="tx1"/>
                </a:solidFill>
              </a:rPr>
              <a:t>Curricular</a:t>
            </a:r>
            <a:r>
              <a:rPr lang="lt-LT" sz="1000" dirty="0" smtClean="0">
                <a:solidFill>
                  <a:schemeClr val="tx1"/>
                </a:solidFill>
              </a:rPr>
              <a:t>)</a:t>
            </a:r>
            <a:endParaRPr lang="en-US" sz="1000" dirty="0">
              <a:solidFill>
                <a:schemeClr val="tx1"/>
              </a:solidFill>
              <a:latin typeface="Calibri"/>
              <a:sym typeface="Calibri"/>
            </a:endParaRPr>
          </a:p>
        </p:txBody>
      </p:sp>
      <p:sp>
        <p:nvSpPr>
          <p:cNvPr id="35" name="Rectangle 34"/>
          <p:cNvSpPr/>
          <p:nvPr>
            <p:custDataLst>
              <p:tags r:id="rId29"/>
            </p:custDataLst>
          </p:nvPr>
        </p:nvSpPr>
        <p:spPr bwMode="auto">
          <a:xfrm>
            <a:off x="7023100" y="3205163"/>
            <a:ext cx="811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Kultūros istorija</a:t>
            </a:r>
            <a:endParaRPr lang="en-US" sz="1000" dirty="0">
              <a:solidFill>
                <a:schemeClr val="tx1"/>
              </a:solidFill>
              <a:latin typeface="Calibri"/>
              <a:sym typeface="Calibri"/>
            </a:endParaRPr>
          </a:p>
        </p:txBody>
      </p:sp>
      <p:sp>
        <p:nvSpPr>
          <p:cNvPr id="34" name="Rectangle 33"/>
          <p:cNvSpPr/>
          <p:nvPr>
            <p:custDataLst>
              <p:tags r:id="rId30"/>
            </p:custDataLst>
          </p:nvPr>
        </p:nvSpPr>
        <p:spPr bwMode="auto">
          <a:xfrm>
            <a:off x="7550150" y="2971800"/>
            <a:ext cx="284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Fizika</a:t>
            </a:r>
            <a:endParaRPr lang="en-US" sz="1000" dirty="0">
              <a:solidFill>
                <a:schemeClr val="tx1"/>
              </a:solidFill>
              <a:latin typeface="Calibri"/>
              <a:sym typeface="Calibri"/>
            </a:endParaRPr>
          </a:p>
        </p:txBody>
      </p:sp>
      <p:sp>
        <p:nvSpPr>
          <p:cNvPr id="33" name="Rectangle 32"/>
          <p:cNvSpPr/>
          <p:nvPr>
            <p:custDataLst>
              <p:tags r:id="rId31"/>
            </p:custDataLst>
          </p:nvPr>
        </p:nvSpPr>
        <p:spPr bwMode="auto">
          <a:xfrm>
            <a:off x="7164388" y="2738438"/>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ilietiškumas</a:t>
            </a:r>
            <a:endParaRPr lang="en-US" sz="1000" dirty="0">
              <a:solidFill>
                <a:schemeClr val="tx1"/>
              </a:solidFill>
              <a:latin typeface="Calibri"/>
              <a:sym typeface="Calibri"/>
            </a:endParaRPr>
          </a:p>
        </p:txBody>
      </p:sp>
      <p:sp>
        <p:nvSpPr>
          <p:cNvPr id="32" name="Rectangle 31"/>
          <p:cNvSpPr/>
          <p:nvPr>
            <p:custDataLst>
              <p:tags r:id="rId32"/>
            </p:custDataLst>
          </p:nvPr>
        </p:nvSpPr>
        <p:spPr bwMode="auto">
          <a:xfrm>
            <a:off x="7394575" y="2505075"/>
            <a:ext cx="439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Biologija</a:t>
            </a:r>
            <a:endParaRPr lang="en-US" sz="1000" dirty="0">
              <a:solidFill>
                <a:schemeClr val="tx1"/>
              </a:solidFill>
              <a:latin typeface="Calibri"/>
              <a:sym typeface="Calibri"/>
            </a:endParaRPr>
          </a:p>
        </p:txBody>
      </p:sp>
      <p:sp>
        <p:nvSpPr>
          <p:cNvPr id="31" name="Rectangle 30"/>
          <p:cNvSpPr/>
          <p:nvPr>
            <p:custDataLst>
              <p:tags r:id="rId33"/>
            </p:custDataLst>
          </p:nvPr>
        </p:nvSpPr>
        <p:spPr bwMode="auto">
          <a:xfrm>
            <a:off x="7302500" y="2271713"/>
            <a:ext cx="5318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Geografija</a:t>
            </a:r>
            <a:endParaRPr lang="en-US" sz="1000" dirty="0">
              <a:solidFill>
                <a:schemeClr val="tx1"/>
              </a:solidFill>
              <a:latin typeface="Calibri"/>
              <a:sym typeface="Calibri"/>
            </a:endParaRPr>
          </a:p>
        </p:txBody>
      </p:sp>
      <p:sp>
        <p:nvSpPr>
          <p:cNvPr id="28" name="Rectangle 27"/>
          <p:cNvSpPr/>
          <p:nvPr>
            <p:custDataLst>
              <p:tags r:id="rId34"/>
            </p:custDataLst>
          </p:nvPr>
        </p:nvSpPr>
        <p:spPr bwMode="auto">
          <a:xfrm>
            <a:off x="7480300" y="2038350"/>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Istorija</a:t>
            </a:r>
            <a:endParaRPr lang="en-US" sz="1000" dirty="0">
              <a:solidFill>
                <a:schemeClr val="tx1"/>
              </a:solidFill>
              <a:sym typeface="+mn-lt"/>
            </a:endParaRPr>
          </a:p>
        </p:txBody>
      </p:sp>
      <p:sp>
        <p:nvSpPr>
          <p:cNvPr id="29" name="Rectangle 28"/>
          <p:cNvSpPr/>
          <p:nvPr>
            <p:custDataLst>
              <p:tags r:id="rId35"/>
            </p:custDataLst>
          </p:nvPr>
        </p:nvSpPr>
        <p:spPr bwMode="auto">
          <a:xfrm>
            <a:off x="7489825" y="1804988"/>
            <a:ext cx="344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A652B5-DC05-4626-8BCD-FFC9EE45E03F}" type="datetime'''D''''''''''r''''''''''''''''''''''''''''''''''''a''m''a'''''">
              <a:rPr lang="en-US" sz="1000">
                <a:solidFill>
                  <a:schemeClr val="tx1"/>
                </a:solidFill>
              </a:rPr>
              <a:pPr/>
              <a:t>Drama</a:t>
            </a:fld>
            <a:endParaRPr lang="en-US" sz="1000" dirty="0">
              <a:solidFill>
                <a:schemeClr val="tx1"/>
              </a:solidFill>
              <a:sym typeface="+mn-lt"/>
            </a:endParaRPr>
          </a:p>
        </p:txBody>
      </p:sp>
      <p:sp>
        <p:nvSpPr>
          <p:cNvPr id="30" name="Rectangle 29"/>
          <p:cNvSpPr/>
          <p:nvPr>
            <p:custDataLst>
              <p:tags r:id="rId36"/>
            </p:custDataLst>
          </p:nvPr>
        </p:nvSpPr>
        <p:spPr bwMode="auto">
          <a:xfrm>
            <a:off x="7558088" y="1563688"/>
            <a:ext cx="2762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rPr>
              <a:t>Etika</a:t>
            </a:r>
            <a:endParaRPr lang="en-US" sz="1100" dirty="0">
              <a:solidFill>
                <a:schemeClr val="tx1"/>
              </a:solidFill>
              <a:sym typeface="+mn-lt"/>
            </a:endParaRPr>
          </a:p>
        </p:txBody>
      </p:sp>
      <p:sp>
        <p:nvSpPr>
          <p:cNvPr id="43" name="Rectangle 42"/>
          <p:cNvSpPr/>
          <p:nvPr>
            <p:custDataLst>
              <p:tags r:id="rId37"/>
            </p:custDataLst>
          </p:nvPr>
        </p:nvSpPr>
        <p:spPr bwMode="auto">
          <a:xfrm>
            <a:off x="7421563" y="5076825"/>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Medijos</a:t>
            </a:r>
            <a:endParaRPr lang="en-US" sz="1000" dirty="0">
              <a:solidFill>
                <a:schemeClr val="tx1"/>
              </a:solidFill>
              <a:latin typeface="Calibri"/>
              <a:sym typeface="Calibri"/>
            </a:endParaRPr>
          </a:p>
        </p:txBody>
      </p:sp>
      <p:sp>
        <p:nvSpPr>
          <p:cNvPr id="48" name="Rectangle 47"/>
          <p:cNvSpPr/>
          <p:nvPr>
            <p:custDataLst>
              <p:tags r:id="rId38"/>
            </p:custDataLst>
          </p:nvPr>
        </p:nvSpPr>
        <p:spPr bwMode="auto">
          <a:xfrm>
            <a:off x="7204075" y="5310188"/>
            <a:ext cx="63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Astronomija</a:t>
            </a:r>
            <a:endParaRPr lang="en-US" sz="1000" dirty="0">
              <a:solidFill>
                <a:schemeClr val="tx1"/>
              </a:solidFill>
              <a:latin typeface="Calibri"/>
              <a:sym typeface="Calibri"/>
            </a:endParaRPr>
          </a:p>
        </p:txBody>
      </p:sp>
      <p:sp>
        <p:nvSpPr>
          <p:cNvPr id="49" name="Rectangle 48"/>
          <p:cNvSpPr/>
          <p:nvPr>
            <p:custDataLst>
              <p:tags r:id="rId39"/>
            </p:custDataLst>
          </p:nvPr>
        </p:nvSpPr>
        <p:spPr bwMode="auto">
          <a:xfrm>
            <a:off x="7350125" y="5543550"/>
            <a:ext cx="484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eologija</a:t>
            </a:r>
            <a:endParaRPr lang="en-US" sz="1000" dirty="0">
              <a:solidFill>
                <a:schemeClr val="tx1"/>
              </a:solidFill>
              <a:latin typeface="Calibri"/>
              <a:sym typeface="Calibri"/>
            </a:endParaRPr>
          </a:p>
        </p:txBody>
      </p:sp>
      <p:sp>
        <p:nvSpPr>
          <p:cNvPr id="50" name="Rectangle 49"/>
          <p:cNvSpPr/>
          <p:nvPr>
            <p:custDataLst>
              <p:tags r:id="rId40"/>
            </p:custDataLst>
          </p:nvPr>
        </p:nvSpPr>
        <p:spPr bwMode="auto">
          <a:xfrm>
            <a:off x="7567613" y="5776913"/>
            <a:ext cx="266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isė</a:t>
            </a:r>
            <a:endParaRPr lang="en-US" sz="1000" dirty="0">
              <a:solidFill>
                <a:schemeClr val="tx1"/>
              </a:solidFill>
              <a:latin typeface="Calibri"/>
              <a:sym typeface="Calibri"/>
            </a:endParaRPr>
          </a:p>
        </p:txBody>
      </p:sp>
      <p:sp>
        <p:nvSpPr>
          <p:cNvPr id="51" name="Rectangle 50"/>
          <p:cNvSpPr/>
          <p:nvPr>
            <p:custDataLst>
              <p:tags r:id="rId41"/>
            </p:custDataLst>
          </p:nvPr>
        </p:nvSpPr>
        <p:spPr bwMode="auto">
          <a:xfrm>
            <a:off x="7002463" y="6010275"/>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Filosofija/Logika</a:t>
            </a:r>
            <a:endParaRPr lang="en-US" sz="1000" dirty="0">
              <a:solidFill>
                <a:schemeClr val="tx1"/>
              </a:solidFill>
              <a:latin typeface="Calibri"/>
              <a:sym typeface="Calibri"/>
            </a:endParaRPr>
          </a:p>
        </p:txBody>
      </p:sp>
      <p:sp>
        <p:nvSpPr>
          <p:cNvPr id="52" name="Rectangle 51"/>
          <p:cNvSpPr/>
          <p:nvPr/>
        </p:nvSpPr>
        <p:spPr>
          <a:xfrm>
            <a:off x="251520" y="1044124"/>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dėstomą dalyką, vnt.</a:t>
            </a:r>
            <a:endParaRPr lang="lt-LT" sz="1200" dirty="0">
              <a:solidFill>
                <a:schemeClr val="bg1"/>
              </a:solidFill>
              <a:cs typeface="Cambria"/>
            </a:endParaRPr>
          </a:p>
        </p:txBody>
      </p:sp>
      <p:sp>
        <p:nvSpPr>
          <p:cNvPr id="53" name="Rectangle 52"/>
          <p:cNvSpPr/>
          <p:nvPr/>
        </p:nvSpPr>
        <p:spPr>
          <a:xfrm>
            <a:off x="251520" y="1332121"/>
            <a:ext cx="8640960" cy="497719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20380682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ah39b_IIUWNbLY0ujCG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np51pqFH0ygILZhx8aNTg"/>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dKyMLobpi0G5kHYpNGd0e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smdHByqFXkiT7ZCImIhwo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2PqVTkjFWEagF6BphhkGB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y7ByNvOXiEmG6YjB5F5SHw"/>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5kdMCnLww06kaGqw_DhH2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C6T9MXI1_kep8YEK9Xyw.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ZMHJ9i5jdUO2QBfn9Sy_4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iU3F2Lvf3kG_o97Zey6Ng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cu42IMIgJ02xgaInwByAx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5PyaVKOb3EGz67xF7m5bJ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ReHbxC9Gkii5UfFA44.q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V7.TNPOqlkitHKex4gXyV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Vt5OCDjdr0SWXngJbnjAl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ESmHjsvvfEiduB_rNQ77E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JiAiJSfJ4EGQkxYhBZTCn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0NBqPxDIAE.IzIKQ.ejJg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csYhsYHfMUW09DWxJJaW4w"/>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DLXD1s.A00GLk0HHk2TTB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mKuxrgimfUaY2tKWnL__y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rvMduhED9kOYJweWf2Wn.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lRc3c2uiikO1Ckw1yIl8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rZA8xLVREORzgqhnvLVf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vBxrmAfWdkCAY8kOWQP0D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hU.018YCmkSozBv8P3158w"/>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0bwzkGuokUGB9Qa9IjPOpw"/>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DvzZwGnqPkKhgYV0OiPev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vkvkl0YczEO5lXEXc.0Qi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QA_i8YdQUyx9PBl1y6cjg"/>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BvczDvcmC0.OIf4RxHVaV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8cBwjvQ7okyj8NcgxxC48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ddVFplSv10uNbs1sbeGYI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vdOoP7E10GmphAXyxtdxw"/>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gMwQCoDu3EGmiHRQIT4Ml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0Qqb9K3UcU68crLpUXH2Y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Ozc48s2Tjk68CHizc5YUD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QgupnsU8j0ifRZe1rW9Nt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GgF9SNdLqE22C7jABbEdS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9zv4Jpb9SkOZTPyBq7Wsd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O687DSpMxkW5MHvcZmCiFA"/>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H3bvsHjI6k2nMRsZiLpEE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c_cD1zANZ0yZRkcl91IVd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wb64Am6Ec0G7PY4cESjM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WCfdHki4k2Vu3T4lvuD3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ekdNTnQIuUeSjQkwQaOmiw"/>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yYGxgkIoYkuvf3BxNf8uG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fF2.emApMEynT0iN6sw3DA"/>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xSM17mwTAUa3poThflEVZ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9NA8y80nqkSbNR9jJ.bPQ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Cth5qq5ghE.vUJvmYdrEn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9CNTgtnwhkmVZ3WN6IITf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8Fy_kFGzw0uCGBiHyRpoo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Bus5gnE3NkSG9hGmiocOI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MTGcH5BsyU6rEMzXWzg1_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f9ltUJJc02EqMLMC5Ho6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IOLm4QAhnUSBs2TN3ZNdV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2J9j72UAhkiVo_g6pGkoX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MGYgbTu3F0e7ZHnVcG6sE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IgRgLGclKkyxxu7sxdtht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vc.gVqXOsUKBhVjzRBKaN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4Ba25qZPsEWPSEfzkuI8Y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bKmcEFEOl0Ohwz_0hRMsIg"/>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bzgrEFHUsUSDC1aDUWbED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yat5m2covk.Nd3_19el2m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NBX3V953kug7XsNdaupOw"/>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v8mFcURYckCgJv7lK2zFpw"/>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xuhj6St7pU6WWowbaKrjXw"/>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JWb.a_sUcUmOPC3.JRkYZg"/>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Sjj1GqZwukaeZqVAe.9Vi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2QWr6SDfIkSaH4SreYhJP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lKXQhB1Do06VAevG5s9cE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Nyf.EoMcG0KQTGjcnKh.sw"/>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wJO8i_rLzUOxbcKxUvpYM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m3NKuVbpyUGS3BPo5xlhcQ"/>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zoh5xDnKU0KAlMxr42ymh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UbYyfwJrkis5F261rnR9A"/>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tpRN.7CbMUClZ8p2JsvB6Q"/>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xJr2.L44QUaNnGHfAvup.A"/>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VrvTEz9tLUC.uMCYkag2e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LerR1eYl_EKKlm6SOEhIR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SJEzdyPZFkKf1P.VQsbxB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SijM47DqBUq2SfPoG00lBA"/>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kqB6wyNjvEKW.XkWbSi33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XoqzoX1pI0a.kv66ABPKcg"/>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_ebttHZAK0SDNmr0.2oNhQ"/>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DicqR8U9ik65UDvUD6O3M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Z2iMi2290ORof19Oi4nn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8ABxmbrxpECdKkXjliqKj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kHq0r2C8OkCyIcTAWRRDB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DUSn0v88Pke6rpUdeJpsO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YeqF0tpItEiqRojovdS8r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Qqe21POBEKKbWUoxKFMzg"/>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CiI1J.45PEeNAhYAgdi1h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OFyx2nF.CUmh.WP9LagvQ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cUbbEJTExEmyQhspeQho4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UO5gQv3PEe.E8a3I_rn2g"/>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yUbJdCDOXU6x6LHkxb9Ko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qjuvb4oIUOdLCjEjwvou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mHM7oSXZM0OxpJlpguIX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85GJSzJWEK1nEQ0leKTs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rl7XabbGkyTe4CHRavd4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1FTCbQcOkS5gQnQWRCZy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EDn.NlN20uoP81Zt3Xw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9rvTPKeI0SaegQUVDueF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LIO4eP0EUW3YnvRzWFeq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ZVruV5sIEu1X3VEaTRJv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aGHQ5T0_E2FfVAZnnsI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9kmgzMjzrUqOxcrDuBeDY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PWhtyJ9u02fI0O8vR7Rh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S.lFGdn8UadtHEInj_Yq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Lap_2.9EJ06i8cMVsonV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QQQHzt4EubwgBuSDu3q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5C_M667v3EaYpNP.XiQE4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FcdwsVnqkazMVEjAUei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4hTaq.ikuWUlLtoqsoE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zwsUPzAIUuQR..5CICf0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Pz0HQEiEE2_ERsoptbvi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eIZqFG5.0uSjElXWo2W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sCA1QarCkqq1.OMzkET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u3Wa6LJkWHfg.QLQUn0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UZA.MqSb02BEMS_E0FDk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UxwVANu10uMn8YSOy9Sv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1RmtE6d8UyWqh6LcQHfe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Sut0hLFQEe_nWUaRySHa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fiCQOiJikOHqRMe7s7jL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YckjUCpy0KnnEGuHtiLX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L5B9LZ_w0WawvgKHaVim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b67PO0L80UKbbhJ1I3nKN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1IZfGXC91Ei1vZa24Exlj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F.egJZ_iUabKf3mDQc4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CCVNG8U30aykkQw7e0oQ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oXyCEDokUGW3CY7fWiC9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KEIOIpGgmU.HSkB_.8FXR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8DoQFcsMEmIYJ6a8TKM5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M.1esWW5DUu1vvASCs4Dh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jZvq6Q6.kOjvApO7Y_Os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1A.wpnJgnkWGDQOhRalJ8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CkIRoXeP0uqBqgap0uo5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RayQqdNkC2gJIncwTf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HfM0.ZKmk2o2m9M5iXHw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K7o5_GuEESIVj5UghMIE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yVpPOAv_EO_r4rmEuFZ9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s2vQpebhTEer_KZFTs3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_TmrpdG5EEqvotx2.AKVk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WRKN4xzq0uHdwSrKljuN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ZYkBOOpf0eEUNFbziJJL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NM088HDn0qI_H1kI4ksY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Nbr_vhnEECbZRgXeapIP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1Y_yk2rMEulMAL7h829W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NUa8hLIeU2KH1zqu9vD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aRkresqdkKHAbNhTzgTk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j.Bg5EGOUKs540Mfd1Nu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79YmQCXJUOas8_JH0P4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pR9sz7fgokmpbM2l8DyTO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r9u6JBA2kKBgfLPWgD56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KSbZ4mO1iUCnB7UPBVXlr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B5l7gPC30GSjXCpULlI7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QQPuf0KHskWsdRdffueV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On5g3exeEmxDf5MMaqt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tYpKg.0dECeQhdkiA7G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HQk7NnIy0SW3ZVRSapCQ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ZKwyu2ZhEqWo.Mu8NZWL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VUh7JCKrqE.jZS3uxDJuu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QmyqP584EmgxBPApJmFD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kWvOBQJ7EGGZ7opXt0MF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RqGi.p2KUyrgAgKKDOCV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O9CXYsmpEiMKDVHdyd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QIIU0ZO302ScyxTB2z4B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6Q3I1cg60WjrlWV1.Ue8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tJsQ7zgn0eIeZQbYgWT2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Lz9SfzWZUacZid4.erJ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rd4.UmDK0CjpL3LxteU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9vfk7zG5k.6DP2ZZcu8r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7cSfiz8ZU618X1HoXKcq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iSqqfaDAYkyz2gjCmD5R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7.4uSxsQkyXpLKi130Xe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1Y8vEh2JSkWymd9fJga_I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n3DOVMXEUC5s4.xO.Sv.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T45MRu1D0qb9cb84bZvz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MYxMlyh5KE.VVhfnB9z9j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T2BumNwp1EGtGM1fqxdXk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hwndB.0kE.0ny1r_BMV7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WWAHuW4B0aCXpNaVMtsf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ip.fyMVAe0qrHaWXOCarW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rlTfsBCfEC6HdcLseJZd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O8Tp67f3kWxv1hC5cptv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cnZUYGaoxUG4K6ZLIAt4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lxIY0mFsfEuF0ypBI2GTx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7swNURun2U.cZHHSSbTl0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4xWMIHoGkEWkyVgu0mLVk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z39Z2GhTk2e00NvL2ak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kFrM9hRtU2109SgzR41T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lP7qWdNiEWsiUwGENW1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7c8ktTWbESq3pZM8qYxK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IR25EhBc0Klm9PRdqDR5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1igm8kEo7k6ouGWSzkxaO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KKykoSUPEKG3ORuIqwrS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rTs1ITZ.0KSpg6WVrbOa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ylUmTkgrEKGBq4tnFB0B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Oruhso6TkWucFuTGHpvV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Yd5AW322UGKyQzE1pXn9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K4pCe8mOmkezt9mgbkyX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Sb9HfL16EeiEtpQisfWI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RLrfbCkZuEKjtBke0r.59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Y4879Rp_EaHu1a41Rn6t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nZ8BvzkGn0StKGYnRoQPg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mob1eoWWVUiNML7zqjm_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DDUvWUl2E67w2o_v9R3p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cncWz0OFUSYAsjojR1IO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1Vdq2uVm4EqqelyFRgMqk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ZWKO.8.ZUq4.EarOrPjK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A2AwfovWU.i9SIBY5eMo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g9yLUWOiUuZQ_cCbnqXO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acWDC4bbik6lDnZ0WboOt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XNDUZrDhq068iLlYylCi_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j0pe7iF90S_tDCLSG._p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0IIZdakqD4OMXPqjT4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2_Bu5QM4UuXLxZLZI2R1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13THAsLjUaacW32G5yAH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KM1jJZ89kyqbCFI7Icc1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6318rq8okyZrLpd1atGo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QtNptnyamk.LbmeCUKMbJ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Wv53Oe4zBkqtLlJDSwA.o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Zcpt6RruREmuj4ElHeGuC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mUt8RpUEU.yUCXk0kW_f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31HpIvOHUiXyx7YO15z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TTjjB9G1kGOn7IwicIQu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FbBfXJa_hk6xfiFJg9D0E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JBhbDgDxD0qg1ELHciDoM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Adk24ohIsEGjae.gGTMjF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C6WL620kZEGOFjCETkIYR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BPIzIpG0uuCvX3wiZNA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WpwalNiUSUSrgd5haY_7_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UhDLIvB3kyjGJWnQO7KT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wEhVUoSICUuOGw8YFFEme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rZdqPu9h0.KX2C2rXcRo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iYaecrg6Q0.BoXNmDjMh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UHMyysyAEGD8mAhfKELY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3axcuzbA1UOOtTVT65RjC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40pc4w1R9EKhO5wbnhWBI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rh7HdZHikSOLY3873FDA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_sDXWd0xEU2vaPy1h2x3U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mYp9BclwekW7HQ52pak7m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oNM0.FZskqINr87MRMqf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LyQHCQ8oLESDfK3yHQ0Lm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V4Cr6PyWEeU_pgFFZd3K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1NckHt940.fRdN_cafng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Raf97HpF0mNvEMDl5l9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HmAFEzeCUKBh6eByuJaQ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6ebtVLQXn0CPKReLqCRSZ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lNMZW1WJQkyxbRJy6_OmA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_660uRC3zUG0K8NZXT8r3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9Im8dJJW5UmQr5PFFelG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V5SJw7qyEiaPJhEfJ4iC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U20UlaWtyUKdqIurKgWn4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4PPAyaCk8Uu8ws0FWLL17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nF7ajfLQcEuCc_DuIhd7d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JuzGwOF9i02LIz0U2g1U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9N3WD07CE0SDHDdspWKXm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wS0uqdaHxkS4mLwEyL0o.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GSqNOLCjkSBR.0.XnfCl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ocSeKCXSUqUOJqvsSrjr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sloWn7R_CEejBe2sfc21P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5YhOmISKE2lyC8lKLB3F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BAwZnm8OokCbG9DdLmkEK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fi08oDlmb0eah1iqgCqSJ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7Y1uFOj9Ea2sMgY8EgGe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c_14viYYo0uf4lOZju5Jb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haIXcy8Qk66CjYcY5vj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A3eXYveZEqxbMi3f1vHs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Tt02qvPAWkOKto1OYHptQ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thZh_5ifFEKWWs5RMTfbR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Yyw6MBixl0yO206w3iK85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aDyfcphH0GLlQkKMNDT0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ccgY8ATo_0i4Wht8PfaXW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OM._dcKxUmafzwkmIS7.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TtruzHPBEi3PII2jKl52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8sYt8ymEIECGRdz4dbRc.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yh4kWacDREuNSPONlRjrp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lpNhQKLSX0mxRawAiMsw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yMaLUfAHkSWJfVlLqUVH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Waq1mjJWEmX7j7ZK3JrV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CSF5aQI9RkurhKO5NqvUb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FVnUfQ5qr0Wki8HCmSSB0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UAGwHmdhKU.oATNwUsscQ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Pvqctv9Iy0yfSJQCFYkMe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txRS.XuFZka7ubLzTyfJq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6pilRWODWki6uZ0WRe.dP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1heTPyqffUipbinHdFEf7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U0xRqPi8E6N5SXyCODxJ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DBRjQf5DJUSFLDl3nPho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4YtGnHL3U6vfdsm9cuHe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_s0ivpliwUqneQrgTGd.X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T_xRYRtIE6S4MIbOZXz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lVlk_mqq0qwVeU_gM3J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KDvzouCVPU.cC0ZaApEgR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_dw3HhJznU6Q7n4AFeyHv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5opDl43z0a2O.CAOz4nT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_GUsQ4FuaECxfEhqHOwwN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WQC3mTgmI0G8Y7dvfceu3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M0YqbiAmq068lEKWJRULP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ieRDl6_FUy4.YY2WIka8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f6mN4l5RkGuhWDSnDk1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Wz2tgp8PkaVrMEb9PW4z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QhTatiVAVE6.iMNUYgykS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B38fNnNCuk.jXPGa9wAmg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7EEQK5wsiEef5FGkLQnRy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geXLKX4zNUuU1xJrD4P4G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cuEFQQceUSueMtoQuaqe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3T2LebDCMEKTRpzCK7Tqy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bT.byvEg0.fDSct0ox0D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6vHKPtR6EaaDMNGT6FHq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X6cqPOU8cEGN8otK2cpv1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GMoNVQ1aUa73Jox5ZcE6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0aCCA3s2m0ulrBGPGVML8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Xstd3JzE.yte5MGTkca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a5gHvDBdc0.TMbhSXxmjd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nxltkZXPUOiWxqcXvgem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X5QZf8W8uUyxhXgM1KTqC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5390tj.HhUyc6WnHe1IaZ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0hMTUNg9qUitM4g2TYbD3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b5Vx.hP4lUWZJN5DBvn2w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XquoqIVzkqOwLktaOJKm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bf7vZOd4EaUNa1mdRzU3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QDrFg9m0EC2ejS6I_2ia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oS5t21Q2KU2I6Fq8ynaDr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rM2TjJ5cSUG5SIhTBcjUX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fP4WpAOuX0uG3I7nKwhW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NkfBW8d4eUGlS6Fh2IGGx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XrD0_KXhgkGyGdlNbkMbN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9c5paf0JKkCqq873SjNBx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os58hvot50GRzl0jgN0Gq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BDihBgCbgU6W95ocRZYuB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sLjLlvMg3UGf5zYjAXBpU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LwP7Z944Zkeshg5gynAsL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9i4uHRnhEmh8AkpzgvPT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2yjsWD4uAkWHg.p7xeqt3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LXsPoAOk0WdrHRe.qsWC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rtSfR3CPpE6LaH91wHjen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nCIETJjZ20mxjqAhbLbEP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MSQwh6JQkukIemKPaA3e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MX9_QKl1U240m99FlSFm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l3ff.BjLW0Sgwpo8UOpsB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eXXDMK5yXkmTrlA6xB3Ab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cL6P_heXTkWL7DtxDiCjc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9LH45cN.g0yc_Dg6jKFI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hW4qYe1VES7oSWxE0xHK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WRAYvDM70iwxM5MtL0Km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gi8WjdWrkOsyGT9f.nIZ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k6TJ1P0eEKjAb4sgR1.j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AnIKqx.n6EyPgKCsKGI4M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xQVQfAVpkyJRAQjd7hl.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IaDsgCKidkCv_0loI5bee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bT.byvEg0.fDSct0ox0D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6vHKPtR6EaaDMNGT6FHq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X6cqPOU8cEGN8otK2cpv1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ejnx2a4AEGK7ltw4IpDK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AbaMx6HYckqJiECJsu6fi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aLcYPIkxUKR6qGTnTwHi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0aCCA3s2m0ulrBGPGVML8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53aZgwLpok2SWHZdT5sLd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p4sAFe97kS7owyZKguOo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Xstd3JzE.yte5MGTkca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3mH8yj85UytsxKmonMvQ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1VkNkuQ5oESQhIWbsNcCE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5gHvDBdc0.TMbhSXxmjd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NPmohlsHqEqp5bPWMLDRw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jmOvsTlf0KwvH01gVZ0O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0fnksFlBxEylc_ISrZdLo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KnxltkZXPUOiWxqcXvgem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S86VtgEhUUayELKm_vi1y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9BN2KbGNY0udSvFVe_90Y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X5QZf8W8uUyxhXgM1KTqC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gBLdTHlm0mcKytTiu5Ii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AddHdYqv.UikzlTg_tPu1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5390tj.HhUyc6WnHe1Ia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uDL26T18EW3k55BRbJ7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uxu5Qhz0EEuYu76mHzRe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OMPJFNmfU64Gvc66W3F7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0hMTUNg9qUitM4g2TYbD3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ch95oiKqoEKlJsSaIXEYn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UHD0PrgfkePmbTq4pjGj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5Vx.hP4lUWZJN5DBvn2w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uadlJ6pLkaGUkcMYV6nY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TRaHcZM7BkeqWmDRhrecq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RXquoqIVzkqOwLktaOJKm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4L.F3_TMK0qEh1xOR6PIi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BglTY9OTDEuKaQPzxOTx1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zbf7vZOd4EaUNa1mdRzU3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EYaW126WECEg66ty.0fg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Zouyrve_kee_N7OFgE4X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oN8O28rMkao2cH4EdD8J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S5t21Q2KU2I6Fq8ynaDr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Q7_z.cyh0etNH84umCcD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7P.MX1CRBUao2iMDtNmfs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rM2TjJ5cSUG5SIhTBcjUX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kWfd4Jhzy0mQDcqXe9Ei0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NWSR0dexR0uNwM6yBd2CQ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fP4WpAOuX0uG3I7nKwhWT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pOdCOtjwuEmXEnHD2R_5d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3MIqxHuJUe1FgvSsBDXx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SswOazF8AUKD_vHWwaO8T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NkfBW8d4eUGlS6Fh2IGGx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RIBolMzpq0qbDZ36WEdep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PmzUECpTUqAVm7Iw9mek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XrD0_KXhgkGyGdlNbkMbN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BSPrZO_hNEewE17MhfmpY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9c5paf0JKkCqq873SjNBx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IaDsgCKidkCv_0loI5bee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L1OnfHvEkEWie0Af6c4OP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Dudndnmi4U61pqHmXpeS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4He7YHVmkSRnmHZdvsa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5tWQzsxlE2eUPn0.wxo5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xQVQfAVpkyJRAQjd7hl.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71PJtI7l50S9WYakhRls2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vK3O938siUOxIhWw3cVGW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nIKqx.n6EyPgKCsKGI4M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HSgzQW5e02X546tC9x53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nw0LVJN1gUGthL4odXxDZ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fk6TJ1P0eEKjAb4sgR1.j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q3v3ONL7gECX0KEGAAfib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KOnekRgCkOiBuQyeUaXE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ngi8WjdWrkOsyGT9f.nI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egEQeK3Uk.1G9WEYlyTZ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CCIUt68cD0y6yIKuyLlmd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_KFvsTG8G0OXoTGu7sfe0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os58hvot50GRzl0jgN0Gq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nXxoXsMu3UyCJWQ7mDgFj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zCOfiHcnESsvFTC6sSPC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DihBgCbgU6W95ocRZYuB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pTDuRIRF0qSDeQFOhXW4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g061urCpVU2YAx4t0AmSA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sLjLlvMg3UGf5zYjAXBpU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VaHECxii0eiYskDmBHY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uIog2Bb8EefCjDoX1_mX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K08IkM4N4EiZyJKWwBGCy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LwP7Z944Zkeshg5gynAsL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x3yvz24oU6kCkX0GCpsm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WgWf.DqykipCDC1gdo73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2yjsWD4uAkWHg.p7xeqt3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VDXKAgaBrU2bQTuWLBV_a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RTqBCjfNc02Ibkqyx9RWU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QLXsPoAOk0WdrHRe.qsWC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42YGj3UaH0aIlgcuDfOHQ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mN9XT7X27UqbCpctPnnK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sLCeevxvEmfZNDo5cp2c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rtSfR3CPpE6LaH91wHjen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tfuGyTG4E24gZ1WU4hjC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5fcpRocnkUivQdEsoAp3W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nCIETJjZ20mxjqAhbLbEP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d1cTFOKA0U2YxfuDJrfJs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21hepFPGaU2RFvOS2es0j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GMSQwh6JQkukIemKPaA3e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XHtKdyHyVESTlrJfNxbYz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j.w1GwX1kucfwpzf6X6y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MX9_QKl1U240m99FlSF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e_2jCqyhEiTH.c2eJX36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c717OgApkkmOkOMXxANs3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_TAQ3XCipUigAlYYAQotu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l3ff.BjLW0Sgwpo8UOpsB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DTzjjlQ0k6nQ6Sk7N8Ui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KA9hY8bMDEWEBBDLsp3Xi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eXXDMK5yXkmTrlA6xB3Ab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t4tMz3QHCUaxtSul6DECE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jCSftgpUVECbHLNAwCcpb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cL6P_heXTkWL7DtxDiCjc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_tY6XIQookScTfMzBpi5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dwspeSUMEGi0EIODViQX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ipgIh6RJUmwiPz1LERDu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9LH45cN.g0yc_Dg6jKFI2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aRyMZRXbMUa9XoLzfskCp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xYSIbufr.kO3ZUyF1Xtdo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cWRAYvDM70iwxM5MtL0Km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ffUaMoX2GU.A.BVdPGg1a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re2N7u1gN06X_3TXvkMB_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kMEnC3gZikWCdC0vx5k33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GIHEko.bPEaAyVE8N4AbP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2dd.hkcZwkuRyLvAe06d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VepfEeAV0OjLA9.S44F4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O.Fgi1tT8kyU0YxFaAlxb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I2p.skuWp0KRyPE7Yrg.M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5iGlC9vD_kmD46F6ydz.H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YkT88NEq.0.q6cZn8h6Eb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LB0v0.7I9UqecW9z94z_g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EOxveCpbL0C3cASrNSmYn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IP6MB7tZRUapyWBzY1CLW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if2sNfUBAk.KKnoGbyetl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pjr1wEAbKkS67RXHDzd3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SZV_02KjEyEBvcWxXMvy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sF4TG5bM0kCEfRygGPmAO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QUxihD97hUO8eOzbDqLe.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ZBtS2v4XbUabMnworriXX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poOhmsOd.kKbUB7R.q8XD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BAnQiRDUzkCkJTtlEGusu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ieveuyz_xky2s0ql43h0B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V3b2IP9LKkyf41Z04Z8.s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SLtyb9lZ60qnqhoIqbHuz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1fNoLDWk7E2Rz.qNlCCQI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YghCT76EuuYXZan9fJ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zm4hLG34dUSouIYS5CfI_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ifVtwoJHlkiSSBUuugyXx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PVAXd3apM0W0LUkwu_5xM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mL9_CeP8aEes7KFs_TWJ6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f0lhuwMhKkKQgsnoHzrl8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QQgKRsaxkGr9Tx5Y9j04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qb22zzqVA0.CKCQAfCynq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DDJrzPVyOEq6wCaqrpJOZ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Ne1td1zbjU6xS022M9F1G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gWf_.PidmkyY5EE6knKS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3Q9WLNrJEScKzbV2kIn.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jG9kPJ2brECmj841ifFmr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C7_7t8R6FUm.aiz.TLw_p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W2VVNjpyUuUBSFGLi4Yq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ypwEZBNSq0ODeyCByiKNr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nNKJYYjQRUinKoGHsE6L9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9bzcIq0RVUOKqYWqrwR8V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I2p.skuWp0KRyPE7Yrg.M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5iGlC9vD_kmD46F6ydz.H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K70htlZDE21tr2yOb3n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kLqKBMK50CG6HxeZiG0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_NAbFfnEv06nf2oZLvCZZ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tgIDZ9nMJUKavPy7W42rE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nrZdYGGT.UajjOh0EJvK6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GLwIhQaCoka1Xv8PM4Tr1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ApFYHsZllEKSSZLsaDSoM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6xwqw1VStUucyjAhlQPmr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ZuoYwGEGE2Oc74yn9z9b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sz3W3cpg_EmDGV.3XZubH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vzKIkTO2BUChVilHtInTu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xf.qrfWsikK_s8vHEZXqK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lak7_ssEkOmfcJLSIAx1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nUKnN_4ckmKvVPiU9af1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zhPcXIQGaES9s4Nm1ROl0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AtNCW6HouUqj_hwchxGrZ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GSaBu8hK7EW9PEdKAnpFT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cRsfmOw6H06Dz5RQDoGKv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uMNR60sqj0.mRGavvk7Xd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vFOtvXR0bkufqlBP2ITUY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sR87BvpPN0K2USTJA_D0C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3FC936fsRkSmgFChwDLER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kcX64jwVIkC9zhpp9Dzak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nmMatE.IZ0upaqIJHHxmE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N8OKnmyQUST_Mpb._BTI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VZWPSMJ_kkiLrO8s2nZ3m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VOahg8dfIESCk7eqD5iBn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cLEk33V3FUqWWK0VJB310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a.YZZhg5aE2nzUqp.F9Q1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7hPdBA6fE20Uhpk1mPqk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VHFzH6SAYEedWUh0cvzkD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QX56tJ15aUu_gUjximTN_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vv.voyAzEkWSHKxVcz1EL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G_HUYCo.UCIdWUpv6hHh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Pq5pWNIUDESnTHM0D5bD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2qzysKaiUyQzLKBtmVHV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xrspsrP4F0W2y80WQF6rz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7tUCpdgJukGcj3kgtpdEQ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Ko39Uw3ig06kMPhd18L.r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LqWzeuzN7USPEw9sM2a3b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6A4mh2kgbkSozW9IENobY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TSxeNB6Q1Eir8sADuWung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_wG6tLRqA0CFtCL7guA3G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TQsQqV0Szk2znOOd3ejY9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BLiSnxvvk0CrtozkL6MT9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nESjt_EiAUmQcI_ffnoX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35GQ18YaUSeKk9OONAZw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47gmmXAQqUmICAfLw9dRS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Yaiexya6DkyV5z._mWHTd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S37RkbUsW0Ctsi_6jyAIJ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ImlL7mU2MkCC0yMSMlqJP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YPnYkr5dnE6kc8ePCbLJ0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T4D8_8SIaE.KYGmX7S3E7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78d9oCX45U2EqsBp0K5D1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nnTiMOOafUOadLYGriTs9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xOccOO55IEmQLVyudn5XG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4513S3Nr20mP0AtSgWPhB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oNAZiLzSk6QoNeZQqajT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Eb7HFY.50EmeLp4yix1HP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veHE.jFqzUKhe_dY_RwvB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3..M4oELC0eqe7W5y1U0p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YwCvehJJOUKYaAYXrWByh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tkuwtGvI0k.UmNheLMe.g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DPnZ.TbR9kKIzrG_iS9_Q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4LRj6ib_0.hD05P7rGMu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2RYxgcR3jkeQ3mQg6kp9L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7FxyUwj5EGLkaogi5xUi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0QqlQIw.7ESpxkfKIVGr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R86p6xrx0SRitLmVvBpk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3d39BeBstkClui2K.4mAL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aiOd.R5Qm0eQp4NP6zTWv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qKR21hHNP0e3.ZYUnCyQi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pOCHm.zYhU6znbuo.sw2m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sHcJ1_LTWESvz1XxT7Cw3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rQG0sL2EkaZBFc463Hjc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U9nj.xaM0OsEIaokURw4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wryPGSR5TUmfZhXQVjTPg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JZycLtvTXUyOZdPZZQdLG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lmY4uiQfSEe94mM9pmSs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d2bn67ctk..F.d8Se7fV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AuU_T8Lv_kaYui9Gonlee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xSLDBPTE_Uu.lUX_nuspV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T8PkDaL7EkWrb7HwXOuqz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SCIF2RVzMEWZHgv02Xzhq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OMtDiz3wnkyysSKAC8C7i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WlDjVJyFnUWaNn5_NNRMD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IJnouleJsUmxxn.7JO5H.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W7w41Oj2tEy25T1f_rSP0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LXMWrvl7sUWkmxYzO6qnF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PIC_EhFp5ECpngw6zDpn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BIM6jKc0EKPtfTWAdVVo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zHWMjnNi90e31k5lJre5T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SpUxbjHUkWoK2rYsulaq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gw337WMDz0iyTC41q1o_3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OFK9PPuXJ0OJpHOP2I8aJ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MqeJEMAx.UmkX0d8Is_fF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gAqSEfOgd0eKtj3XvjFZW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6gFnMFcTOUiST1isR0tyS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TMfjHUCE.UiSZy33yPiSv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TWFtOoJJ3U28Z5YOBVxED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xtTY5K7c4kequRKg8f50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XR_rshk1k.yYar2YgWkW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1TEtY9RcrEuoWJvxAQA3z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Kq4BcbLC30muoy8Ulz7N4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TxscCFh8UmIJ14d1kPOH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pCuvHKjBV06Qz2ibaN9ld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gRBAYSjIdU.xqnisWUaYt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PcEAOcR606hNxaErcodW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gge.ftkMLkmMLNEIYvIoJ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cowZyrA9eUa7gyfWyrd4m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Gati2cyvlEaO77Y_8ioR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2E3tnS.3ECkKinTUPYl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5DReP9KMkemVQaKNlpwn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dTxO9onTgkOx56sSVNhCq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tsFPW_9vHkW72PtQRpcw9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F.CbfirYxkCarFrx6EBja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iUhGoU9lQU.fevVArCjtB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2Jy9USBXJUicsFjiSTwOE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2YmY_A0Rg0KnooaQOWb9_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IAzS978zbEGxr63aMn6A.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8lc_uWWUREa.LdsJ.HPW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SiHpf0UwIkeaG4EQ79xQo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TmLX2HTDjkWkx_qYN0uq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xZD5U8j0iPV4CjWRA3x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C5R6PyJ5TUa6k2QG0lzxw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y9xH8wnqzkyhmJRgu.kgo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OELVnYnNy0.oPl6viS0KL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AD4ZPSiKxUOVaTbzEuPLm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AaxkvnRTT0iKLLT5lOqQu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MBu6sqO.jkSaeCbTY8.Vd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JtcmNQ9ZbEq6jgVP_YQA9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pGVYL3e830OdT4MI5xlRr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0pbOB3LX0kaeisFJmdzfZ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aJWDnNP7k2e1BOIeWTin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_2bZQPQoUOfryTAFq5OP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pnXwRoCLqkaTfDKI_rvSC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5g3.8eW2OEG3rv9SJ0mpP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6Il.YvU1EGhkvsmwS7wB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d4FBmxJog0Cw3rA457n0b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CLc12bNIvkSGYbn.EcgcE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gko.SgDnZka2f0e0AQh.6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OPzFiAj38EiXoa74OwyRz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Av8lYLbTPEStDyRzMOk0r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8Of6jkIDU0Kp92saEaBQP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eBNv7OnFQUqKmQfAc3Utt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r7uxL3CkUW4UrV0H1tYy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972gMnUaHUWU2_Fly4xM6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j1.jyfFH6kiNV_tU9itDd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ef7k4S05UkyhRULMzPkvm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SvHXzh8fzEiPTPWldwHYU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6V0258WdJEmAdj06rFoba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pei61ve6S0uTkaH_MPuxl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Ts6TUrC1SUK3sBVYqtyal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9rd46uKQ0UWzPoKHsi_l1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BReIHh0Akmo485fYysGI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xzZ76d3BlUSe6YEd0tlfm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E.2H6pFp0msDYhjhM7.7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7nUk5RKyRkOGBKBz6uQdY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yOIsVgBrnEal9fZ0pffwV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vHSVujS8gE6AWxTvuGFuY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AQpZAn_aRE2.h9G4.yYU6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hJ.3NQ8qCE6L_0yYRiV.A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lSP1n95YZk.0vcvZI7FNs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QVbhMcEFRUiL_0xBO1iC9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iPJAcMfl106OPmh9PrTRr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1RLnaZnmXUyuqHygKRQs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_euf.jyeGEKKjGMxVp5ge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6N1wJ54UukGZyb5vi3kY8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8XjvWjCDIE2.rBbtm7RPM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i_tmoPLl3UeptEzfwMSCd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kZbMfDZzE0Of3xhMxM.g3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Zy8AlawKoUa_F0trw2hO6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6Qa.Zjdt0Uuy9eqOgAf4z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Vr9XdC2AUOXC1RoHVaj5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2bPaCrHrXkGrUgHdrB3uZ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_NDcNju1zEipvDCdKMrPb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5Yx8aOtziE6COAg9.cTC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mGAFV6EI02Gv.ezQUKqN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lMBH7P5IeUKrpmnvUkXRV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_.lfN5U5B0OMVHewVrbQC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aHKJxUoCWEyJIUIZbJaop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Uar86Dq06EiHhcIactSWr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0hPUy2E5aUu25YMWPc7k4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lCB2aVcfEEWrQiE0iCzpE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XWd0PnPdikisj3dfdga6F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9Hra.S6mcUGWJ9WTGz8K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aetRTCblkEi1Hr9T3yBlm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NMfD3lUYekqxbi7YoAgyH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ercSKsLXUKlgoI11iTam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5uZkiz54hUiCrKiuZnet5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fDWywDXsZk2XqXK8q_AN9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vuPFZjCQN0qJNL_s8pM24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4Tfl6cW2o0G_T._bHUF17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VG3.Z1g0J0yMWCLBQtI9l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dFK9vJWC9UOpoYpfAeH8.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9zCkJmMKY0Sx9YG8yYDeV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Tl7qyHUeEqBN1DDwtGWZ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_SIVN3ABjkehQtMAATCgi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XxV5rigRC02D2fz.dAw70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EIIBVyB50WMorKrrs2Gw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N8ZC3A2mPE.CV2FMGmCwK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g5PxbZxxZkeuTkMK_DxRk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bRn7DPYRcEG8NVu91lbxn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v2b3n4KHkShrHHGYALtS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aaznqNVvU.Hfsiz22hm5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pXv_qeQJaUSYiuCX5I_GD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2hCd4qbbBUSRxuiqnD8I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A4.zJ84G4EWrd2heW5XBU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5qeTHxjr5UCF8K5YwUaql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G39L5d68AkeJzLU9QMRmm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rdTIbumyEy8xalPNvqSb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2dPox_Ad80SS3JUhx0doE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XKF241r.wk.Gu..rueG8D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7V99c_zYAUCVWwqpKJvUr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q2l6Ri_yM0ywZdYo9x6UL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DtAZm7DCjU.Dfb61w4ugv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KBKet.RfR02PvHr_9j20F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XHLoSsjNiU.copB843Ipo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YyKu0dtfikahyf80Cv05X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VG7.X9xF1E..qu6HRNdXK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4ceIH1upo0Ksd4OxmQ0n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zy5JuQXnkqgqwLhw17m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Z7Q1sbxka3gVYUycTKJ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GY_BjzH0u0mHehtyyPKjd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oalrEclkYUqbVO1M83qIQ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DubyJRS0eewR71RrjDl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UF.cyHRuE.zZWNl8YE0U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djLKl_IBMEq9Hm0HRoTJZ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9lxUiDSFa0WAW3ziqTH7Y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WQD_5WYltE64GWOfT8t9d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IlkDTFaVJUaonWzPhXL7g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TFB1yBNy_kaHqbg9Lcrja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Mu92xpEBQUW8X00GUo2h9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FWmllo9sEiZ1f.xMs3X9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quN2STmhZE2vsYhFBW9aZ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IDiGwInCCUeRXWsGEfFbb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fBk6tgJYYk.OsPGXHlcWr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IthmOHImEUWoAKzLHC8SQ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YCN0hC_KM0OfX3Dqj6t_g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RpLF1ZnWzES6EqZQmj3S.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uazMlfiZi06t7wlFy9KYC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C.v4uUPCEEKDcfxauCfd9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yJl6nsF5SES8VDTYDv3Y_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5NV0LGQGmkymOTNuf7LQ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gBDRKFw_Eamkf8Fz6gni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ob4NXSjm90CznTaAPEqOo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e5eQwVJof0W0PMmLnRUUF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vI8K2Z4ShEaCEeItRHHjg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BwFoTScbqUe1TrY4wjvXI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_ChAkKYxlEukOOOzMRBfv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UPDqZ7wfkWVdz2lhhbE7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LF9nefKty0K8VUani9R9F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DqyFnkFts06PIDEqoX7Dl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fSlVGYR8hkmhZbaSbzoi9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boP8U2V30i0VGAK50gGL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dLIi5bkas0ewqbDZ8Ec7v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TOn3bAZW60mEDKnZMXsSV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V5O_VTdxEE.H8VW2Slj5n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yW.IrPTnxkGNknZNun8MN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NiSqDN08xkWT1SWIDrno1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WNNqpzpLtUewsOD0iDyIF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80ekYhtCLEioe3C8lX3aK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oHVeVIrOvkyy5SFtm5o6D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CMWxPM0TaEC1zA9W4L73o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cAcgF4ovTEe.qTAKN0hsH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DCeyKK1cUypOAo8Nn7J9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zH4olqh2qU6SnsbSo2439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uMLfX9g4UEiuiTbEkfK6y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Uq4.VG52Sk2QfblT.jm27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G_p8qHuvf0e6Gt3sc7Spf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oaj2_XE1bUWwjpnAm6WRe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UKz1qdi6bUO8lc7XqLRag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Xco8cGNECEWLEvx3iHRIE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S3KBEB5c7U2e7J1OG5tLz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Z8f3bbcBIESenIjwG6nVX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nBLbtZWh7UOEQjSCGTfZ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twRjWbFnEaxky.OnDypy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IIJftgvo0y4KPh7AiJ2k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uJdVFPWr3EG1Y_GSsfenw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_Jj1g7LfdkGtza1LZkCAZ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o.7.ajRYYUeyMZUd6Bp7C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yXla_ngIRESgBBs5HOUpI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_hyPmhM34E2M0BJ.3fsiO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UK3KwPz3h0mLla_7YkxcZ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Jmlg1VoXcE6XjZqrVhEio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kKGal1_4UUSsh.KQH6n2A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VR257VyvXk2TClJOerjc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2JASfenz0q9sZp75vU3D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3XszLWXEGys3fljc2VP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E1tQOSmA0EGoWICMTAxN2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rTdeGnCUA0mtDe0mH9SYL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SA8Rkrsk5kivjz.w4U.nK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GAmkUKToEkCuqxHeI7EOr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YuuZiBdRkkG3BwLr.zBfn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pvfV9HIn3U.KlXTkeKOzR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2fD6DJ1qhUeNgbIjF1M9F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5ehjdPeaP0OXbXp2q4xUV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k.09Yki1jkyPJQ1JMi6qE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blUTQAofkilO3QcH_FDO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U0Ls2nl0wEWIZDVBDsUmt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EGWM_S5TLkaHmdpacTzDT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0l5FNHUXjEiOkbkipH8bc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SoM1k.ZP3EirCj81kkbNw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QS8jVnnjUEWX6CoAQhjbn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MqhG8OtY1EWCmjHPlZWia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r.Dn.Vjo9Uut7tUo8jpS6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55HGyOMTPU2jwMBlqoykx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dqD1cikknEWX1UO9LuCCZ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W42Ff2EDe0.yWd.OrFSI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8xSXq1zfkKJXlhKoIJhY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F04Ktwi3ZEyvtuAnIXYBj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Swc96tgTdESz96ECE8zbPg"/>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ozQIEtK.60SyxunZz0Ul5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gD6OW02M7U6BzfQMYXqhC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wlLD0Y_MqkSy6bNX47hbW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AAmhIlUEgEOewnPTF0eTM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Ss12gy_7e0aLPRfQtHSxV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b1s2j6iM7k.qXhtHJZu1W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MNbcpbDwgUeSRk.S7Y9Ks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ZC0PIz3rlECStX1mJwCE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A.nr2L8xUeUdY94I89p8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Kvx8bjF3kUqm6VFZ6hkpc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QQSus8Bh00mbXMPRvecYS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iZWnJ70i_U6f.A07uwRqU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j9vgA6adOUOgr.a4bEFPB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8HSskqtDmkC6i3J5WdWaj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__X.BnDwjEWJ8e5_5Lxtug"/>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tpwjDIG8i0SVvpXStEyBV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XzsavVvcDUOqAF_75c0tq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LGVBh_e5kUSwHvcTvdpI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onQfg89.0.NsUZqJv4r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wOVtF6mk22E2Kp8UB0y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pTI41sTO0U24iA4uMMLgc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d0Zuyojb3k.HwbyD6t0ec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0OOUAClOLkeuWazsQ3Yfz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8pFunWFdUy6V5AxKGk4T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YUm1KGpmRkqs5digiLdO4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VoNfDeeQHk67th4c06UEp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L1swgceZGkiI1cvLfq5PO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gYkM8tjxR0mV7XEN5c3af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DgoN__6yY0GpVNx2WeV1w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1rOJy7wYFEG.Q7oWH6ll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zs0xX05wU.RqNgFdT3j2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ryqvrUSEr0un04tL2RhsT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qKLtnIF2mkO3oP6Pv.Bl8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_rAxsPp9ZEOVxpiOZ37kH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4Ft5NZ57W0SJvPVClbAqF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7lbhk9aoCUq1BOeK4AYKA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l4Af4I0Wuk2f8KJqRQaHA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aHm6vRJ1gECOfjCd.fCdP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RRsfFq67EyA6zN6Vzj52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6sab8NA.q0mZly9kn2MXf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OjSPflndxkiy97abVFjlR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IIZFBZahEGnlJcoJ0kJ1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o3SHghd3LEC7h89SCvoAO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uPAKtYHVL0K7UAFw4ipob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XvaY8m1whE.9AVrBRNbKx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eVrdY4BhdEam8XwXaTBdn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AMkvDMKHZ0eFzLYo2Wd8gw"/>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4MyGVHr1nkm.w7_R_hdTx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VXq.ubc_Mk2xfqNkyOAKd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ko_teC.NgEKBVe8HfjbSl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zZ2Z6ab9A0.28ijqahVQe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XxBm9J4Qxkac4ZNpubrMQ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UFBCIwwlUmSQ44PHQZYX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DMwEa2Qs.UWufK.TuH9zH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0wWYu.vAUi99a4KNsR3b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g6NdLJzx5kK9g0rZ7SRtH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qTj8x3L3IkurVRf.rqJYk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mYSswSspHUWbC36E8jyQy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RIg9eeSL5kCLWhnC5trza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wLn0zqr9t0aUxvGLkEbwI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fwpMz3oUy26pgA8SVW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4sk.JkCkOUOMv_1jffs38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CPJl0YYO9k.knkU4Q2lI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FteU0N1KUmIXEJjWSS16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Ddhar4GxqkiEVPlRkReUf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Yi7kMH9N5Umhfl1mSPNGe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Kzks39SDwEC4VGX6s.KL2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lcVpUgrDZ0iIclDxHXLSR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8F8W33VrqkSVrPLWwKhpA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Y_fmNM7Se0SpsoXOnb.NB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unrxa.rQEOVPAxbac2P1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N3vZJl.jnkCt7kV2ejS4P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0MYj7NjLnUGpkiz6CfXU3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CfEXe63ZME.J1ma3HehO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N3x70luK8EimRyMHOs4KI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AlnD_jSqTUKb2xDsj.p_v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6ZrKcmzNxEOwHpadoVkjU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uZaYQmOEu0i6gCEKolpZ8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jgUththkTUuEXH1Vv3uIM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2wr6kyLN8Uihx7yfyZe0nw"/>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RvVghM_ZBkSU7z6kRWMsd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IGWYatdhg0ynRRvUhAfXv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zjMRqAmj8UCikYZisw2CQ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VsDoOcbEX06J2mBRjrpGb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jQULw1_KjUuaslXNA2AUL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0fXRmZqeMUyCXGIbYEo4e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y5EjWMtnJEaz.WE_ow9H_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DNxt06HrGEiopZ0PtNV4N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LiIy8DpUX02KzAGQ2KwvM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VAPDMwCv2kOBvQ_MzC.FP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DyANRBUyx0mFQWGB2yDZS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V7Gu7Nc1EUW1J4JZjTPL6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yPF2Dcefdk6MNOENfCqWN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0NJxAs2Hh0SgFZd3LLDq7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yXTf9If8PkGSAlM0bzV4s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APkFBbYRx0GGTZCODYx2D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9i.xrXal0qJjP_r6AV4t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0AG4yP9G_EKi1nQchT2h4w"/>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sgKtayJQc0mOecgGLp1lQ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8XuEPzTApkS.woTACk523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Zi9H9Da4hUiDvogF2JWO_g"/>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Mz.8KXufK0WBMpLaLRI4C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E1.6eCZg30Gh3o5PIUo2l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k.2HYY.PQUiql6h.jikHc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LQYVg8YecECeblhyECZfX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3TXIT351P0WezZ5mdAC7S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k95iv2feq0.varTMzXtsv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LxQJA09Y0eumiMCcX1sj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s2A0tKJZAU.71lc85Eca5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3ebBnccCU0ie5UdUkY3Ax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JkmKWWtxA0CEqwqHXb6YS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11XrakTp8U6ZrDRCZakKz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wOUTaYEgk.2gGxEZothtQ"/>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EGo72c73e0.QP3ipI410o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mAkEB84_9Ey8Ut_eOBLJF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jB1Obv4Op0ygW0CGFh3xRA"/>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Ak8nLuYjI065cQ_IGmOzl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gzP4yCfekkaaxY1wSxte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LhhCLh_rUWsQP9tMbghx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TRaDlZgV_EeSJ8t7hR1iu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j0daWNn7EKg6hqC1qsBa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sKNvgcNLOECXoFCIGjmHe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o15ZnweEd0iZkOLIGE0xA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oq_VMcI0uEiFDxQ626B9S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kbfQFKSw.0eoc22y4xIPW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aGIW7W9r6ECvqpajsdejW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k1AhWl5CZEa9syMKWtwTL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IwW5jLjPq0yHV8ncL0Cy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Xcp72wzUCj5Fo6DePH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gRtZy_qSkiHf3D2dOzAe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_MZu23Vla0GEbpK_ZFJNO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m7UgKqJmzkWxUU5gDfKfC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QRCjfPlp5EWvk4OzBep8Bw"/>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c48k.8_E.k6wh8W7b1QaS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BxOCIMGi8UeAVWcK5mPRB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icHRn1g1HE2RbbrFznrGr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AI13WCDQ3UmiQKv3vBO6x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wdrnsplv.U68fRB2ERVl8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3afJ1785qE6OU8RuTt1om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_Jhuv0IkZ0Snx.8Ief.A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25nmidor02HRzyci5z_4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oE1K_Ssurky9OrPwrelfw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2lc6Ys4W.k2VYX0sswihv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q04oL_W8jky8cVebvuiLM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0OP60Crk2EK42HSghvfnH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mRB8omD53keAU35aCnHrQ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Tj1_dPLLnUSfgk6cSREOP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C0h_uwER7kCPChcfKsYhh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6aqzJl0_ykGryazGmpIwo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1b9JKxQ6AE2Lfjaka4_KU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0ALSM77xHkObbOOBZvucm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rvrZwC0WMHJFpwrq1H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53qd0jVD70qVcXHw45Ilg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BLyPksVrrUSqpysP46buP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_dN2Z_ckvkuQ.e.MD2DCy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Kd4XlzwcFkiy45pxWsJ3a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s5QzKHcMPkqqERkIgHV8s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7YroLEliKkOboqtO1xM1K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1sIWy1KfnkuZHucL8kNYD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bc5bI3nhakmftXJ7kFNik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XVJvtRaJYECzsVHsfSfT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_BS0Wh_FMEG_Ms4ikvZlU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Dn.kceSb1EWa7airEQS1v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IL.MiZLvC0eI7ioDKTcD1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ClXWl.Gmv0eUS3KuqXgjh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YIfDY8x1B0Gw7kVjIXs_K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Td4prQXaokqfWhuiQffiG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Y._pk7kSIEeOTNMaCa6Cc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fL0zdljQeE2OHs.O5fAtG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Rj.qL1lxhkOuMXrU9pje.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_m0FlbTUdkiGGdyw4uu_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97uL0w3b3E.EjpwW53E31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eWdmKlDyVES__qzvPAiZW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9uv4gwiK9UObEAbSV3mpDA"/>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Md2MQ38lBESBbAi4FAkNQ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aJtMcOxFl0CYLloorTHSs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WuZUyPPHT0mxJzEru0YTe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cJ2hFUdUykS2Jk1o2og7y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qOikq.uWnkK5roewPMdnI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2s8QhnlGGEauO_YmDBl5M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g4UtbOKaUEa9Dvni3OoNO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dGouCFL_0.zllxrgRTYX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1D.xHe6xuEeWSDCH5vZHA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DbueMvnHckmbtZJYicht7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cjqUspC8j0.EX91rjJr28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13IFB.lzN0e1ocQl0h0BC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E4c3kAo7JkyHClkDCacDeQ"/>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0St4Xsf13ki6lJWNO6Jhs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lbUuMS0mgUys5vgemS12W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qtyL80sjj02dWD2i95UeY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IxvT5EegEUu3Q32f1Le3c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K.ds44sC3ECrfW9jSkmG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MHJTEOZNUKmv_e68fryv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kt4qiOqDJEyodJvB41iY8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aQEi.di4d0axEtU08Ilsx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nNFb05vor02_RmiAEFIrQ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fhA8Ba9qtkCKGhr0RsTKo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n91Pfy46.kClDG5S4bWyR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6YCmXbPSREulOeCJFvqI3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A4IJIJdhvUmrdmy6b1KlW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LjUp20bLU2qHjRCeBYd_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0u_G1ZS4qE6p4rnX1GqB6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UgwGmdE8l0q5bRaIFiTMJ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HM3CF23JEiHBLgOxTVrG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Owx3g40z0UiOq83c3qDrr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a7sW20QLdkC1.GcNMmR34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q3JnBE4J0ECNUmZl0hBp5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YFZi2IEO_Ua.Fpf.ka7ch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e5ElhF_4UUKe_nJ6DMc8c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pa4XwMluOUiqW9R3vnExR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XtlDEzFMrUS79DILfX3AC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FukeO1XXck6O4GeRiFc3t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snEH9lgOW0aUBgxFyWMjcQ"/>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y6A_3aNyZ0.R10pfsiG64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hkzmaRjK0ylK8x_Uw9ijg"/>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qinuhsH_nk6cHREGO5Pl5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qsV1lkVqDEWXFyYj0b.Nu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ISRdc5S3WE2viXrZQkqVo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NIggfC0VfE2wqP370M7Ud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fzn317GkpUKxN3g36sqTNg"/>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JtrL4lAbJ06qCqxIIIVl1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tUPbrBmvmUy_xB6Ic2WbC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Cf1GvGc420CNAeZEt8vx_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XoHLlbkO20aQStiGWXYILg"/>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15Tue0x2Uka8f5N2bXnoH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82_CdjNI0.ckDn_w7Otaw"/>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QRzEuy6NBEuPrWKsVvGkw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y9fRbcf6xkW23q1Go6JDh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KKloyPD5RUyWNpWmsUVCy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ltJjg7QLJ0m4JluOiAjDb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KT99mh6fhEO6DA2UDiaUt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qzV2.8LR5kKFH3oJsa1vN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tqf6pu4ETESfIcGOcNSgz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v0qqbR9X5UqInhj62f_.A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gMlo5OvEDkeg_tHAN7hxs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3wsn0Q8ADkK.EjKJAIkba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TotalTime>
  <Words>4622</Words>
  <Application>Microsoft Office PowerPoint</Application>
  <PresentationFormat>On-screen Show (4:3)</PresentationFormat>
  <Paragraphs>1342</Paragraphs>
  <Slides>32</Slides>
  <Notes>5</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2</vt:i4>
      </vt:variant>
    </vt:vector>
  </HeadingPairs>
  <TitlesOfParts>
    <vt:vector size="35" baseType="lpstr">
      <vt:lpstr>Office Theme</vt:lpstr>
      <vt:lpstr>think-cell Slide</vt:lpstr>
      <vt:lpstr>Chart</vt:lpstr>
      <vt:lpstr>PowerPoint Presentation</vt:lpstr>
      <vt:lpstr>Kasmet naujai užsiregistruojančių vartotojų skaičius auga ir apie trečdalį kasmet naujai užsiregistravusių vartotojų tampa aktyviais vartotojais </vt:lpstr>
      <vt:lpstr>Didžioji dalis vartotojų (52 proc.) yra įvykdę po vieną projektą; vidutiniškai kiekvienais metais užsiregistravę vartotojai įvykdo po 300 projektų</vt:lpstr>
      <vt:lpstr>Didžiausiu užregistruotų mokyklų skaičiumi išsiskiria Kauno ir Vilniaus regionai</vt:lpstr>
      <vt:lpstr>Didžiausiu užsiregistravusių vartotojų skaičiumi išsiskiria Kauno ir Šiaulių regionai</vt:lpstr>
      <vt:lpstr>Didžiausiu įvykdytų projektų skaičiumi išsiskiria Kauno ir Šiaulių regionai, kuriuose taip pat yra daugiausiai užregistruotų mokyklų ir aktyvių mokytojų</vt:lpstr>
      <vt:lpstr>Didžiąją dalį užregistruotų įstaigų visuose regionuose sudaro bendrojo ugdymo mokyklos (78 proc.)</vt:lpstr>
      <vt:lpstr>Didžioji dalis aktyvių vartotojų pagal rolę švietimo įstaigoje yra mokytojai; mokytojai taip pat yra įvykdę didžiąją dalį visų  projektų (94 proc.)</vt:lpstr>
      <vt:lpstr>Didžioji dalis vartotojų užsiregistravusių programoje eTwinning yra užsienio kalbų, pradinio ugdymo, ikimokyklinio ugdymo dailės, informatikos bei kalbos ir literatūros dalykus dėstantys vartotojai</vt:lpstr>
      <vt:lpstr>Lyginant vartotojų aktyvumą, daugiausiai aktyvių vartotojų yra tarp dėstančių užsienio kalbas, pradinio ugdymo dalykus, ikimokyklinio ugdymo dalykus, dailę bei informacines ir komunikacijos technologijas</vt:lpstr>
      <vt:lpstr>Didžiausia dalis užsiregistravusių vartotojų dirba su jaunesnių klasių moksleiviais (7-15 m.), tuo tarpų didžiausia dalis aktyvių vartotojų yra tarp dirbančių su pradinėse klasėse (7-11 m.) besimokančiais moksleiviais</vt:lpstr>
      <vt:lpstr>Didžioji dalis vartotojų nurodė vieną arba dvi kalbas, kuriosmis gali vykdyti projektus; dažniausiai tai buvo anglų ir lietuvių; kitos populiarios kalbos – vokiečių, rusių, lenkų</vt:lpstr>
      <vt:lpstr>Sukuriamų projektų skaičius augo kiekvienais metais</vt:lpstr>
      <vt:lpstr>Dažniausiai buvo užsienio kalbos ir informatika/IKT, kurių naudojimą sąlygoja pati programos specifika</vt:lpstr>
      <vt:lpstr>Beveik trys ketvirtadaliai projektų buvo vykdyti viena kalba ir 64 proc. projektų buvo vykdyti tik anglų kalba; </vt:lpstr>
      <vt:lpstr>Didžiojoje dalyje projektų dalyvavo 7-11 metų ir 12-15 metų amžiaus grupių vaikai ir jaunimas ir daugumos projektų dalyvių amžius skyrėsi 2-4 metais. </vt:lpstr>
      <vt:lpstr>Didžiausias skaičius ir didžiausia dalis visų įvykdytų projektų (24 proc.) buvo įvykdyta Kauno regione</vt:lpstr>
      <vt:lpstr>Daugiausiai projektų, sukurtų vartotojų iš Lietuvos, buvo Kauno ir Šiaulių regionuose</vt:lpstr>
      <vt:lpstr>Didžiojoje dalyje projektų, kuriuose dalyvavo vartotojai iš Lietuvos, tarp partnerių buvo Lenkija</vt:lpstr>
      <vt:lpstr>Daugiausiai vartotojų gavusių Nacionalinius kokybės ženklelius yra Marijampolės regione </vt:lpstr>
      <vt:lpstr>Daugiausiai projektų gavusių Nacionalinius kokybės ženklelius yra Šiaulių regione, tačiau didžiausia dalimi šių projektų lyginant su visais regione įvykdytais projektais  išsiskiria Telšių regionas </vt:lpstr>
      <vt:lpstr>Didžiausias skaičius švietimo įstaigų gavusių Nacionalinius kokybės ženklelius yra Kauno regione, tačiau lyginant procentinę dalį nuo visų regione užregistruotų švietimo įstaigų išsiskiria Marijampolės regionas  </vt:lpstr>
      <vt:lpstr>Absoliučiai daugumai respondentų projektų vykdymas buvo naudingas</vt:lpstr>
      <vt:lpstr>Daugumos respondentų nuomone, dalyvavimas eTwinning projekte yra naudingas mokiniams ir ypač padeda padidinti mokinių kūrybiškumą bei pagilinti žinias.</vt:lpstr>
      <vt:lpstr>Dalyvavimas projektuose paskatina organizacijas dažniau dalyvauti panašiuose projektuose, padidina organizacijos žinomumą ir įvaizdį bei padidina integraciją tarp mokomųjų dalykų bei bendradarbiavimą tarp mokytojų</vt:lpstr>
      <vt:lpstr>Vykdant programos „eTwinning“ projektus, administracija buvo įsitraukusi  į pusės (50 proc.) respondentų projektus ir tai padėjo pagerinti bendradarbiavimą su mokytojais ir padidinti jos palaikymą mokytojų iniciatyvoms</vt:lpstr>
      <vt:lpstr>Aktyvūs dalyviai:  patikimų partnerių ieškoma per kitus mokytojus; projektus stengiamasi vykdyti minimaliais finansiniais kaštais; profesinio tobulinimosi veiklos naudingos tiesiogiai pabendrauti su partneriais</vt:lpstr>
      <vt:lpstr>Informantų įvardintą „eTwinning“ projektų vykdymo naudą mokytojams galima suskistyti į dvi pagrindines grupes – pagerintos mokytojo kompetencijos ir įgudžiai bei buvimo tarptautinės mokytojų bendruomenės nauda</vt:lpstr>
      <vt:lpstr>Informantų įvardinta „eTwinning“ projektų vykdymo nauda mokiniams – pagerintos mokinių kompetencijos, žinios apie Europą, IKT įgudžiai, pamokų lankomas, padidėja motyvacija mokytis ir ryšys su mokytojais tampa glaudesnis</vt:lpstr>
      <vt:lpstr>„eTwinning“ projektų vykdymas naudingas organizacijoms kadangi padidina administracijos paramą mokytojų initiatyvoms ir paskatina mokytojus būti aktyvesniais, padidina integraciją tarp skirtingų dalykų ir padidina organizacijų žinomumą</vt:lpstr>
      <vt:lpstr>Didžioji dalis aktyvių respondentų daugumą platformos įrankių vertina kaip patogius arba labai patogius.  </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os eTwinning pristatymas. Profesinių kompetencijų tobulinimas, vykdant programos eTwinning projektus  Gargždų „Minijos“ progimnazijos IT mokytoja metodininkė, programos eTwinning ambasadorė Kauno/Klaipėdos regionuose Raminta Birgėlienė</dc:title>
  <dc:creator>vartotojas</dc:creator>
  <cp:lastModifiedBy>vartotojas</cp:lastModifiedBy>
  <cp:revision>14</cp:revision>
  <dcterms:created xsi:type="dcterms:W3CDTF">2006-08-16T00:00:00Z</dcterms:created>
  <dcterms:modified xsi:type="dcterms:W3CDTF">2015-04-01T19:55:04Z</dcterms:modified>
</cp:coreProperties>
</file>